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slideLayouts/slideLayout28.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heme/theme6.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charts/chart1.xml" ContentType="application/vnd.openxmlformats-officedocument.drawingml.chart+xml"/>
  <Override PartName="/ppt/tags/tag10.xml" ContentType="application/vnd.openxmlformats-officedocument.presentationml.tags+xml"/>
  <Override PartName="/ppt/tags/tag11.xml" ContentType="application/vnd.openxmlformats-officedocument.presentationml.tags+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2.xml" ContentType="application/vnd.openxmlformats-officedocument.presentationml.tags+xml"/>
  <Override PartName="/ppt/tags/tag13.xml" ContentType="application/vnd.openxmlformats-officedocument.presentationml.tags+xml"/>
  <Override PartName="/ppt/charts/chart4.xml" ContentType="application/vnd.openxmlformats-officedocument.drawingml.chart+xml"/>
  <Override PartName="/ppt/theme/themeOverride3.xml" ContentType="application/vnd.openxmlformats-officedocument.themeOverride+xml"/>
  <Override PartName="/ppt/drawings/drawing1.xml" ContentType="application/vnd.openxmlformats-officedocument.drawingml.chartshapes+xml"/>
  <Override PartName="/ppt/charts/chart5.xml" ContentType="application/vnd.openxmlformats-officedocument.drawingml.chart+xml"/>
  <Override PartName="/ppt/drawings/drawing2.xml" ContentType="application/vnd.openxmlformats-officedocument.drawingml.chartshapes+xml"/>
  <Override PartName="/ppt/tags/tag14.xml" ContentType="application/vnd.openxmlformats-officedocument.presentationml.tags+xml"/>
  <Override PartName="/ppt/tags/tag15.xml" ContentType="application/vnd.openxmlformats-officedocument.presentationml.tags+xml"/>
  <Override PartName="/ppt/charts/chart6.xml" ContentType="application/vnd.openxmlformats-officedocument.drawingml.chart+xml"/>
  <Override PartName="/ppt/charts/style3.xml" ContentType="application/vnd.ms-office.chartstyle+xml"/>
  <Override PartName="/ppt/charts/colors3.xml" ContentType="application/vnd.ms-office.chartcolorstyle+xml"/>
  <Override PartName="/ppt/charts/chart7.xml" ContentType="application/vnd.openxmlformats-officedocument.drawingml.chart+xml"/>
  <Override PartName="/ppt/theme/themeOverride4.xml" ContentType="application/vnd.openxmlformats-officedocument.themeOverride+xml"/>
  <Override PartName="/ppt/tags/tag16.xml" ContentType="application/vnd.openxmlformats-officedocument.presentationml.tags+xml"/>
  <Override PartName="/ppt/notesSlides/notesSlide2.xml" ContentType="application/vnd.openxmlformats-officedocument.presentationml.notesSlide+xml"/>
  <Override PartName="/ppt/charts/chart8.xml" ContentType="application/vnd.openxmlformats-officedocument.drawingml.chart+xml"/>
  <Override PartName="/ppt/theme/themeOverride5.xml" ContentType="application/vnd.openxmlformats-officedocument.themeOverride+xml"/>
  <Override PartName="/ppt/drawings/drawing3.xml" ContentType="application/vnd.openxmlformats-officedocument.drawingml.chartshapes+xml"/>
  <Override PartName="/ppt/notesSlides/notesSlide3.xml" ContentType="application/vnd.openxmlformats-officedocument.presentationml.notesSlide+xml"/>
  <Override PartName="/ppt/charts/chart9.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charts/chart10.xml" ContentType="application/vnd.openxmlformats-officedocument.drawingml.chart+xml"/>
  <Override PartName="/ppt/theme/themeOverride6.xml" ContentType="application/vnd.openxmlformats-officedocument.themeOverride+xml"/>
  <Override PartName="/ppt/drawings/drawing4.xml" ContentType="application/vnd.openxmlformats-officedocument.drawingml.chartshapes+xml"/>
  <Override PartName="/ppt/tags/tag17.xml" ContentType="application/vnd.openxmlformats-officedocument.presentationml.tags+xml"/>
  <Override PartName="/ppt/notesSlides/notesSlide5.xml" ContentType="application/vnd.openxmlformats-officedocument.presentationml.notesSlide+xml"/>
  <Override PartName="/ppt/charts/chart11.xml" ContentType="application/vnd.openxmlformats-officedocument.drawingml.chart+xml"/>
  <Override PartName="/ppt/tags/tag18.xml" ContentType="application/vnd.openxmlformats-officedocument.presentationml.tags+xml"/>
  <Override PartName="/ppt/notesSlides/notesSlide6.xml" ContentType="application/vnd.openxmlformats-officedocument.presentationml.notesSlide+xml"/>
  <Override PartName="/ppt/charts/chart12.xml" ContentType="application/vnd.openxmlformats-officedocument.drawingml.chart+xml"/>
  <Override PartName="/ppt/tags/tag19.xml" ContentType="application/vnd.openxmlformats-officedocument.presentationml.tags+xml"/>
  <Override PartName="/ppt/notesSlides/notesSlide7.xml" ContentType="application/vnd.openxmlformats-officedocument.presentationml.notesSlide+xml"/>
  <Override PartName="/ppt/charts/chart13.xml" ContentType="application/vnd.openxmlformats-officedocument.drawingml.chart+xml"/>
  <Override PartName="/ppt/theme/themeOverride7.xml" ContentType="application/vnd.openxmlformats-officedocument.themeOverride+xml"/>
  <Override PartName="/ppt/tags/tag20.xml" ContentType="application/vnd.openxmlformats-officedocument.presentationml.tags+xml"/>
  <Override PartName="/ppt/notesSlides/notesSlide8.xml" ContentType="application/vnd.openxmlformats-officedocument.presentationml.notesSlide+xml"/>
  <Override PartName="/ppt/charts/chart14.xml" ContentType="application/vnd.openxmlformats-officedocument.drawingml.chart+xml"/>
  <Override PartName="/ppt/charts/style5.xml" ContentType="application/vnd.ms-office.chartstyle+xml"/>
  <Override PartName="/ppt/charts/colors5.xml" ContentType="application/vnd.ms-office.chartcolorstyle+xml"/>
  <Override PartName="/ppt/tags/tag21.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63" r:id="rId4"/>
    <p:sldMasterId id="2147483890" r:id="rId5"/>
    <p:sldMasterId id="2147483807" r:id="rId6"/>
    <p:sldMasterId id="2147483860" r:id="rId7"/>
    <p:sldMasterId id="2147484000" r:id="rId8"/>
  </p:sldMasterIdLst>
  <p:notesMasterIdLst>
    <p:notesMasterId r:id="rId36"/>
  </p:notesMasterIdLst>
  <p:sldIdLst>
    <p:sldId id="256" r:id="rId9"/>
    <p:sldId id="257" r:id="rId10"/>
    <p:sldId id="258" r:id="rId11"/>
    <p:sldId id="759" r:id="rId12"/>
    <p:sldId id="939" r:id="rId13"/>
    <p:sldId id="940" r:id="rId14"/>
    <p:sldId id="461" r:id="rId15"/>
    <p:sldId id="944" r:id="rId16"/>
    <p:sldId id="945" r:id="rId17"/>
    <p:sldId id="946" r:id="rId18"/>
    <p:sldId id="947" r:id="rId19"/>
    <p:sldId id="948" r:id="rId20"/>
    <p:sldId id="949" r:id="rId21"/>
    <p:sldId id="950" r:id="rId22"/>
    <p:sldId id="951" r:id="rId23"/>
    <p:sldId id="952" r:id="rId24"/>
    <p:sldId id="953" r:id="rId25"/>
    <p:sldId id="954" r:id="rId26"/>
    <p:sldId id="956" r:id="rId27"/>
    <p:sldId id="955" r:id="rId28"/>
    <p:sldId id="959" r:id="rId29"/>
    <p:sldId id="957" r:id="rId30"/>
    <p:sldId id="958" r:id="rId31"/>
    <p:sldId id="937" r:id="rId32"/>
    <p:sldId id="753" r:id="rId33"/>
    <p:sldId id="901" r:id="rId34"/>
    <p:sldId id="756"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BFC1E3B-A8B1-4E23-8D5D-FE14C9AA1805}">
          <p14:sldIdLst>
            <p14:sldId id="256"/>
            <p14:sldId id="257"/>
            <p14:sldId id="258"/>
            <p14:sldId id="759"/>
            <p14:sldId id="939"/>
            <p14:sldId id="940"/>
            <p14:sldId id="461"/>
            <p14:sldId id="944"/>
            <p14:sldId id="945"/>
            <p14:sldId id="946"/>
            <p14:sldId id="947"/>
            <p14:sldId id="948"/>
            <p14:sldId id="949"/>
            <p14:sldId id="950"/>
            <p14:sldId id="951"/>
            <p14:sldId id="952"/>
            <p14:sldId id="953"/>
            <p14:sldId id="954"/>
            <p14:sldId id="956"/>
            <p14:sldId id="955"/>
            <p14:sldId id="959"/>
            <p14:sldId id="957"/>
            <p14:sldId id="958"/>
            <p14:sldId id="937"/>
            <p14:sldId id="753"/>
            <p14:sldId id="901"/>
            <p14:sldId id="756"/>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E83E1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4097406-F23F-4933-BA70-ABAFA82FF68B}" v="9" dt="2023-05-09T11:52:14.60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p:restoredTop sz="94731"/>
  </p:normalViewPr>
  <p:slideViewPr>
    <p:cSldViewPr snapToGrid="0" snapToObjects="1">
      <p:cViewPr>
        <p:scale>
          <a:sx n="75" d="100"/>
          <a:sy n="75" d="100"/>
        </p:scale>
        <p:origin x="1914" y="91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heme" Target="theme/theme1.xml"/><Relationship Id="rId21" Type="http://schemas.openxmlformats.org/officeDocument/2006/relationships/slide" Target="slides/slide13.xml"/><Relationship Id="rId34" Type="http://schemas.openxmlformats.org/officeDocument/2006/relationships/slide" Target="slides/slide26.xml"/><Relationship Id="rId42" Type="http://schemas.microsoft.com/office/2015/10/relationships/revisionInfo" Target="revisionInfo.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ta" userId="eac6eb22-5f14-46b4-a4ea-a86e6e8c4acc" providerId="ADAL" clId="{661C6999-6DFA-41E1-9F2F-FC61AEB8EB9F}"/>
    <pc:docChg chg="undo redo custSel addSld delSld modSld sldOrd addMainMaster delMainMaster modMainMaster addSection delSection modSection">
      <pc:chgData name="Marta" userId="eac6eb22-5f14-46b4-a4ea-a86e6e8c4acc" providerId="ADAL" clId="{661C6999-6DFA-41E1-9F2F-FC61AEB8EB9F}" dt="2022-02-15T14:33:22.755" v="775"/>
      <pc:docMkLst>
        <pc:docMk/>
      </pc:docMkLst>
      <pc:sldChg chg="modSp mod">
        <pc:chgData name="Marta" userId="eac6eb22-5f14-46b4-a4ea-a86e6e8c4acc" providerId="ADAL" clId="{661C6999-6DFA-41E1-9F2F-FC61AEB8EB9F}" dt="2022-02-14T14:06:21.840" v="169" actId="27636"/>
        <pc:sldMkLst>
          <pc:docMk/>
          <pc:sldMk cId="573922979" sldId="256"/>
        </pc:sldMkLst>
        <pc:spChg chg="mod">
          <ac:chgData name="Marta" userId="eac6eb22-5f14-46b4-a4ea-a86e6e8c4acc" providerId="ADAL" clId="{661C6999-6DFA-41E1-9F2F-FC61AEB8EB9F}" dt="2022-02-14T14:00:22.635" v="54" actId="1036"/>
          <ac:spMkLst>
            <pc:docMk/>
            <pc:sldMk cId="573922979" sldId="256"/>
            <ac:spMk id="3" creationId="{00000000-0000-0000-0000-000000000000}"/>
          </ac:spMkLst>
        </pc:spChg>
        <pc:spChg chg="mod">
          <ac:chgData name="Marta" userId="eac6eb22-5f14-46b4-a4ea-a86e6e8c4acc" providerId="ADAL" clId="{661C6999-6DFA-41E1-9F2F-FC61AEB8EB9F}" dt="2022-02-14T14:06:21.840" v="169" actId="27636"/>
          <ac:spMkLst>
            <pc:docMk/>
            <pc:sldMk cId="573922979" sldId="256"/>
            <ac:spMk id="4" creationId="{00000000-0000-0000-0000-000000000000}"/>
          </ac:spMkLst>
        </pc:spChg>
      </pc:sldChg>
      <pc:sldChg chg="modSp mod ord">
        <pc:chgData name="Marta" userId="eac6eb22-5f14-46b4-a4ea-a86e6e8c4acc" providerId="ADAL" clId="{661C6999-6DFA-41E1-9F2F-FC61AEB8EB9F}" dt="2022-02-14T15:34:56.756" v="340" actId="1076"/>
        <pc:sldMkLst>
          <pc:docMk/>
          <pc:sldMk cId="2325718728" sldId="257"/>
        </pc:sldMkLst>
        <pc:spChg chg="mod">
          <ac:chgData name="Marta" userId="eac6eb22-5f14-46b4-a4ea-a86e6e8c4acc" providerId="ADAL" clId="{661C6999-6DFA-41E1-9F2F-FC61AEB8EB9F}" dt="2022-02-14T14:05:00.332" v="163" actId="20577"/>
          <ac:spMkLst>
            <pc:docMk/>
            <pc:sldMk cId="2325718728" sldId="257"/>
            <ac:spMk id="5" creationId="{00000000-0000-0000-0000-000000000000}"/>
          </ac:spMkLst>
        </pc:spChg>
        <pc:spChg chg="mod">
          <ac:chgData name="Marta" userId="eac6eb22-5f14-46b4-a4ea-a86e6e8c4acc" providerId="ADAL" clId="{661C6999-6DFA-41E1-9F2F-FC61AEB8EB9F}" dt="2022-02-14T15:34:51.654" v="338" actId="14100"/>
          <ac:spMkLst>
            <pc:docMk/>
            <pc:sldMk cId="2325718728" sldId="257"/>
            <ac:spMk id="7" creationId="{222A8F0F-EF3C-4138-912C-28DF9E50885E}"/>
          </ac:spMkLst>
        </pc:spChg>
        <pc:picChg chg="mod">
          <ac:chgData name="Marta" userId="eac6eb22-5f14-46b4-a4ea-a86e6e8c4acc" providerId="ADAL" clId="{661C6999-6DFA-41E1-9F2F-FC61AEB8EB9F}" dt="2022-02-14T14:04:00.273" v="156" actId="1076"/>
          <ac:picMkLst>
            <pc:docMk/>
            <pc:sldMk cId="2325718728" sldId="257"/>
            <ac:picMk id="3" creationId="{B7C8E147-0753-4CE0-AFEF-9DC7AB03098B}"/>
          </ac:picMkLst>
        </pc:picChg>
        <pc:picChg chg="mod">
          <ac:chgData name="Marta" userId="eac6eb22-5f14-46b4-a4ea-a86e6e8c4acc" providerId="ADAL" clId="{661C6999-6DFA-41E1-9F2F-FC61AEB8EB9F}" dt="2022-02-14T15:34:56.756" v="340" actId="1076"/>
          <ac:picMkLst>
            <pc:docMk/>
            <pc:sldMk cId="2325718728" sldId="257"/>
            <ac:picMk id="1026" creationId="{77F2EAC6-7614-45E6-89F1-9946D1CF4BE3}"/>
          </ac:picMkLst>
        </pc:picChg>
      </pc:sldChg>
      <pc:sldChg chg="addSp delSp modSp mod ord">
        <pc:chgData name="Marta" userId="eac6eb22-5f14-46b4-a4ea-a86e6e8c4acc" providerId="ADAL" clId="{661C6999-6DFA-41E1-9F2F-FC61AEB8EB9F}" dt="2022-02-14T15:41:44.509" v="559" actId="20577"/>
        <pc:sldMkLst>
          <pc:docMk/>
          <pc:sldMk cId="3528939462" sldId="258"/>
        </pc:sldMkLst>
        <pc:spChg chg="del">
          <ac:chgData name="Marta" userId="eac6eb22-5f14-46b4-a4ea-a86e6e8c4acc" providerId="ADAL" clId="{661C6999-6DFA-41E1-9F2F-FC61AEB8EB9F}" dt="2022-02-14T15:35:04.369" v="341" actId="478"/>
          <ac:spMkLst>
            <pc:docMk/>
            <pc:sldMk cId="3528939462" sldId="258"/>
            <ac:spMk id="2" creationId="{CCA622C9-73E1-4FE3-8901-11D2FDB30D98}"/>
          </ac:spMkLst>
        </pc:spChg>
        <pc:spChg chg="mod">
          <ac:chgData name="Marta" userId="eac6eb22-5f14-46b4-a4ea-a86e6e8c4acc" providerId="ADAL" clId="{661C6999-6DFA-41E1-9F2F-FC61AEB8EB9F}" dt="2022-02-14T15:41:44.509" v="559" actId="20577"/>
          <ac:spMkLst>
            <pc:docMk/>
            <pc:sldMk cId="3528939462" sldId="258"/>
            <ac:spMk id="4" creationId="{00000000-0000-0000-0000-000000000000}"/>
          </ac:spMkLst>
        </pc:spChg>
        <pc:spChg chg="del">
          <ac:chgData name="Marta" userId="eac6eb22-5f14-46b4-a4ea-a86e6e8c4acc" providerId="ADAL" clId="{661C6999-6DFA-41E1-9F2F-FC61AEB8EB9F}" dt="2022-02-14T15:35:04.369" v="341" actId="478"/>
          <ac:spMkLst>
            <pc:docMk/>
            <pc:sldMk cId="3528939462" sldId="258"/>
            <ac:spMk id="8" creationId="{A4A0E97C-38F3-4ECD-8E6A-28A28F49427C}"/>
          </ac:spMkLst>
        </pc:spChg>
        <pc:spChg chg="del">
          <ac:chgData name="Marta" userId="eac6eb22-5f14-46b4-a4ea-a86e6e8c4acc" providerId="ADAL" clId="{661C6999-6DFA-41E1-9F2F-FC61AEB8EB9F}" dt="2022-02-14T15:35:04.369" v="341" actId="478"/>
          <ac:spMkLst>
            <pc:docMk/>
            <pc:sldMk cId="3528939462" sldId="258"/>
            <ac:spMk id="10" creationId="{224C967F-47BE-4373-9DB0-5AB38DAFD3D3}"/>
          </ac:spMkLst>
        </pc:spChg>
        <pc:spChg chg="add mod">
          <ac:chgData name="Marta" userId="eac6eb22-5f14-46b4-a4ea-a86e6e8c4acc" providerId="ADAL" clId="{661C6999-6DFA-41E1-9F2F-FC61AEB8EB9F}" dt="2022-02-14T15:37:17.992" v="378" actId="255"/>
          <ac:spMkLst>
            <pc:docMk/>
            <pc:sldMk cId="3528939462" sldId="258"/>
            <ac:spMk id="20" creationId="{45BC6615-33AD-4DC5-84E4-625EBEF7687D}"/>
          </ac:spMkLst>
        </pc:spChg>
        <pc:spChg chg="add mod">
          <ac:chgData name="Marta" userId="eac6eb22-5f14-46b4-a4ea-a86e6e8c4acc" providerId="ADAL" clId="{661C6999-6DFA-41E1-9F2F-FC61AEB8EB9F}" dt="2022-02-14T15:35:04.821" v="342"/>
          <ac:spMkLst>
            <pc:docMk/>
            <pc:sldMk cId="3528939462" sldId="258"/>
            <ac:spMk id="21" creationId="{89F0784B-B103-4FA9-88CA-37660A3C3BC7}"/>
          </ac:spMkLst>
        </pc:spChg>
        <pc:spChg chg="add mod">
          <ac:chgData name="Marta" userId="eac6eb22-5f14-46b4-a4ea-a86e6e8c4acc" providerId="ADAL" clId="{661C6999-6DFA-41E1-9F2F-FC61AEB8EB9F}" dt="2022-02-14T15:35:04.821" v="342"/>
          <ac:spMkLst>
            <pc:docMk/>
            <pc:sldMk cId="3528939462" sldId="258"/>
            <ac:spMk id="22" creationId="{7F7BFA3A-BC93-467F-8F8C-E5B34A9B126B}"/>
          </ac:spMkLst>
        </pc:spChg>
        <pc:picChg chg="del">
          <ac:chgData name="Marta" userId="eac6eb22-5f14-46b4-a4ea-a86e6e8c4acc" providerId="ADAL" clId="{661C6999-6DFA-41E1-9F2F-FC61AEB8EB9F}" dt="2022-02-14T15:35:04.369" v="341" actId="478"/>
          <ac:picMkLst>
            <pc:docMk/>
            <pc:sldMk cId="3528939462" sldId="258"/>
            <ac:picMk id="9" creationId="{09058E48-00AC-41B4-A33A-C9EC7A09D667}"/>
          </ac:picMkLst>
        </pc:picChg>
        <pc:picChg chg="add mod">
          <ac:chgData name="Marta" userId="eac6eb22-5f14-46b4-a4ea-a86e6e8c4acc" providerId="ADAL" clId="{661C6999-6DFA-41E1-9F2F-FC61AEB8EB9F}" dt="2022-02-14T15:35:04.821" v="342"/>
          <ac:picMkLst>
            <pc:docMk/>
            <pc:sldMk cId="3528939462" sldId="258"/>
            <ac:picMk id="23" creationId="{6BCCEFA5-4C21-41C2-A1D5-A56DFE520308}"/>
          </ac:picMkLst>
        </pc:picChg>
      </pc:sldChg>
      <pc:sldChg chg="addSp delSp modSp mod ord">
        <pc:chgData name="Marta" userId="eac6eb22-5f14-46b4-a4ea-a86e6e8c4acc" providerId="ADAL" clId="{661C6999-6DFA-41E1-9F2F-FC61AEB8EB9F}" dt="2022-02-14T15:42:43.811" v="583" actId="20577"/>
        <pc:sldMkLst>
          <pc:docMk/>
          <pc:sldMk cId="3828261807" sldId="443"/>
        </pc:sldMkLst>
        <pc:spChg chg="del">
          <ac:chgData name="Marta" userId="eac6eb22-5f14-46b4-a4ea-a86e6e8c4acc" providerId="ADAL" clId="{661C6999-6DFA-41E1-9F2F-FC61AEB8EB9F}" dt="2022-02-14T15:35:49.808" v="361" actId="478"/>
          <ac:spMkLst>
            <pc:docMk/>
            <pc:sldMk cId="3828261807" sldId="443"/>
            <ac:spMk id="2" creationId="{CA9A0781-BFB3-4827-8F74-2629FB5CF485}"/>
          </ac:spMkLst>
        </pc:spChg>
        <pc:spChg chg="del">
          <ac:chgData name="Marta" userId="eac6eb22-5f14-46b4-a4ea-a86e6e8c4acc" providerId="ADAL" clId="{661C6999-6DFA-41E1-9F2F-FC61AEB8EB9F}" dt="2022-02-14T15:35:49.808" v="361" actId="478"/>
          <ac:spMkLst>
            <pc:docMk/>
            <pc:sldMk cId="3828261807" sldId="443"/>
            <ac:spMk id="3" creationId="{490D28FC-1F55-41D3-8D37-85A4E73118BE}"/>
          </ac:spMkLst>
        </pc:spChg>
        <pc:spChg chg="del">
          <ac:chgData name="Marta" userId="eac6eb22-5f14-46b4-a4ea-a86e6e8c4acc" providerId="ADAL" clId="{661C6999-6DFA-41E1-9F2F-FC61AEB8EB9F}" dt="2022-02-14T15:35:49.808" v="361" actId="478"/>
          <ac:spMkLst>
            <pc:docMk/>
            <pc:sldMk cId="3828261807" sldId="443"/>
            <ac:spMk id="5" creationId="{47C50FC5-8AC0-476D-80F9-027B8A68552B}"/>
          </ac:spMkLst>
        </pc:spChg>
        <pc:spChg chg="mod">
          <ac:chgData name="Marta" userId="eac6eb22-5f14-46b4-a4ea-a86e6e8c4acc" providerId="ADAL" clId="{661C6999-6DFA-41E1-9F2F-FC61AEB8EB9F}" dt="2022-02-14T15:42:43.811" v="583" actId="20577"/>
          <ac:spMkLst>
            <pc:docMk/>
            <pc:sldMk cId="3828261807" sldId="443"/>
            <ac:spMk id="6" creationId="{00000000-0000-0000-0000-000000000000}"/>
          </ac:spMkLst>
        </pc:spChg>
        <pc:spChg chg="add mod">
          <ac:chgData name="Marta" userId="eac6eb22-5f14-46b4-a4ea-a86e6e8c4acc" providerId="ADAL" clId="{661C6999-6DFA-41E1-9F2F-FC61AEB8EB9F}" dt="2022-02-14T15:36:49.785" v="377" actId="255"/>
          <ac:spMkLst>
            <pc:docMk/>
            <pc:sldMk cId="3828261807" sldId="443"/>
            <ac:spMk id="11" creationId="{219D3A4E-8555-4A64-98D2-F567A51A6D8E}"/>
          </ac:spMkLst>
        </pc:spChg>
        <pc:spChg chg="add mod">
          <ac:chgData name="Marta" userId="eac6eb22-5f14-46b4-a4ea-a86e6e8c4acc" providerId="ADAL" clId="{661C6999-6DFA-41E1-9F2F-FC61AEB8EB9F}" dt="2022-02-14T15:35:50.248" v="362"/>
          <ac:spMkLst>
            <pc:docMk/>
            <pc:sldMk cId="3828261807" sldId="443"/>
            <ac:spMk id="12" creationId="{46DE8F3E-9532-43FC-BF69-6BE02D1B7543}"/>
          </ac:spMkLst>
        </pc:spChg>
        <pc:spChg chg="add mod">
          <ac:chgData name="Marta" userId="eac6eb22-5f14-46b4-a4ea-a86e6e8c4acc" providerId="ADAL" clId="{661C6999-6DFA-41E1-9F2F-FC61AEB8EB9F}" dt="2022-02-14T15:35:50.248" v="362"/>
          <ac:spMkLst>
            <pc:docMk/>
            <pc:sldMk cId="3828261807" sldId="443"/>
            <ac:spMk id="13" creationId="{1FC24D19-9938-4B73-89F1-3C02B6FFC002}"/>
          </ac:spMkLst>
        </pc:spChg>
        <pc:picChg chg="del">
          <ac:chgData name="Marta" userId="eac6eb22-5f14-46b4-a4ea-a86e6e8c4acc" providerId="ADAL" clId="{661C6999-6DFA-41E1-9F2F-FC61AEB8EB9F}" dt="2022-02-14T15:35:49.808" v="361" actId="478"/>
          <ac:picMkLst>
            <pc:docMk/>
            <pc:sldMk cId="3828261807" sldId="443"/>
            <ac:picMk id="10" creationId="{D3A57A76-DBAB-4600-AE46-2547AB41BBB2}"/>
          </ac:picMkLst>
        </pc:picChg>
        <pc:picChg chg="add mod">
          <ac:chgData name="Marta" userId="eac6eb22-5f14-46b4-a4ea-a86e6e8c4acc" providerId="ADAL" clId="{661C6999-6DFA-41E1-9F2F-FC61AEB8EB9F}" dt="2022-02-14T15:35:50.248" v="362"/>
          <ac:picMkLst>
            <pc:docMk/>
            <pc:sldMk cId="3828261807" sldId="443"/>
            <ac:picMk id="14" creationId="{DEC8DBAF-CD2B-425A-A098-5286DF098673}"/>
          </ac:picMkLst>
        </pc:picChg>
      </pc:sldChg>
      <pc:sldChg chg="addSp delSp modSp add mod">
        <pc:chgData name="Marta" userId="eac6eb22-5f14-46b4-a4ea-a86e6e8c4acc" providerId="ADAL" clId="{661C6999-6DFA-41E1-9F2F-FC61AEB8EB9F}" dt="2022-02-14T15:40:47.823" v="556" actId="1076"/>
        <pc:sldMkLst>
          <pc:docMk/>
          <pc:sldMk cId="2693195115" sldId="461"/>
        </pc:sldMkLst>
        <pc:spChg chg="add del mod">
          <ac:chgData name="Marta" userId="eac6eb22-5f14-46b4-a4ea-a86e6e8c4acc" providerId="ADAL" clId="{661C6999-6DFA-41E1-9F2F-FC61AEB8EB9F}" dt="2022-02-14T15:35:24.402" v="349" actId="478"/>
          <ac:spMkLst>
            <pc:docMk/>
            <pc:sldMk cId="2693195115" sldId="461"/>
            <ac:spMk id="8" creationId="{16E6DC51-070C-4CD6-B18A-EF11A415360F}"/>
          </ac:spMkLst>
        </pc:spChg>
        <pc:spChg chg="add del mod">
          <ac:chgData name="Marta" userId="eac6eb22-5f14-46b4-a4ea-a86e6e8c4acc" providerId="ADAL" clId="{661C6999-6DFA-41E1-9F2F-FC61AEB8EB9F}" dt="2022-02-14T15:35:24.402" v="349" actId="478"/>
          <ac:spMkLst>
            <pc:docMk/>
            <pc:sldMk cId="2693195115" sldId="461"/>
            <ac:spMk id="9" creationId="{36948157-D950-4BF3-BEFF-7EDEF11F1B7E}"/>
          </ac:spMkLst>
        </pc:spChg>
        <pc:spChg chg="add del mod">
          <ac:chgData name="Marta" userId="eac6eb22-5f14-46b4-a4ea-a86e6e8c4acc" providerId="ADAL" clId="{661C6999-6DFA-41E1-9F2F-FC61AEB8EB9F}" dt="2022-02-14T15:35:24.402" v="349" actId="478"/>
          <ac:spMkLst>
            <pc:docMk/>
            <pc:sldMk cId="2693195115" sldId="461"/>
            <ac:spMk id="10" creationId="{F27727D3-F81A-4FE2-885B-B2C3FC9C8A8F}"/>
          </ac:spMkLst>
        </pc:spChg>
        <pc:spChg chg="add mod">
          <ac:chgData name="Marta" userId="eac6eb22-5f14-46b4-a4ea-a86e6e8c4acc" providerId="ADAL" clId="{661C6999-6DFA-41E1-9F2F-FC61AEB8EB9F}" dt="2022-02-14T15:35:24.579" v="350"/>
          <ac:spMkLst>
            <pc:docMk/>
            <pc:sldMk cId="2693195115" sldId="461"/>
            <ac:spMk id="12" creationId="{A4C188D6-C668-457F-BA58-96D8FFB09230}"/>
          </ac:spMkLst>
        </pc:spChg>
        <pc:spChg chg="add mod">
          <ac:chgData name="Marta" userId="eac6eb22-5f14-46b4-a4ea-a86e6e8c4acc" providerId="ADAL" clId="{661C6999-6DFA-41E1-9F2F-FC61AEB8EB9F}" dt="2022-02-14T15:35:24.579" v="350"/>
          <ac:spMkLst>
            <pc:docMk/>
            <pc:sldMk cId="2693195115" sldId="461"/>
            <ac:spMk id="13" creationId="{34D5C63C-BF1D-4931-95F2-E660DDDFBD5D}"/>
          </ac:spMkLst>
        </pc:spChg>
        <pc:spChg chg="mod">
          <ac:chgData name="Marta" userId="eac6eb22-5f14-46b4-a4ea-a86e6e8c4acc" providerId="ADAL" clId="{661C6999-6DFA-41E1-9F2F-FC61AEB8EB9F}" dt="2022-02-14T15:40:47.823" v="556" actId="1076"/>
          <ac:spMkLst>
            <pc:docMk/>
            <pc:sldMk cId="2693195115" sldId="461"/>
            <ac:spMk id="14" creationId="{81CEB081-CD23-4709-BA68-D3043B6010C2}"/>
          </ac:spMkLst>
        </pc:spChg>
        <pc:spChg chg="del">
          <ac:chgData name="Marta" userId="eac6eb22-5f14-46b4-a4ea-a86e6e8c4acc" providerId="ADAL" clId="{661C6999-6DFA-41E1-9F2F-FC61AEB8EB9F}" dt="2022-02-14T14:08:29.780" v="179" actId="478"/>
          <ac:spMkLst>
            <pc:docMk/>
            <pc:sldMk cId="2693195115" sldId="461"/>
            <ac:spMk id="15" creationId="{B212BD0D-B987-4648-9162-07B9DD67B990}"/>
          </ac:spMkLst>
        </pc:spChg>
        <pc:spChg chg="add mod">
          <ac:chgData name="Marta" userId="eac6eb22-5f14-46b4-a4ea-a86e6e8c4acc" providerId="ADAL" clId="{661C6999-6DFA-41E1-9F2F-FC61AEB8EB9F}" dt="2022-02-14T15:35:24.579" v="350"/>
          <ac:spMkLst>
            <pc:docMk/>
            <pc:sldMk cId="2693195115" sldId="461"/>
            <ac:spMk id="15" creationId="{F38C0B71-C653-4C45-9F9E-9767FC404468}"/>
          </ac:spMkLst>
        </pc:spChg>
        <pc:spChg chg="mod">
          <ac:chgData name="Marta" userId="eac6eb22-5f14-46b4-a4ea-a86e6e8c4acc" providerId="ADAL" clId="{661C6999-6DFA-41E1-9F2F-FC61AEB8EB9F}" dt="2022-02-14T15:40:35.661" v="555" actId="20577"/>
          <ac:spMkLst>
            <pc:docMk/>
            <pc:sldMk cId="2693195115" sldId="461"/>
            <ac:spMk id="16" creationId="{A188A548-96A8-4D2F-8179-7CB96D16B0F5}"/>
          </ac:spMkLst>
        </pc:spChg>
        <pc:picChg chg="add mod">
          <ac:chgData name="Marta" userId="eac6eb22-5f14-46b4-a4ea-a86e6e8c4acc" providerId="ADAL" clId="{661C6999-6DFA-41E1-9F2F-FC61AEB8EB9F}" dt="2022-02-14T14:08:15.652" v="178" actId="1076"/>
          <ac:picMkLst>
            <pc:docMk/>
            <pc:sldMk cId="2693195115" sldId="461"/>
            <ac:picMk id="3" creationId="{B6B80CDE-C545-417F-9694-B46760E31DC4}"/>
          </ac:picMkLst>
        </pc:picChg>
        <pc:picChg chg="add del mod">
          <ac:chgData name="Marta" userId="eac6eb22-5f14-46b4-a4ea-a86e6e8c4acc" providerId="ADAL" clId="{661C6999-6DFA-41E1-9F2F-FC61AEB8EB9F}" dt="2022-02-14T15:35:24.402" v="349" actId="478"/>
          <ac:picMkLst>
            <pc:docMk/>
            <pc:sldMk cId="2693195115" sldId="461"/>
            <ac:picMk id="11" creationId="{341D06A4-2CF9-46C5-91A4-4BC3DC85CFEA}"/>
          </ac:picMkLst>
        </pc:picChg>
        <pc:picChg chg="del">
          <ac:chgData name="Marta" userId="eac6eb22-5f14-46b4-a4ea-a86e6e8c4acc" providerId="ADAL" clId="{661C6999-6DFA-41E1-9F2F-FC61AEB8EB9F}" dt="2022-02-14T14:08:11.804" v="176" actId="478"/>
          <ac:picMkLst>
            <pc:docMk/>
            <pc:sldMk cId="2693195115" sldId="461"/>
            <ac:picMk id="12" creationId="{37E4BE3F-0478-417C-B635-345DA7AAA6A9}"/>
          </ac:picMkLst>
        </pc:picChg>
        <pc:picChg chg="add mod">
          <ac:chgData name="Marta" userId="eac6eb22-5f14-46b4-a4ea-a86e6e8c4acc" providerId="ADAL" clId="{661C6999-6DFA-41E1-9F2F-FC61AEB8EB9F}" dt="2022-02-14T15:35:24.579" v="350"/>
          <ac:picMkLst>
            <pc:docMk/>
            <pc:sldMk cId="2693195115" sldId="461"/>
            <ac:picMk id="17" creationId="{2EA962B5-C63F-44D1-AFA2-8EE5D53270EB}"/>
          </ac:picMkLst>
        </pc:picChg>
      </pc:sldChg>
      <pc:sldChg chg="addSp delSp modSp mod">
        <pc:chgData name="Marta" userId="eac6eb22-5f14-46b4-a4ea-a86e6e8c4acc" providerId="ADAL" clId="{661C6999-6DFA-41E1-9F2F-FC61AEB8EB9F}" dt="2022-02-14T15:42:49.242" v="587" actId="20577"/>
        <pc:sldMkLst>
          <pc:docMk/>
          <pc:sldMk cId="1484635905" sldId="753"/>
        </pc:sldMkLst>
        <pc:spChg chg="del">
          <ac:chgData name="Marta" userId="eac6eb22-5f14-46b4-a4ea-a86e6e8c4acc" providerId="ADAL" clId="{661C6999-6DFA-41E1-9F2F-FC61AEB8EB9F}" dt="2022-02-14T15:35:53.794" v="363" actId="478"/>
          <ac:spMkLst>
            <pc:docMk/>
            <pc:sldMk cId="1484635905" sldId="753"/>
            <ac:spMk id="2" creationId="{DA68B010-FF9B-49AB-B01C-00EBC2262BB9}"/>
          </ac:spMkLst>
        </pc:spChg>
        <pc:spChg chg="mod">
          <ac:chgData name="Marta" userId="eac6eb22-5f14-46b4-a4ea-a86e6e8c4acc" providerId="ADAL" clId="{661C6999-6DFA-41E1-9F2F-FC61AEB8EB9F}" dt="2022-02-14T15:42:49.242" v="587" actId="20577"/>
          <ac:spMkLst>
            <pc:docMk/>
            <pc:sldMk cId="1484635905" sldId="753"/>
            <ac:spMk id="3" creationId="{49BBA79F-5F7E-4DC1-BE4A-E43D184D8E06}"/>
          </ac:spMkLst>
        </pc:spChg>
        <pc:spChg chg="del">
          <ac:chgData name="Marta" userId="eac6eb22-5f14-46b4-a4ea-a86e6e8c4acc" providerId="ADAL" clId="{661C6999-6DFA-41E1-9F2F-FC61AEB8EB9F}" dt="2022-02-14T15:35:53.794" v="363" actId="478"/>
          <ac:spMkLst>
            <pc:docMk/>
            <pc:sldMk cId="1484635905" sldId="753"/>
            <ac:spMk id="4" creationId="{2078680A-7C7F-4DBA-B4EB-B15E6F608E01}"/>
          </ac:spMkLst>
        </pc:spChg>
        <pc:spChg chg="mod">
          <ac:chgData name="Marta" userId="eac6eb22-5f14-46b4-a4ea-a86e6e8c4acc" providerId="ADAL" clId="{661C6999-6DFA-41E1-9F2F-FC61AEB8EB9F}" dt="2022-02-14T15:42:46.865" v="585" actId="20577"/>
          <ac:spMkLst>
            <pc:docMk/>
            <pc:sldMk cId="1484635905" sldId="753"/>
            <ac:spMk id="6" creationId="{00000000-0000-0000-0000-000000000000}"/>
          </ac:spMkLst>
        </pc:spChg>
        <pc:spChg chg="add del mod">
          <ac:chgData name="Marta" userId="eac6eb22-5f14-46b4-a4ea-a86e6e8c4acc" providerId="ADAL" clId="{661C6999-6DFA-41E1-9F2F-FC61AEB8EB9F}" dt="2022-02-14T15:35:57.168" v="365"/>
          <ac:spMkLst>
            <pc:docMk/>
            <pc:sldMk cId="1484635905" sldId="753"/>
            <ac:spMk id="9" creationId="{C9DE1084-8396-4B31-975F-556EFCD9008C}"/>
          </ac:spMkLst>
        </pc:spChg>
        <pc:spChg chg="add del mod">
          <ac:chgData name="Marta" userId="eac6eb22-5f14-46b4-a4ea-a86e6e8c4acc" providerId="ADAL" clId="{661C6999-6DFA-41E1-9F2F-FC61AEB8EB9F}" dt="2022-02-14T15:35:57.168" v="365"/>
          <ac:spMkLst>
            <pc:docMk/>
            <pc:sldMk cId="1484635905" sldId="753"/>
            <ac:spMk id="10" creationId="{F43B1903-8317-4EC2-8242-86EF5BA8DC73}"/>
          </ac:spMkLst>
        </pc:spChg>
        <pc:spChg chg="del">
          <ac:chgData name="Marta" userId="eac6eb22-5f14-46b4-a4ea-a86e6e8c4acc" providerId="ADAL" clId="{661C6999-6DFA-41E1-9F2F-FC61AEB8EB9F}" dt="2022-02-14T15:35:53.794" v="363" actId="478"/>
          <ac:spMkLst>
            <pc:docMk/>
            <pc:sldMk cId="1484635905" sldId="753"/>
            <ac:spMk id="11" creationId="{BA05C39A-4A6F-4B84-8BFC-FDD0418B8D96}"/>
          </ac:spMkLst>
        </pc:spChg>
        <pc:spChg chg="add del mod">
          <ac:chgData name="Marta" userId="eac6eb22-5f14-46b4-a4ea-a86e6e8c4acc" providerId="ADAL" clId="{661C6999-6DFA-41E1-9F2F-FC61AEB8EB9F}" dt="2022-02-14T15:35:57.168" v="365"/>
          <ac:spMkLst>
            <pc:docMk/>
            <pc:sldMk cId="1484635905" sldId="753"/>
            <ac:spMk id="12" creationId="{9FFFE015-B51C-4252-A0C4-D7380EF63D92}"/>
          </ac:spMkLst>
        </pc:spChg>
        <pc:spChg chg="add mod">
          <ac:chgData name="Marta" userId="eac6eb22-5f14-46b4-a4ea-a86e6e8c4acc" providerId="ADAL" clId="{661C6999-6DFA-41E1-9F2F-FC61AEB8EB9F}" dt="2022-02-14T15:36:00.211" v="367"/>
          <ac:spMkLst>
            <pc:docMk/>
            <pc:sldMk cId="1484635905" sldId="753"/>
            <ac:spMk id="14" creationId="{403C2238-44E2-4B09-B926-64244BC2204E}"/>
          </ac:spMkLst>
        </pc:spChg>
        <pc:spChg chg="add mod">
          <ac:chgData name="Marta" userId="eac6eb22-5f14-46b4-a4ea-a86e6e8c4acc" providerId="ADAL" clId="{661C6999-6DFA-41E1-9F2F-FC61AEB8EB9F}" dt="2022-02-14T15:36:00.211" v="367"/>
          <ac:spMkLst>
            <pc:docMk/>
            <pc:sldMk cId="1484635905" sldId="753"/>
            <ac:spMk id="15" creationId="{6C45A98E-AC80-44DF-B63D-4507B8B5C8C3}"/>
          </ac:spMkLst>
        </pc:spChg>
        <pc:spChg chg="add mod">
          <ac:chgData name="Marta" userId="eac6eb22-5f14-46b4-a4ea-a86e6e8c4acc" providerId="ADAL" clId="{661C6999-6DFA-41E1-9F2F-FC61AEB8EB9F}" dt="2022-02-14T15:36:00.211" v="367"/>
          <ac:spMkLst>
            <pc:docMk/>
            <pc:sldMk cId="1484635905" sldId="753"/>
            <ac:spMk id="16" creationId="{20BCA566-E139-4F03-8BBC-585AFB6B99A6}"/>
          </ac:spMkLst>
        </pc:spChg>
        <pc:picChg chg="del">
          <ac:chgData name="Marta" userId="eac6eb22-5f14-46b4-a4ea-a86e6e8c4acc" providerId="ADAL" clId="{661C6999-6DFA-41E1-9F2F-FC61AEB8EB9F}" dt="2022-02-14T15:35:59.836" v="366" actId="478"/>
          <ac:picMkLst>
            <pc:docMk/>
            <pc:sldMk cId="1484635905" sldId="753"/>
            <ac:picMk id="8" creationId="{62259F87-D19D-4C1E-A55B-1FFC14D2BA78}"/>
          </ac:picMkLst>
        </pc:picChg>
        <pc:picChg chg="add del mod">
          <ac:chgData name="Marta" userId="eac6eb22-5f14-46b4-a4ea-a86e6e8c4acc" providerId="ADAL" clId="{661C6999-6DFA-41E1-9F2F-FC61AEB8EB9F}" dt="2022-02-14T15:35:57.168" v="365"/>
          <ac:picMkLst>
            <pc:docMk/>
            <pc:sldMk cId="1484635905" sldId="753"/>
            <ac:picMk id="13" creationId="{286BFDCD-9FBA-42B7-899E-03D751BFE3AB}"/>
          </ac:picMkLst>
        </pc:picChg>
        <pc:picChg chg="add mod">
          <ac:chgData name="Marta" userId="eac6eb22-5f14-46b4-a4ea-a86e6e8c4acc" providerId="ADAL" clId="{661C6999-6DFA-41E1-9F2F-FC61AEB8EB9F}" dt="2022-02-14T15:36:00.211" v="367"/>
          <ac:picMkLst>
            <pc:docMk/>
            <pc:sldMk cId="1484635905" sldId="753"/>
            <ac:picMk id="17" creationId="{D170D516-A40D-417F-8421-7D89F1C8E25C}"/>
          </ac:picMkLst>
        </pc:picChg>
      </pc:sldChg>
      <pc:sldChg chg="addSp delSp modSp mod">
        <pc:chgData name="Marta" userId="eac6eb22-5f14-46b4-a4ea-a86e6e8c4acc" providerId="ADAL" clId="{661C6999-6DFA-41E1-9F2F-FC61AEB8EB9F}" dt="2022-02-14T15:52:28.107" v="660" actId="20577"/>
        <pc:sldMkLst>
          <pc:docMk/>
          <pc:sldMk cId="2932444859" sldId="756"/>
        </pc:sldMkLst>
        <pc:spChg chg="del">
          <ac:chgData name="Marta" userId="eac6eb22-5f14-46b4-a4ea-a86e6e8c4acc" providerId="ADAL" clId="{661C6999-6DFA-41E1-9F2F-FC61AEB8EB9F}" dt="2022-02-14T15:36:24.745" v="374" actId="478"/>
          <ac:spMkLst>
            <pc:docMk/>
            <pc:sldMk cId="2932444859" sldId="756"/>
            <ac:spMk id="2" creationId="{8B41472F-A3EE-41D7-AE08-1F4E3C792660}"/>
          </ac:spMkLst>
        </pc:spChg>
        <pc:spChg chg="mod">
          <ac:chgData name="Marta" userId="eac6eb22-5f14-46b4-a4ea-a86e6e8c4acc" providerId="ADAL" clId="{661C6999-6DFA-41E1-9F2F-FC61AEB8EB9F}" dt="2022-02-14T15:52:28.107" v="660" actId="20577"/>
          <ac:spMkLst>
            <pc:docMk/>
            <pc:sldMk cId="2932444859" sldId="756"/>
            <ac:spMk id="4" creationId="{00000000-0000-0000-0000-000000000000}"/>
          </ac:spMkLst>
        </pc:spChg>
        <pc:spChg chg="del">
          <ac:chgData name="Marta" userId="eac6eb22-5f14-46b4-a4ea-a86e6e8c4acc" providerId="ADAL" clId="{661C6999-6DFA-41E1-9F2F-FC61AEB8EB9F}" dt="2022-02-14T15:36:24.745" v="374" actId="478"/>
          <ac:spMkLst>
            <pc:docMk/>
            <pc:sldMk cId="2932444859" sldId="756"/>
            <ac:spMk id="6" creationId="{CD27FF47-24C2-4C99-A141-E3D97F9C884C}"/>
          </ac:spMkLst>
        </pc:spChg>
        <pc:spChg chg="mod">
          <ac:chgData name="Marta" userId="eac6eb22-5f14-46b4-a4ea-a86e6e8c4acc" providerId="ADAL" clId="{661C6999-6DFA-41E1-9F2F-FC61AEB8EB9F}" dt="2022-02-14T14:19:39.516" v="264" actId="20577"/>
          <ac:spMkLst>
            <pc:docMk/>
            <pc:sldMk cId="2932444859" sldId="756"/>
            <ac:spMk id="8" creationId="{994CAA25-984D-4484-838B-9B092E7155F2}"/>
          </ac:spMkLst>
        </pc:spChg>
        <pc:spChg chg="add mod">
          <ac:chgData name="Marta" userId="eac6eb22-5f14-46b4-a4ea-a86e6e8c4acc" providerId="ADAL" clId="{661C6999-6DFA-41E1-9F2F-FC61AEB8EB9F}" dt="2022-02-14T15:36:35.537" v="376" actId="255"/>
          <ac:spMkLst>
            <pc:docMk/>
            <pc:sldMk cId="2932444859" sldId="756"/>
            <ac:spMk id="10" creationId="{41FD3999-A86A-4BBE-9C18-3124923FD008}"/>
          </ac:spMkLst>
        </pc:spChg>
        <pc:spChg chg="add mod">
          <ac:chgData name="Marta" userId="eac6eb22-5f14-46b4-a4ea-a86e6e8c4acc" providerId="ADAL" clId="{661C6999-6DFA-41E1-9F2F-FC61AEB8EB9F}" dt="2022-02-14T15:36:25.147" v="375"/>
          <ac:spMkLst>
            <pc:docMk/>
            <pc:sldMk cId="2932444859" sldId="756"/>
            <ac:spMk id="11" creationId="{0D988C80-95C6-42A4-B26B-145B0BC7C404}"/>
          </ac:spMkLst>
        </pc:spChg>
        <pc:spChg chg="del">
          <ac:chgData name="Marta" userId="eac6eb22-5f14-46b4-a4ea-a86e6e8c4acc" providerId="ADAL" clId="{661C6999-6DFA-41E1-9F2F-FC61AEB8EB9F}" dt="2022-02-14T15:36:24.745" v="374" actId="478"/>
          <ac:spMkLst>
            <pc:docMk/>
            <pc:sldMk cId="2932444859" sldId="756"/>
            <ac:spMk id="12" creationId="{4DA503FB-519E-45AD-84A3-2F69A868CC8C}"/>
          </ac:spMkLst>
        </pc:spChg>
        <pc:spChg chg="add mod">
          <ac:chgData name="Marta" userId="eac6eb22-5f14-46b4-a4ea-a86e6e8c4acc" providerId="ADAL" clId="{661C6999-6DFA-41E1-9F2F-FC61AEB8EB9F}" dt="2022-02-14T15:36:25.147" v="375"/>
          <ac:spMkLst>
            <pc:docMk/>
            <pc:sldMk cId="2932444859" sldId="756"/>
            <ac:spMk id="13" creationId="{69CDC71E-2ADC-4E43-86EC-45ECC0628026}"/>
          </ac:spMkLst>
        </pc:spChg>
        <pc:picChg chg="del">
          <ac:chgData name="Marta" userId="eac6eb22-5f14-46b4-a4ea-a86e6e8c4acc" providerId="ADAL" clId="{661C6999-6DFA-41E1-9F2F-FC61AEB8EB9F}" dt="2022-02-14T15:36:24.745" v="374" actId="478"/>
          <ac:picMkLst>
            <pc:docMk/>
            <pc:sldMk cId="2932444859" sldId="756"/>
            <ac:picMk id="7" creationId="{3EA069F1-E9E0-4286-98F1-B38420FC503F}"/>
          </ac:picMkLst>
        </pc:picChg>
        <pc:picChg chg="add mod">
          <ac:chgData name="Marta" userId="eac6eb22-5f14-46b4-a4ea-a86e6e8c4acc" providerId="ADAL" clId="{661C6999-6DFA-41E1-9F2F-FC61AEB8EB9F}" dt="2022-02-14T15:36:25.147" v="375"/>
          <ac:picMkLst>
            <pc:docMk/>
            <pc:sldMk cId="2932444859" sldId="756"/>
            <ac:picMk id="14" creationId="{DBAA60BC-8150-45D5-90CE-79DE208AD16B}"/>
          </ac:picMkLst>
        </pc:picChg>
      </pc:sldChg>
      <pc:sldChg chg="addSp delSp modSp mod ord">
        <pc:chgData name="Marta" userId="eac6eb22-5f14-46b4-a4ea-a86e6e8c4acc" providerId="ADAL" clId="{661C6999-6DFA-41E1-9F2F-FC61AEB8EB9F}" dt="2022-02-14T15:41:54.485" v="563" actId="20577"/>
        <pc:sldMkLst>
          <pc:docMk/>
          <pc:sldMk cId="4279644075" sldId="759"/>
        </pc:sldMkLst>
        <pc:spChg chg="del">
          <ac:chgData name="Marta" userId="eac6eb22-5f14-46b4-a4ea-a86e6e8c4acc" providerId="ADAL" clId="{661C6999-6DFA-41E1-9F2F-FC61AEB8EB9F}" dt="2022-02-14T15:35:09.439" v="343" actId="478"/>
          <ac:spMkLst>
            <pc:docMk/>
            <pc:sldMk cId="4279644075" sldId="759"/>
            <ac:spMk id="2" creationId="{D677FC44-F51B-466F-AED6-3CB59EAFC0FD}"/>
          </ac:spMkLst>
        </pc:spChg>
        <pc:spChg chg="mod">
          <ac:chgData name="Marta" userId="eac6eb22-5f14-46b4-a4ea-a86e6e8c4acc" providerId="ADAL" clId="{661C6999-6DFA-41E1-9F2F-FC61AEB8EB9F}" dt="2022-02-14T15:41:51.661" v="561" actId="20577"/>
          <ac:spMkLst>
            <pc:docMk/>
            <pc:sldMk cId="4279644075" sldId="759"/>
            <ac:spMk id="3" creationId="{00000000-0000-0000-0000-000000000000}"/>
          </ac:spMkLst>
        </pc:spChg>
        <pc:spChg chg="del">
          <ac:chgData name="Marta" userId="eac6eb22-5f14-46b4-a4ea-a86e6e8c4acc" providerId="ADAL" clId="{661C6999-6DFA-41E1-9F2F-FC61AEB8EB9F}" dt="2022-02-14T15:35:09.439" v="343" actId="478"/>
          <ac:spMkLst>
            <pc:docMk/>
            <pc:sldMk cId="4279644075" sldId="759"/>
            <ac:spMk id="4" creationId="{E037D669-169A-4E57-AE2C-287593D5E0A7}"/>
          </ac:spMkLst>
        </pc:spChg>
        <pc:spChg chg="mod">
          <ac:chgData name="Marta" userId="eac6eb22-5f14-46b4-a4ea-a86e6e8c4acc" providerId="ADAL" clId="{661C6999-6DFA-41E1-9F2F-FC61AEB8EB9F}" dt="2022-02-14T15:41:54.485" v="563" actId="20577"/>
          <ac:spMkLst>
            <pc:docMk/>
            <pc:sldMk cId="4279644075" sldId="759"/>
            <ac:spMk id="7" creationId="{C542E130-C53F-4C9B-A35D-CF6E6831ABC8}"/>
          </ac:spMkLst>
        </pc:spChg>
        <pc:spChg chg="del">
          <ac:chgData name="Marta" userId="eac6eb22-5f14-46b4-a4ea-a86e6e8c4acc" providerId="ADAL" clId="{661C6999-6DFA-41E1-9F2F-FC61AEB8EB9F}" dt="2022-02-14T15:35:09.439" v="343" actId="478"/>
          <ac:spMkLst>
            <pc:docMk/>
            <pc:sldMk cId="4279644075" sldId="759"/>
            <ac:spMk id="9" creationId="{E4CCC7DB-20D0-475B-B55A-28DDE780D5F6}"/>
          </ac:spMkLst>
        </pc:spChg>
        <pc:spChg chg="add mod">
          <ac:chgData name="Marta" userId="eac6eb22-5f14-46b4-a4ea-a86e6e8c4acc" providerId="ADAL" clId="{661C6999-6DFA-41E1-9F2F-FC61AEB8EB9F}" dt="2022-02-14T15:35:09.787" v="344"/>
          <ac:spMkLst>
            <pc:docMk/>
            <pc:sldMk cId="4279644075" sldId="759"/>
            <ac:spMk id="10" creationId="{3D090CF6-5C1B-4BE3-A615-3C0228981C66}"/>
          </ac:spMkLst>
        </pc:spChg>
        <pc:spChg chg="add mod">
          <ac:chgData name="Marta" userId="eac6eb22-5f14-46b4-a4ea-a86e6e8c4acc" providerId="ADAL" clId="{661C6999-6DFA-41E1-9F2F-FC61AEB8EB9F}" dt="2022-02-14T15:35:09.787" v="344"/>
          <ac:spMkLst>
            <pc:docMk/>
            <pc:sldMk cId="4279644075" sldId="759"/>
            <ac:spMk id="11" creationId="{D346C285-4B4E-4B4C-86CA-03EE65A9E806}"/>
          </ac:spMkLst>
        </pc:spChg>
        <pc:spChg chg="add mod">
          <ac:chgData name="Marta" userId="eac6eb22-5f14-46b4-a4ea-a86e6e8c4acc" providerId="ADAL" clId="{661C6999-6DFA-41E1-9F2F-FC61AEB8EB9F}" dt="2022-02-14T15:35:09.787" v="344"/>
          <ac:spMkLst>
            <pc:docMk/>
            <pc:sldMk cId="4279644075" sldId="759"/>
            <ac:spMk id="12" creationId="{0861272F-5156-463C-9C6F-4527EAAA90F2}"/>
          </ac:spMkLst>
        </pc:spChg>
        <pc:picChg chg="del">
          <ac:chgData name="Marta" userId="eac6eb22-5f14-46b4-a4ea-a86e6e8c4acc" providerId="ADAL" clId="{661C6999-6DFA-41E1-9F2F-FC61AEB8EB9F}" dt="2022-02-14T15:35:09.439" v="343" actId="478"/>
          <ac:picMkLst>
            <pc:docMk/>
            <pc:sldMk cId="4279644075" sldId="759"/>
            <ac:picMk id="6" creationId="{B53F7682-EE0D-4290-A208-DDA2D8ED2CC8}"/>
          </ac:picMkLst>
        </pc:picChg>
        <pc:picChg chg="add mod">
          <ac:chgData name="Marta" userId="eac6eb22-5f14-46b4-a4ea-a86e6e8c4acc" providerId="ADAL" clId="{661C6999-6DFA-41E1-9F2F-FC61AEB8EB9F}" dt="2022-02-14T15:35:09.787" v="344"/>
          <ac:picMkLst>
            <pc:docMk/>
            <pc:sldMk cId="4279644075" sldId="759"/>
            <ac:picMk id="13" creationId="{9E1787E6-A7FA-4562-B615-C9D88C8267E5}"/>
          </ac:picMkLst>
        </pc:picChg>
      </pc:sldChg>
      <pc:sldChg chg="addSp delSp modSp mod ord">
        <pc:chgData name="Marta" userId="eac6eb22-5f14-46b4-a4ea-a86e6e8c4acc" providerId="ADAL" clId="{661C6999-6DFA-41E1-9F2F-FC61AEB8EB9F}" dt="2022-02-14T15:42:39.526" v="581" actId="20577"/>
        <pc:sldMkLst>
          <pc:docMk/>
          <pc:sldMk cId="1299466057" sldId="769"/>
        </pc:sldMkLst>
        <pc:spChg chg="del">
          <ac:chgData name="Marta" userId="eac6eb22-5f14-46b4-a4ea-a86e6e8c4acc" providerId="ADAL" clId="{661C6999-6DFA-41E1-9F2F-FC61AEB8EB9F}" dt="2022-02-14T15:35:45.832" v="359" actId="478"/>
          <ac:spMkLst>
            <pc:docMk/>
            <pc:sldMk cId="1299466057" sldId="769"/>
            <ac:spMk id="2" creationId="{DE22E032-5ED4-46D5-8248-3286050BA909}"/>
          </ac:spMkLst>
        </pc:spChg>
        <pc:spChg chg="del">
          <ac:chgData name="Marta" userId="eac6eb22-5f14-46b4-a4ea-a86e6e8c4acc" providerId="ADAL" clId="{661C6999-6DFA-41E1-9F2F-FC61AEB8EB9F}" dt="2022-02-14T15:35:45.832" v="359" actId="478"/>
          <ac:spMkLst>
            <pc:docMk/>
            <pc:sldMk cId="1299466057" sldId="769"/>
            <ac:spMk id="3" creationId="{88D4AFD8-D003-4049-A099-E4EE17481E3C}"/>
          </ac:spMkLst>
        </pc:spChg>
        <pc:spChg chg="del">
          <ac:chgData name="Marta" userId="eac6eb22-5f14-46b4-a4ea-a86e6e8c4acc" providerId="ADAL" clId="{661C6999-6DFA-41E1-9F2F-FC61AEB8EB9F}" dt="2022-02-14T15:35:45.832" v="359" actId="478"/>
          <ac:spMkLst>
            <pc:docMk/>
            <pc:sldMk cId="1299466057" sldId="769"/>
            <ac:spMk id="5" creationId="{CA8F0732-BC9C-4489-8513-4C1C6B02FA45}"/>
          </ac:spMkLst>
        </pc:spChg>
        <pc:spChg chg="mod">
          <ac:chgData name="Marta" userId="eac6eb22-5f14-46b4-a4ea-a86e6e8c4acc" providerId="ADAL" clId="{661C6999-6DFA-41E1-9F2F-FC61AEB8EB9F}" dt="2022-02-14T15:42:37.495" v="579" actId="20577"/>
          <ac:spMkLst>
            <pc:docMk/>
            <pc:sldMk cId="1299466057" sldId="769"/>
            <ac:spMk id="6" creationId="{00000000-0000-0000-0000-000000000000}"/>
          </ac:spMkLst>
        </pc:spChg>
        <pc:spChg chg="add mod">
          <ac:chgData name="Marta" userId="eac6eb22-5f14-46b4-a4ea-a86e6e8c4acc" providerId="ADAL" clId="{661C6999-6DFA-41E1-9F2F-FC61AEB8EB9F}" dt="2022-02-14T15:35:46.291" v="360"/>
          <ac:spMkLst>
            <pc:docMk/>
            <pc:sldMk cId="1299466057" sldId="769"/>
            <ac:spMk id="10" creationId="{33C71D3D-B8A4-4319-9066-7586E6863122}"/>
          </ac:spMkLst>
        </pc:spChg>
        <pc:spChg chg="add mod">
          <ac:chgData name="Marta" userId="eac6eb22-5f14-46b4-a4ea-a86e6e8c4acc" providerId="ADAL" clId="{661C6999-6DFA-41E1-9F2F-FC61AEB8EB9F}" dt="2022-02-14T15:35:46.291" v="360"/>
          <ac:spMkLst>
            <pc:docMk/>
            <pc:sldMk cId="1299466057" sldId="769"/>
            <ac:spMk id="11" creationId="{5FC18E66-7576-4AE9-8781-EE695BD047A8}"/>
          </ac:spMkLst>
        </pc:spChg>
        <pc:spChg chg="add mod">
          <ac:chgData name="Marta" userId="eac6eb22-5f14-46b4-a4ea-a86e6e8c4acc" providerId="ADAL" clId="{661C6999-6DFA-41E1-9F2F-FC61AEB8EB9F}" dt="2022-02-14T15:35:46.291" v="360"/>
          <ac:spMkLst>
            <pc:docMk/>
            <pc:sldMk cId="1299466057" sldId="769"/>
            <ac:spMk id="12" creationId="{8AA1DBC4-E1B3-4478-9C88-AD2E26038C11}"/>
          </ac:spMkLst>
        </pc:spChg>
        <pc:spChg chg="mod">
          <ac:chgData name="Marta" userId="eac6eb22-5f14-46b4-a4ea-a86e6e8c4acc" providerId="ADAL" clId="{661C6999-6DFA-41E1-9F2F-FC61AEB8EB9F}" dt="2022-02-14T15:42:39.526" v="581" actId="20577"/>
          <ac:spMkLst>
            <pc:docMk/>
            <pc:sldMk cId="1299466057" sldId="769"/>
            <ac:spMk id="13" creationId="{5EBA3C3A-26F7-4697-89FF-46569E674F13}"/>
          </ac:spMkLst>
        </pc:spChg>
        <pc:picChg chg="del">
          <ac:chgData name="Marta" userId="eac6eb22-5f14-46b4-a4ea-a86e6e8c4acc" providerId="ADAL" clId="{661C6999-6DFA-41E1-9F2F-FC61AEB8EB9F}" dt="2022-02-14T15:35:45.832" v="359" actId="478"/>
          <ac:picMkLst>
            <pc:docMk/>
            <pc:sldMk cId="1299466057" sldId="769"/>
            <ac:picMk id="7" creationId="{0A9180D0-146E-4A48-98CA-9CBB9DFD4007}"/>
          </ac:picMkLst>
        </pc:picChg>
        <pc:picChg chg="add mod">
          <ac:chgData name="Marta" userId="eac6eb22-5f14-46b4-a4ea-a86e6e8c4acc" providerId="ADAL" clId="{661C6999-6DFA-41E1-9F2F-FC61AEB8EB9F}" dt="2022-02-14T15:35:46.291" v="360"/>
          <ac:picMkLst>
            <pc:docMk/>
            <pc:sldMk cId="1299466057" sldId="769"/>
            <ac:picMk id="14" creationId="{F736C2C8-6528-4643-947E-B01AA46581E4}"/>
          </ac:picMkLst>
        </pc:picChg>
      </pc:sldChg>
      <pc:sldChg chg="addSp delSp modSp mod ord">
        <pc:chgData name="Marta" userId="eac6eb22-5f14-46b4-a4ea-a86e6e8c4acc" providerId="ADAL" clId="{661C6999-6DFA-41E1-9F2F-FC61AEB8EB9F}" dt="2022-02-14T15:42:22.010" v="571" actId="20577"/>
        <pc:sldMkLst>
          <pc:docMk/>
          <pc:sldMk cId="720284508" sldId="770"/>
        </pc:sldMkLst>
        <pc:spChg chg="del">
          <ac:chgData name="Marta" userId="eac6eb22-5f14-46b4-a4ea-a86e6e8c4acc" providerId="ADAL" clId="{661C6999-6DFA-41E1-9F2F-FC61AEB8EB9F}" dt="2022-02-14T15:35:29.528" v="351" actId="478"/>
          <ac:spMkLst>
            <pc:docMk/>
            <pc:sldMk cId="720284508" sldId="770"/>
            <ac:spMk id="2" creationId="{10BFB850-ECE3-4487-9DB3-E5789189384E}"/>
          </ac:spMkLst>
        </pc:spChg>
        <pc:spChg chg="del">
          <ac:chgData name="Marta" userId="eac6eb22-5f14-46b4-a4ea-a86e6e8c4acc" providerId="ADAL" clId="{661C6999-6DFA-41E1-9F2F-FC61AEB8EB9F}" dt="2022-02-14T15:35:29.528" v="351" actId="478"/>
          <ac:spMkLst>
            <pc:docMk/>
            <pc:sldMk cId="720284508" sldId="770"/>
            <ac:spMk id="3" creationId="{88D4AFD8-D003-4049-A099-E4EE17481E3C}"/>
          </ac:spMkLst>
        </pc:spChg>
        <pc:spChg chg="del">
          <ac:chgData name="Marta" userId="eac6eb22-5f14-46b4-a4ea-a86e6e8c4acc" providerId="ADAL" clId="{661C6999-6DFA-41E1-9F2F-FC61AEB8EB9F}" dt="2022-02-14T15:35:29.528" v="351" actId="478"/>
          <ac:spMkLst>
            <pc:docMk/>
            <pc:sldMk cId="720284508" sldId="770"/>
            <ac:spMk id="5" creationId="{29DE63CD-7138-4680-B954-49E72C24459E}"/>
          </ac:spMkLst>
        </pc:spChg>
        <pc:spChg chg="mod">
          <ac:chgData name="Marta" userId="eac6eb22-5f14-46b4-a4ea-a86e6e8c4acc" providerId="ADAL" clId="{661C6999-6DFA-41E1-9F2F-FC61AEB8EB9F}" dt="2022-02-14T15:42:19.242" v="569" actId="20577"/>
          <ac:spMkLst>
            <pc:docMk/>
            <pc:sldMk cId="720284508" sldId="770"/>
            <ac:spMk id="6" creationId="{00000000-0000-0000-0000-000000000000}"/>
          </ac:spMkLst>
        </pc:spChg>
        <pc:spChg chg="add mod">
          <ac:chgData name="Marta" userId="eac6eb22-5f14-46b4-a4ea-a86e6e8c4acc" providerId="ADAL" clId="{661C6999-6DFA-41E1-9F2F-FC61AEB8EB9F}" dt="2022-02-14T15:35:29.783" v="352"/>
          <ac:spMkLst>
            <pc:docMk/>
            <pc:sldMk cId="720284508" sldId="770"/>
            <ac:spMk id="10" creationId="{27B3A805-B9CE-43B0-9634-2B2D736B9494}"/>
          </ac:spMkLst>
        </pc:spChg>
        <pc:spChg chg="mod">
          <ac:chgData name="Marta" userId="eac6eb22-5f14-46b4-a4ea-a86e6e8c4acc" providerId="ADAL" clId="{661C6999-6DFA-41E1-9F2F-FC61AEB8EB9F}" dt="2022-02-14T15:42:22.010" v="571" actId="20577"/>
          <ac:spMkLst>
            <pc:docMk/>
            <pc:sldMk cId="720284508" sldId="770"/>
            <ac:spMk id="12" creationId="{26BF53E5-B88D-473C-920E-E8E885F8CCF4}"/>
          </ac:spMkLst>
        </pc:spChg>
        <pc:spChg chg="add mod">
          <ac:chgData name="Marta" userId="eac6eb22-5f14-46b4-a4ea-a86e6e8c4acc" providerId="ADAL" clId="{661C6999-6DFA-41E1-9F2F-FC61AEB8EB9F}" dt="2022-02-14T15:35:29.783" v="352"/>
          <ac:spMkLst>
            <pc:docMk/>
            <pc:sldMk cId="720284508" sldId="770"/>
            <ac:spMk id="13" creationId="{EFC9EAF7-1FD3-4854-B2F5-DD9962E740BE}"/>
          </ac:spMkLst>
        </pc:spChg>
        <pc:spChg chg="add mod">
          <ac:chgData name="Marta" userId="eac6eb22-5f14-46b4-a4ea-a86e6e8c4acc" providerId="ADAL" clId="{661C6999-6DFA-41E1-9F2F-FC61AEB8EB9F}" dt="2022-02-14T15:35:29.783" v="352"/>
          <ac:spMkLst>
            <pc:docMk/>
            <pc:sldMk cId="720284508" sldId="770"/>
            <ac:spMk id="14" creationId="{89C87399-3964-4DBD-BD97-76E0392ED8DF}"/>
          </ac:spMkLst>
        </pc:spChg>
        <pc:picChg chg="del">
          <ac:chgData name="Marta" userId="eac6eb22-5f14-46b4-a4ea-a86e6e8c4acc" providerId="ADAL" clId="{661C6999-6DFA-41E1-9F2F-FC61AEB8EB9F}" dt="2022-02-14T15:35:29.528" v="351" actId="478"/>
          <ac:picMkLst>
            <pc:docMk/>
            <pc:sldMk cId="720284508" sldId="770"/>
            <ac:picMk id="7" creationId="{80FD921C-8B78-4992-A989-5AB8BF4584D0}"/>
          </ac:picMkLst>
        </pc:picChg>
        <pc:picChg chg="add mod">
          <ac:chgData name="Marta" userId="eac6eb22-5f14-46b4-a4ea-a86e6e8c4acc" providerId="ADAL" clId="{661C6999-6DFA-41E1-9F2F-FC61AEB8EB9F}" dt="2022-02-14T15:35:29.783" v="352"/>
          <ac:picMkLst>
            <pc:docMk/>
            <pc:sldMk cId="720284508" sldId="770"/>
            <ac:picMk id="15" creationId="{DC595F34-15D1-4250-9266-F5EDAF4D9FA0}"/>
          </ac:picMkLst>
        </pc:picChg>
      </pc:sldChg>
      <pc:sldChg chg="addSp delSp modSp mod ord">
        <pc:chgData name="Marta" userId="eac6eb22-5f14-46b4-a4ea-a86e6e8c4acc" providerId="ADAL" clId="{661C6999-6DFA-41E1-9F2F-FC61AEB8EB9F}" dt="2022-02-14T15:42:04.472" v="565" actId="20577"/>
        <pc:sldMkLst>
          <pc:docMk/>
          <pc:sldMk cId="3888553813" sldId="879"/>
        </pc:sldMkLst>
        <pc:spChg chg="mod">
          <ac:chgData name="Marta" userId="eac6eb22-5f14-46b4-a4ea-a86e6e8c4acc" providerId="ADAL" clId="{661C6999-6DFA-41E1-9F2F-FC61AEB8EB9F}" dt="2022-02-14T15:42:04.472" v="565" actId="20577"/>
          <ac:spMkLst>
            <pc:docMk/>
            <pc:sldMk cId="3888553813" sldId="879"/>
            <ac:spMk id="2" creationId="{91383D11-DEC4-4BFF-88BB-8FB2206CEB37}"/>
          </ac:spMkLst>
        </pc:spChg>
        <pc:spChg chg="del">
          <ac:chgData name="Marta" userId="eac6eb22-5f14-46b4-a4ea-a86e6e8c4acc" providerId="ADAL" clId="{661C6999-6DFA-41E1-9F2F-FC61AEB8EB9F}" dt="2022-02-14T15:35:13.833" v="345" actId="478"/>
          <ac:spMkLst>
            <pc:docMk/>
            <pc:sldMk cId="3888553813" sldId="879"/>
            <ac:spMk id="3" creationId="{8621C8EE-0219-41A7-8DA5-E8C5AEB14A01}"/>
          </ac:spMkLst>
        </pc:spChg>
        <pc:spChg chg="mod">
          <ac:chgData name="Marta" userId="eac6eb22-5f14-46b4-a4ea-a86e6e8c4acc" providerId="ADAL" clId="{661C6999-6DFA-41E1-9F2F-FC61AEB8EB9F}" dt="2022-02-14T15:32:39.890" v="307" actId="1076"/>
          <ac:spMkLst>
            <pc:docMk/>
            <pc:sldMk cId="3888553813" sldId="879"/>
            <ac:spMk id="4" creationId="{E8E02AC0-EA95-4CA2-B250-70F98D25C504}"/>
          </ac:spMkLst>
        </pc:spChg>
        <pc:spChg chg="del">
          <ac:chgData name="Marta" userId="eac6eb22-5f14-46b4-a4ea-a86e6e8c4acc" providerId="ADAL" clId="{661C6999-6DFA-41E1-9F2F-FC61AEB8EB9F}" dt="2022-02-14T15:35:13.833" v="345" actId="478"/>
          <ac:spMkLst>
            <pc:docMk/>
            <pc:sldMk cId="3888553813" sldId="879"/>
            <ac:spMk id="5" creationId="{40955CF1-E7E6-4541-A1EA-E7E723C9D7CD}"/>
          </ac:spMkLst>
        </pc:spChg>
        <pc:spChg chg="del">
          <ac:chgData name="Marta" userId="eac6eb22-5f14-46b4-a4ea-a86e6e8c4acc" providerId="ADAL" clId="{661C6999-6DFA-41E1-9F2F-FC61AEB8EB9F}" dt="2022-02-14T15:35:13.833" v="345" actId="478"/>
          <ac:spMkLst>
            <pc:docMk/>
            <pc:sldMk cId="3888553813" sldId="879"/>
            <ac:spMk id="12" creationId="{0275828B-1EFE-47A0-B81B-A1B3DF6B5ADE}"/>
          </ac:spMkLst>
        </pc:spChg>
        <pc:spChg chg="add del">
          <ac:chgData name="Marta" userId="eac6eb22-5f14-46b4-a4ea-a86e6e8c4acc" providerId="ADAL" clId="{661C6999-6DFA-41E1-9F2F-FC61AEB8EB9F}" dt="2022-02-14T15:30:33.921" v="292" actId="22"/>
          <ac:spMkLst>
            <pc:docMk/>
            <pc:sldMk cId="3888553813" sldId="879"/>
            <ac:spMk id="14" creationId="{9571E4F3-A2E3-442B-9FC5-90AA030D19D0}"/>
          </ac:spMkLst>
        </pc:spChg>
        <pc:spChg chg="add mod">
          <ac:chgData name="Marta" userId="eac6eb22-5f14-46b4-a4ea-a86e6e8c4acc" providerId="ADAL" clId="{661C6999-6DFA-41E1-9F2F-FC61AEB8EB9F}" dt="2022-02-14T15:35:14.087" v="346"/>
          <ac:spMkLst>
            <pc:docMk/>
            <pc:sldMk cId="3888553813" sldId="879"/>
            <ac:spMk id="16" creationId="{94C294CD-5CFA-4E9C-B2CD-01EA80417467}"/>
          </ac:spMkLst>
        </pc:spChg>
        <pc:spChg chg="add mod">
          <ac:chgData name="Marta" userId="eac6eb22-5f14-46b4-a4ea-a86e6e8c4acc" providerId="ADAL" clId="{661C6999-6DFA-41E1-9F2F-FC61AEB8EB9F}" dt="2022-02-14T15:35:14.087" v="346"/>
          <ac:spMkLst>
            <pc:docMk/>
            <pc:sldMk cId="3888553813" sldId="879"/>
            <ac:spMk id="18" creationId="{C4506E1A-E304-4CB4-8660-6D724E0B06AD}"/>
          </ac:spMkLst>
        </pc:spChg>
        <pc:spChg chg="add mod">
          <ac:chgData name="Marta" userId="eac6eb22-5f14-46b4-a4ea-a86e6e8c4acc" providerId="ADAL" clId="{661C6999-6DFA-41E1-9F2F-FC61AEB8EB9F}" dt="2022-02-14T15:35:14.087" v="346"/>
          <ac:spMkLst>
            <pc:docMk/>
            <pc:sldMk cId="3888553813" sldId="879"/>
            <ac:spMk id="19" creationId="{3B4D6011-62B7-42F0-9442-638B6CEF922D}"/>
          </ac:spMkLst>
        </pc:spChg>
        <pc:picChg chg="mod">
          <ac:chgData name="Marta" userId="eac6eb22-5f14-46b4-a4ea-a86e6e8c4acc" providerId="ADAL" clId="{661C6999-6DFA-41E1-9F2F-FC61AEB8EB9F}" dt="2022-02-14T15:32:37.110" v="305" actId="1076"/>
          <ac:picMkLst>
            <pc:docMk/>
            <pc:sldMk cId="3888553813" sldId="879"/>
            <ac:picMk id="6" creationId="{FAB1BF17-3A41-4541-8316-70911C21F415}"/>
          </ac:picMkLst>
        </pc:picChg>
        <pc:picChg chg="mod">
          <ac:chgData name="Marta" userId="eac6eb22-5f14-46b4-a4ea-a86e6e8c4acc" providerId="ADAL" clId="{661C6999-6DFA-41E1-9F2F-FC61AEB8EB9F}" dt="2022-02-14T15:33:21.701" v="332" actId="1036"/>
          <ac:picMkLst>
            <pc:docMk/>
            <pc:sldMk cId="3888553813" sldId="879"/>
            <ac:picMk id="7" creationId="{2E1269CC-152A-4332-8438-63FC4ADC1E57}"/>
          </ac:picMkLst>
        </pc:picChg>
        <pc:picChg chg="mod">
          <ac:chgData name="Marta" userId="eac6eb22-5f14-46b4-a4ea-a86e6e8c4acc" providerId="ADAL" clId="{661C6999-6DFA-41E1-9F2F-FC61AEB8EB9F}" dt="2022-02-14T15:33:21.701" v="332" actId="1036"/>
          <ac:picMkLst>
            <pc:docMk/>
            <pc:sldMk cId="3888553813" sldId="879"/>
            <ac:picMk id="9" creationId="{9F39D171-157B-4409-9B51-F75712CB4BE2}"/>
          </ac:picMkLst>
        </pc:picChg>
        <pc:picChg chg="del">
          <ac:chgData name="Marta" userId="eac6eb22-5f14-46b4-a4ea-a86e6e8c4acc" providerId="ADAL" clId="{661C6999-6DFA-41E1-9F2F-FC61AEB8EB9F}" dt="2022-02-14T15:35:13.833" v="345" actId="478"/>
          <ac:picMkLst>
            <pc:docMk/>
            <pc:sldMk cId="3888553813" sldId="879"/>
            <ac:picMk id="10" creationId="{FC2D7103-E7A1-4181-9248-567ED483A1C2}"/>
          </ac:picMkLst>
        </pc:picChg>
        <pc:picChg chg="mod">
          <ac:chgData name="Marta" userId="eac6eb22-5f14-46b4-a4ea-a86e6e8c4acc" providerId="ADAL" clId="{661C6999-6DFA-41E1-9F2F-FC61AEB8EB9F}" dt="2022-02-14T15:33:21.701" v="332" actId="1036"/>
          <ac:picMkLst>
            <pc:docMk/>
            <pc:sldMk cId="3888553813" sldId="879"/>
            <ac:picMk id="15" creationId="{7FDA0B01-D45E-4688-BEA1-46E0D082A2A6}"/>
          </ac:picMkLst>
        </pc:picChg>
        <pc:picChg chg="mod">
          <ac:chgData name="Marta" userId="eac6eb22-5f14-46b4-a4ea-a86e6e8c4acc" providerId="ADAL" clId="{661C6999-6DFA-41E1-9F2F-FC61AEB8EB9F}" dt="2022-02-14T15:33:21.701" v="332" actId="1036"/>
          <ac:picMkLst>
            <pc:docMk/>
            <pc:sldMk cId="3888553813" sldId="879"/>
            <ac:picMk id="17" creationId="{5DCC1BA3-CAD4-452E-8302-C54DBC485768}"/>
          </ac:picMkLst>
        </pc:picChg>
        <pc:picChg chg="add mod">
          <ac:chgData name="Marta" userId="eac6eb22-5f14-46b4-a4ea-a86e6e8c4acc" providerId="ADAL" clId="{661C6999-6DFA-41E1-9F2F-FC61AEB8EB9F}" dt="2022-02-14T15:35:14.087" v="346"/>
          <ac:picMkLst>
            <pc:docMk/>
            <pc:sldMk cId="3888553813" sldId="879"/>
            <ac:picMk id="20" creationId="{7A71E7BE-3ED4-40E3-A4DD-B53305B980A0}"/>
          </ac:picMkLst>
        </pc:picChg>
        <pc:picChg chg="add mod">
          <ac:chgData name="Marta" userId="eac6eb22-5f14-46b4-a4ea-a86e6e8c4acc" providerId="ADAL" clId="{661C6999-6DFA-41E1-9F2F-FC61AEB8EB9F}" dt="2022-02-14T15:33:21.701" v="332" actId="1036"/>
          <ac:picMkLst>
            <pc:docMk/>
            <pc:sldMk cId="3888553813" sldId="879"/>
            <ac:picMk id="1026" creationId="{00EB0658-355A-4D22-BE92-D259930690A7}"/>
          </ac:picMkLst>
        </pc:picChg>
      </pc:sldChg>
      <pc:sldChg chg="addSp delSp modSp del mod">
        <pc:chgData name="Marta" userId="eac6eb22-5f14-46b4-a4ea-a86e6e8c4acc" providerId="ADAL" clId="{661C6999-6DFA-41E1-9F2F-FC61AEB8EB9F}" dt="2022-02-14T15:43:32.524" v="596" actId="47"/>
        <pc:sldMkLst>
          <pc:docMk/>
          <pc:sldMk cId="2083658885" sldId="900"/>
        </pc:sldMkLst>
        <pc:spChg chg="del">
          <ac:chgData name="Marta" userId="eac6eb22-5f14-46b4-a4ea-a86e6e8c4acc" providerId="ADAL" clId="{661C6999-6DFA-41E1-9F2F-FC61AEB8EB9F}" dt="2022-02-14T15:36:10.681" v="370" actId="478"/>
          <ac:spMkLst>
            <pc:docMk/>
            <pc:sldMk cId="2083658885" sldId="900"/>
            <ac:spMk id="3" creationId="{88D4AFD8-D003-4049-A099-E4EE17481E3C}"/>
          </ac:spMkLst>
        </pc:spChg>
        <pc:spChg chg="mod">
          <ac:chgData name="Marta" userId="eac6eb22-5f14-46b4-a4ea-a86e6e8c4acc" providerId="ADAL" clId="{661C6999-6DFA-41E1-9F2F-FC61AEB8EB9F}" dt="2022-02-14T15:43:26.239" v="595" actId="20577"/>
          <ac:spMkLst>
            <pc:docMk/>
            <pc:sldMk cId="2083658885" sldId="900"/>
            <ac:spMk id="6" creationId="{00000000-0000-0000-0000-000000000000}"/>
          </ac:spMkLst>
        </pc:spChg>
        <pc:spChg chg="add mod">
          <ac:chgData name="Marta" userId="eac6eb22-5f14-46b4-a4ea-a86e6e8c4acc" providerId="ADAL" clId="{661C6999-6DFA-41E1-9F2F-FC61AEB8EB9F}" dt="2022-02-14T15:36:11.353" v="371"/>
          <ac:spMkLst>
            <pc:docMk/>
            <pc:sldMk cId="2083658885" sldId="900"/>
            <ac:spMk id="7" creationId="{96A6FA3D-907A-4B89-9982-336B134B277C}"/>
          </ac:spMkLst>
        </pc:spChg>
        <pc:spChg chg="add mod">
          <ac:chgData name="Marta" userId="eac6eb22-5f14-46b4-a4ea-a86e6e8c4acc" providerId="ADAL" clId="{661C6999-6DFA-41E1-9F2F-FC61AEB8EB9F}" dt="2022-02-14T15:36:11.353" v="371"/>
          <ac:spMkLst>
            <pc:docMk/>
            <pc:sldMk cId="2083658885" sldId="900"/>
            <ac:spMk id="8" creationId="{CE9F983F-D23F-4741-9ACE-48B47606E3A4}"/>
          </ac:spMkLst>
        </pc:spChg>
        <pc:spChg chg="add mod">
          <ac:chgData name="Marta" userId="eac6eb22-5f14-46b4-a4ea-a86e6e8c4acc" providerId="ADAL" clId="{661C6999-6DFA-41E1-9F2F-FC61AEB8EB9F}" dt="2022-02-14T15:36:11.353" v="371"/>
          <ac:spMkLst>
            <pc:docMk/>
            <pc:sldMk cId="2083658885" sldId="900"/>
            <ac:spMk id="9" creationId="{D3AB54B0-AD67-4B5B-BE5D-E1FEEDA87223}"/>
          </ac:spMkLst>
        </pc:spChg>
        <pc:picChg chg="add mod">
          <ac:chgData name="Marta" userId="eac6eb22-5f14-46b4-a4ea-a86e6e8c4acc" providerId="ADAL" clId="{661C6999-6DFA-41E1-9F2F-FC61AEB8EB9F}" dt="2022-02-14T15:36:11.353" v="371"/>
          <ac:picMkLst>
            <pc:docMk/>
            <pc:sldMk cId="2083658885" sldId="900"/>
            <ac:picMk id="11" creationId="{FA84BC2C-C9AF-49F0-84EA-0879B1BEA3CF}"/>
          </ac:picMkLst>
        </pc:picChg>
      </pc:sldChg>
      <pc:sldChg chg="addSp delSp modSp mod">
        <pc:chgData name="Marta" userId="eac6eb22-5f14-46b4-a4ea-a86e6e8c4acc" providerId="ADAL" clId="{661C6999-6DFA-41E1-9F2F-FC61AEB8EB9F}" dt="2022-02-15T14:33:11.916" v="774" actId="20577"/>
        <pc:sldMkLst>
          <pc:docMk/>
          <pc:sldMk cId="644561616" sldId="901"/>
        </pc:sldMkLst>
        <pc:spChg chg="mod">
          <ac:chgData name="Marta" userId="eac6eb22-5f14-46b4-a4ea-a86e6e8c4acc" providerId="ADAL" clId="{661C6999-6DFA-41E1-9F2F-FC61AEB8EB9F}" dt="2022-02-14T15:44:27.200" v="627" actId="14100"/>
          <ac:spMkLst>
            <pc:docMk/>
            <pc:sldMk cId="644561616" sldId="901"/>
            <ac:spMk id="2" creationId="{F49F4E2B-EEB0-4736-A001-E9CD8947E750}"/>
          </ac:spMkLst>
        </pc:spChg>
        <pc:spChg chg="del">
          <ac:chgData name="Marta" userId="eac6eb22-5f14-46b4-a4ea-a86e6e8c4acc" providerId="ADAL" clId="{661C6999-6DFA-41E1-9F2F-FC61AEB8EB9F}" dt="2022-02-14T15:36:20.090" v="372" actId="478"/>
          <ac:spMkLst>
            <pc:docMk/>
            <pc:sldMk cId="644561616" sldId="901"/>
            <ac:spMk id="3" creationId="{88D4AFD8-D003-4049-A099-E4EE17481E3C}"/>
          </ac:spMkLst>
        </pc:spChg>
        <pc:spChg chg="mod">
          <ac:chgData name="Marta" userId="eac6eb22-5f14-46b4-a4ea-a86e6e8c4acc" providerId="ADAL" clId="{661C6999-6DFA-41E1-9F2F-FC61AEB8EB9F}" dt="2022-02-15T14:33:11.916" v="774" actId="20577"/>
          <ac:spMkLst>
            <pc:docMk/>
            <pc:sldMk cId="644561616" sldId="901"/>
            <ac:spMk id="6" creationId="{00000000-0000-0000-0000-000000000000}"/>
          </ac:spMkLst>
        </pc:spChg>
        <pc:spChg chg="add mod">
          <ac:chgData name="Marta" userId="eac6eb22-5f14-46b4-a4ea-a86e6e8c4acc" providerId="ADAL" clId="{661C6999-6DFA-41E1-9F2F-FC61AEB8EB9F}" dt="2022-02-14T15:36:20.406" v="373"/>
          <ac:spMkLst>
            <pc:docMk/>
            <pc:sldMk cId="644561616" sldId="901"/>
            <ac:spMk id="8" creationId="{8E23BF81-B67C-4C10-B4AA-C00F62941424}"/>
          </ac:spMkLst>
        </pc:spChg>
        <pc:spChg chg="add mod">
          <ac:chgData name="Marta" userId="eac6eb22-5f14-46b4-a4ea-a86e6e8c4acc" providerId="ADAL" clId="{661C6999-6DFA-41E1-9F2F-FC61AEB8EB9F}" dt="2022-02-14T15:36:20.406" v="373"/>
          <ac:spMkLst>
            <pc:docMk/>
            <pc:sldMk cId="644561616" sldId="901"/>
            <ac:spMk id="9" creationId="{5A7A5259-8D24-4DAF-A13B-D1C02E9A1165}"/>
          </ac:spMkLst>
        </pc:spChg>
        <pc:spChg chg="mod">
          <ac:chgData name="Marta" userId="eac6eb22-5f14-46b4-a4ea-a86e6e8c4acc" providerId="ADAL" clId="{661C6999-6DFA-41E1-9F2F-FC61AEB8EB9F}" dt="2022-02-14T15:43:37.752" v="600" actId="20577"/>
          <ac:spMkLst>
            <pc:docMk/>
            <pc:sldMk cId="644561616" sldId="901"/>
            <ac:spMk id="10" creationId="{66421E13-941D-487E-9F8E-DCFA3FE9C646}"/>
          </ac:spMkLst>
        </pc:spChg>
        <pc:spChg chg="add mod">
          <ac:chgData name="Marta" userId="eac6eb22-5f14-46b4-a4ea-a86e6e8c4acc" providerId="ADAL" clId="{661C6999-6DFA-41E1-9F2F-FC61AEB8EB9F}" dt="2022-02-14T15:36:20.406" v="373"/>
          <ac:spMkLst>
            <pc:docMk/>
            <pc:sldMk cId="644561616" sldId="901"/>
            <ac:spMk id="11" creationId="{7A6FFD4D-A740-46D2-B767-11FF65B7A9E3}"/>
          </ac:spMkLst>
        </pc:spChg>
        <pc:picChg chg="mod">
          <ac:chgData name="Marta" userId="eac6eb22-5f14-46b4-a4ea-a86e6e8c4acc" providerId="ADAL" clId="{661C6999-6DFA-41E1-9F2F-FC61AEB8EB9F}" dt="2022-02-14T15:44:24.366" v="626" actId="1076"/>
          <ac:picMkLst>
            <pc:docMk/>
            <pc:sldMk cId="644561616" sldId="901"/>
            <ac:picMk id="5" creationId="{A7CE0624-DE4C-4238-8618-DC619B9FF7AB}"/>
          </ac:picMkLst>
        </pc:picChg>
        <pc:picChg chg="add mod">
          <ac:chgData name="Marta" userId="eac6eb22-5f14-46b4-a4ea-a86e6e8c4acc" providerId="ADAL" clId="{661C6999-6DFA-41E1-9F2F-FC61AEB8EB9F}" dt="2022-02-14T15:36:20.406" v="373"/>
          <ac:picMkLst>
            <pc:docMk/>
            <pc:sldMk cId="644561616" sldId="901"/>
            <ac:picMk id="12" creationId="{A4775AD3-1CB4-4F03-A27C-36B67B65582D}"/>
          </ac:picMkLst>
        </pc:picChg>
      </pc:sldChg>
      <pc:sldChg chg="addSp delSp modSp del mod ord">
        <pc:chgData name="Marta" userId="eac6eb22-5f14-46b4-a4ea-a86e6e8c4acc" providerId="ADAL" clId="{661C6999-6DFA-41E1-9F2F-FC61AEB8EB9F}" dt="2022-02-14T15:41:09.294" v="557" actId="47"/>
        <pc:sldMkLst>
          <pc:docMk/>
          <pc:sldMk cId="592978630" sldId="917"/>
        </pc:sldMkLst>
        <pc:spChg chg="del">
          <ac:chgData name="Marta" userId="eac6eb22-5f14-46b4-a4ea-a86e6e8c4acc" providerId="ADAL" clId="{661C6999-6DFA-41E1-9F2F-FC61AEB8EB9F}" dt="2022-02-14T15:35:36.197" v="355" actId="478"/>
          <ac:spMkLst>
            <pc:docMk/>
            <pc:sldMk cId="592978630" sldId="917"/>
            <ac:spMk id="3" creationId="{88D4AFD8-D003-4049-A099-E4EE17481E3C}"/>
          </ac:spMkLst>
        </pc:spChg>
        <pc:spChg chg="del">
          <ac:chgData name="Marta" userId="eac6eb22-5f14-46b4-a4ea-a86e6e8c4acc" providerId="ADAL" clId="{661C6999-6DFA-41E1-9F2F-FC61AEB8EB9F}" dt="2022-02-14T15:35:36.197" v="355" actId="478"/>
          <ac:spMkLst>
            <pc:docMk/>
            <pc:sldMk cId="592978630" sldId="917"/>
            <ac:spMk id="4" creationId="{25069B60-5EFA-48C1-B6F8-363698D59BB5}"/>
          </ac:spMkLst>
        </pc:spChg>
        <pc:spChg chg="del mod">
          <ac:chgData name="Marta" userId="eac6eb22-5f14-46b4-a4ea-a86e6e8c4acc" providerId="ADAL" clId="{661C6999-6DFA-41E1-9F2F-FC61AEB8EB9F}" dt="2022-02-14T15:35:36.197" v="355" actId="478"/>
          <ac:spMkLst>
            <pc:docMk/>
            <pc:sldMk cId="592978630" sldId="917"/>
            <ac:spMk id="8" creationId="{E09302A5-E9E5-482F-A96A-F5DA022D3486}"/>
          </ac:spMkLst>
        </pc:spChg>
        <pc:spChg chg="add mod">
          <ac:chgData name="Marta" userId="eac6eb22-5f14-46b4-a4ea-a86e6e8c4acc" providerId="ADAL" clId="{661C6999-6DFA-41E1-9F2F-FC61AEB8EB9F}" dt="2022-02-14T15:35:36.442" v="356"/>
          <ac:spMkLst>
            <pc:docMk/>
            <pc:sldMk cId="592978630" sldId="917"/>
            <ac:spMk id="14" creationId="{7BAAB955-2495-4CBB-9666-A9BB5586CCCD}"/>
          </ac:spMkLst>
        </pc:spChg>
        <pc:spChg chg="add mod">
          <ac:chgData name="Marta" userId="eac6eb22-5f14-46b4-a4ea-a86e6e8c4acc" providerId="ADAL" clId="{661C6999-6DFA-41E1-9F2F-FC61AEB8EB9F}" dt="2022-02-14T15:35:36.442" v="356"/>
          <ac:spMkLst>
            <pc:docMk/>
            <pc:sldMk cId="592978630" sldId="917"/>
            <ac:spMk id="15" creationId="{B6846183-0E84-41DD-95A3-603340085CD0}"/>
          </ac:spMkLst>
        </pc:spChg>
        <pc:spChg chg="add mod">
          <ac:chgData name="Marta" userId="eac6eb22-5f14-46b4-a4ea-a86e6e8c4acc" providerId="ADAL" clId="{661C6999-6DFA-41E1-9F2F-FC61AEB8EB9F}" dt="2022-02-14T15:35:36.442" v="356"/>
          <ac:spMkLst>
            <pc:docMk/>
            <pc:sldMk cId="592978630" sldId="917"/>
            <ac:spMk id="17" creationId="{063406A9-7E23-4C87-A644-BA79EB225BE3}"/>
          </ac:spMkLst>
        </pc:spChg>
        <pc:picChg chg="del">
          <ac:chgData name="Marta" userId="eac6eb22-5f14-46b4-a4ea-a86e6e8c4acc" providerId="ADAL" clId="{661C6999-6DFA-41E1-9F2F-FC61AEB8EB9F}" dt="2022-02-14T15:35:36.197" v="355" actId="478"/>
          <ac:picMkLst>
            <pc:docMk/>
            <pc:sldMk cId="592978630" sldId="917"/>
            <ac:picMk id="7" creationId="{B419803F-0B98-4CE7-8E74-BDF667BA9909}"/>
          </ac:picMkLst>
        </pc:picChg>
        <pc:picChg chg="add mod">
          <ac:chgData name="Marta" userId="eac6eb22-5f14-46b4-a4ea-a86e6e8c4acc" providerId="ADAL" clId="{661C6999-6DFA-41E1-9F2F-FC61AEB8EB9F}" dt="2022-02-14T15:35:36.442" v="356"/>
          <ac:picMkLst>
            <pc:docMk/>
            <pc:sldMk cId="592978630" sldId="917"/>
            <ac:picMk id="18" creationId="{176EA2FC-643A-4757-9551-E7CAB235AE0B}"/>
          </ac:picMkLst>
        </pc:picChg>
      </pc:sldChg>
      <pc:sldChg chg="del">
        <pc:chgData name="Marta" userId="eac6eb22-5f14-46b4-a4ea-a86e6e8c4acc" providerId="ADAL" clId="{661C6999-6DFA-41E1-9F2F-FC61AEB8EB9F}" dt="2022-02-14T14:05:46.971" v="164" actId="47"/>
        <pc:sldMkLst>
          <pc:docMk/>
          <pc:sldMk cId="1823672830" sldId="918"/>
        </pc:sldMkLst>
      </pc:sldChg>
      <pc:sldChg chg="addSp delSp modSp mod ord">
        <pc:chgData name="Marta" userId="eac6eb22-5f14-46b4-a4ea-a86e6e8c4acc" providerId="ADAL" clId="{661C6999-6DFA-41E1-9F2F-FC61AEB8EB9F}" dt="2022-02-14T15:42:32.175" v="577" actId="20577"/>
        <pc:sldMkLst>
          <pc:docMk/>
          <pc:sldMk cId="2970493180" sldId="920"/>
        </pc:sldMkLst>
        <pc:spChg chg="del">
          <ac:chgData name="Marta" userId="eac6eb22-5f14-46b4-a4ea-a86e6e8c4acc" providerId="ADAL" clId="{661C6999-6DFA-41E1-9F2F-FC61AEB8EB9F}" dt="2022-02-14T15:35:40.449" v="357" actId="478"/>
          <ac:spMkLst>
            <pc:docMk/>
            <pc:sldMk cId="2970493180" sldId="920"/>
            <ac:spMk id="2" creationId="{627B9528-F21E-4823-8E23-69BCA8E5ACA1}"/>
          </ac:spMkLst>
        </pc:spChg>
        <pc:spChg chg="del">
          <ac:chgData name="Marta" userId="eac6eb22-5f14-46b4-a4ea-a86e6e8c4acc" providerId="ADAL" clId="{661C6999-6DFA-41E1-9F2F-FC61AEB8EB9F}" dt="2022-02-14T15:35:40.449" v="357" actId="478"/>
          <ac:spMkLst>
            <pc:docMk/>
            <pc:sldMk cId="2970493180" sldId="920"/>
            <ac:spMk id="3" creationId="{88D4AFD8-D003-4049-A099-E4EE17481E3C}"/>
          </ac:spMkLst>
        </pc:spChg>
        <pc:spChg chg="mod">
          <ac:chgData name="Marta" userId="eac6eb22-5f14-46b4-a4ea-a86e6e8c4acc" providerId="ADAL" clId="{661C6999-6DFA-41E1-9F2F-FC61AEB8EB9F}" dt="2022-02-14T15:42:32.175" v="577" actId="20577"/>
          <ac:spMkLst>
            <pc:docMk/>
            <pc:sldMk cId="2970493180" sldId="920"/>
            <ac:spMk id="6" creationId="{00000000-0000-0000-0000-000000000000}"/>
          </ac:spMkLst>
        </pc:spChg>
        <pc:spChg chg="del">
          <ac:chgData name="Marta" userId="eac6eb22-5f14-46b4-a4ea-a86e6e8c4acc" providerId="ADAL" clId="{661C6999-6DFA-41E1-9F2F-FC61AEB8EB9F}" dt="2022-02-14T15:35:40.449" v="357" actId="478"/>
          <ac:spMkLst>
            <pc:docMk/>
            <pc:sldMk cId="2970493180" sldId="920"/>
            <ac:spMk id="7" creationId="{D22A8CBF-37BE-451B-9D14-2DA1052A3D23}"/>
          </ac:spMkLst>
        </pc:spChg>
        <pc:spChg chg="mod">
          <ac:chgData name="Marta" userId="eac6eb22-5f14-46b4-a4ea-a86e6e8c4acc" providerId="ADAL" clId="{661C6999-6DFA-41E1-9F2F-FC61AEB8EB9F}" dt="2022-02-14T15:42:29.608" v="575" actId="20577"/>
          <ac:spMkLst>
            <pc:docMk/>
            <pc:sldMk cId="2970493180" sldId="920"/>
            <ac:spMk id="11" creationId="{17AD51F0-FB9D-4C8A-9C6F-1A1CC7A2AABF}"/>
          </ac:spMkLst>
        </pc:spChg>
        <pc:spChg chg="add mod">
          <ac:chgData name="Marta" userId="eac6eb22-5f14-46b4-a4ea-a86e6e8c4acc" providerId="ADAL" clId="{661C6999-6DFA-41E1-9F2F-FC61AEB8EB9F}" dt="2022-02-14T15:35:40.899" v="358"/>
          <ac:spMkLst>
            <pc:docMk/>
            <pc:sldMk cId="2970493180" sldId="920"/>
            <ac:spMk id="12" creationId="{2EE23490-EDFA-4AA0-AF07-FFE8E3D5CC3F}"/>
          </ac:spMkLst>
        </pc:spChg>
        <pc:spChg chg="add mod">
          <ac:chgData name="Marta" userId="eac6eb22-5f14-46b4-a4ea-a86e6e8c4acc" providerId="ADAL" clId="{661C6999-6DFA-41E1-9F2F-FC61AEB8EB9F}" dt="2022-02-14T15:35:40.899" v="358"/>
          <ac:spMkLst>
            <pc:docMk/>
            <pc:sldMk cId="2970493180" sldId="920"/>
            <ac:spMk id="13" creationId="{50898BDB-7E1B-4068-879A-9DDF9C754B1B}"/>
          </ac:spMkLst>
        </pc:spChg>
        <pc:spChg chg="add mod">
          <ac:chgData name="Marta" userId="eac6eb22-5f14-46b4-a4ea-a86e6e8c4acc" providerId="ADAL" clId="{661C6999-6DFA-41E1-9F2F-FC61AEB8EB9F}" dt="2022-02-14T15:35:40.899" v="358"/>
          <ac:spMkLst>
            <pc:docMk/>
            <pc:sldMk cId="2970493180" sldId="920"/>
            <ac:spMk id="14" creationId="{3330D9A5-C0F8-4BC6-A678-85A7351E5C26}"/>
          </ac:spMkLst>
        </pc:spChg>
        <pc:picChg chg="del">
          <ac:chgData name="Marta" userId="eac6eb22-5f14-46b4-a4ea-a86e6e8c4acc" providerId="ADAL" clId="{661C6999-6DFA-41E1-9F2F-FC61AEB8EB9F}" dt="2022-02-14T15:35:40.449" v="357" actId="478"/>
          <ac:picMkLst>
            <pc:docMk/>
            <pc:sldMk cId="2970493180" sldId="920"/>
            <ac:picMk id="10" creationId="{6AC12784-B607-409F-9644-60E031E5E86F}"/>
          </ac:picMkLst>
        </pc:picChg>
        <pc:picChg chg="add mod">
          <ac:chgData name="Marta" userId="eac6eb22-5f14-46b4-a4ea-a86e6e8c4acc" providerId="ADAL" clId="{661C6999-6DFA-41E1-9F2F-FC61AEB8EB9F}" dt="2022-02-14T15:35:40.899" v="358"/>
          <ac:picMkLst>
            <pc:docMk/>
            <pc:sldMk cId="2970493180" sldId="920"/>
            <ac:picMk id="15" creationId="{E8702F80-423D-4B96-9132-FE19A1EF574B}"/>
          </ac:picMkLst>
        </pc:picChg>
      </pc:sldChg>
      <pc:sldChg chg="addSp delSp modSp mod">
        <pc:chgData name="Marta" userId="eac6eb22-5f14-46b4-a4ea-a86e6e8c4acc" providerId="ADAL" clId="{661C6999-6DFA-41E1-9F2F-FC61AEB8EB9F}" dt="2022-02-15T14:33:22.755" v="775"/>
        <pc:sldMkLst>
          <pc:docMk/>
          <pc:sldMk cId="1397072693" sldId="938"/>
        </pc:sldMkLst>
        <pc:spChg chg="mod">
          <ac:chgData name="Marta" userId="eac6eb22-5f14-46b4-a4ea-a86e6e8c4acc" providerId="ADAL" clId="{661C6999-6DFA-41E1-9F2F-FC61AEB8EB9F}" dt="2022-02-14T15:43:11.063" v="593" actId="20577"/>
          <ac:spMkLst>
            <pc:docMk/>
            <pc:sldMk cId="1397072693" sldId="938"/>
            <ac:spMk id="2" creationId="{F49F4E2B-EEB0-4736-A001-E9CD8947E750}"/>
          </ac:spMkLst>
        </pc:spChg>
        <pc:spChg chg="del">
          <ac:chgData name="Marta" userId="eac6eb22-5f14-46b4-a4ea-a86e6e8c4acc" providerId="ADAL" clId="{661C6999-6DFA-41E1-9F2F-FC61AEB8EB9F}" dt="2022-02-14T15:36:06.398" v="368" actId="478"/>
          <ac:spMkLst>
            <pc:docMk/>
            <pc:sldMk cId="1397072693" sldId="938"/>
            <ac:spMk id="3" creationId="{88D4AFD8-D003-4049-A099-E4EE17481E3C}"/>
          </ac:spMkLst>
        </pc:spChg>
        <pc:spChg chg="mod">
          <ac:chgData name="Marta" userId="eac6eb22-5f14-46b4-a4ea-a86e6e8c4acc" providerId="ADAL" clId="{661C6999-6DFA-41E1-9F2F-FC61AEB8EB9F}" dt="2022-02-15T14:33:22.755" v="775"/>
          <ac:spMkLst>
            <pc:docMk/>
            <pc:sldMk cId="1397072693" sldId="938"/>
            <ac:spMk id="6" creationId="{00000000-0000-0000-0000-000000000000}"/>
          </ac:spMkLst>
        </pc:spChg>
        <pc:spChg chg="add mod">
          <ac:chgData name="Marta" userId="eac6eb22-5f14-46b4-a4ea-a86e6e8c4acc" providerId="ADAL" clId="{661C6999-6DFA-41E1-9F2F-FC61AEB8EB9F}" dt="2022-02-14T15:36:06.709" v="369"/>
          <ac:spMkLst>
            <pc:docMk/>
            <pc:sldMk cId="1397072693" sldId="938"/>
            <ac:spMk id="7" creationId="{BFE6042D-92F5-47FD-A572-9F4D443C989C}"/>
          </ac:spMkLst>
        </pc:spChg>
        <pc:spChg chg="add mod">
          <ac:chgData name="Marta" userId="eac6eb22-5f14-46b4-a4ea-a86e6e8c4acc" providerId="ADAL" clId="{661C6999-6DFA-41E1-9F2F-FC61AEB8EB9F}" dt="2022-02-14T15:36:06.709" v="369"/>
          <ac:spMkLst>
            <pc:docMk/>
            <pc:sldMk cId="1397072693" sldId="938"/>
            <ac:spMk id="8" creationId="{9223B154-E083-489C-A80D-22DC05D31E33}"/>
          </ac:spMkLst>
        </pc:spChg>
        <pc:spChg chg="add mod">
          <ac:chgData name="Marta" userId="eac6eb22-5f14-46b4-a4ea-a86e6e8c4acc" providerId="ADAL" clId="{661C6999-6DFA-41E1-9F2F-FC61AEB8EB9F}" dt="2022-02-14T15:36:06.709" v="369"/>
          <ac:spMkLst>
            <pc:docMk/>
            <pc:sldMk cId="1397072693" sldId="938"/>
            <ac:spMk id="9" creationId="{E443DB69-46CA-4B4F-86F7-2723F51EC9DC}"/>
          </ac:spMkLst>
        </pc:spChg>
        <pc:spChg chg="mod">
          <ac:chgData name="Marta" userId="eac6eb22-5f14-46b4-a4ea-a86e6e8c4acc" providerId="ADAL" clId="{661C6999-6DFA-41E1-9F2F-FC61AEB8EB9F}" dt="2022-02-14T15:42:57.461" v="591" actId="20577"/>
          <ac:spMkLst>
            <pc:docMk/>
            <pc:sldMk cId="1397072693" sldId="938"/>
            <ac:spMk id="10" creationId="{66421E13-941D-487E-9F8E-DCFA3FE9C646}"/>
          </ac:spMkLst>
        </pc:spChg>
        <pc:picChg chg="add mod">
          <ac:chgData name="Marta" userId="eac6eb22-5f14-46b4-a4ea-a86e6e8c4acc" providerId="ADAL" clId="{661C6999-6DFA-41E1-9F2F-FC61AEB8EB9F}" dt="2022-02-14T15:36:06.709" v="369"/>
          <ac:picMkLst>
            <pc:docMk/>
            <pc:sldMk cId="1397072693" sldId="938"/>
            <ac:picMk id="11" creationId="{0D1F3D81-B57B-473B-BE8A-409038421DEE}"/>
          </ac:picMkLst>
        </pc:picChg>
      </pc:sldChg>
      <pc:sldChg chg="del">
        <pc:chgData name="Marta" userId="eac6eb22-5f14-46b4-a4ea-a86e6e8c4acc" providerId="ADAL" clId="{661C6999-6DFA-41E1-9F2F-FC61AEB8EB9F}" dt="2022-02-14T14:05:51.434" v="165" actId="47"/>
        <pc:sldMkLst>
          <pc:docMk/>
          <pc:sldMk cId="1785137740" sldId="939"/>
        </pc:sldMkLst>
      </pc:sldChg>
      <pc:sldChg chg="addSp delSp modSp add del">
        <pc:chgData name="Marta" userId="eac6eb22-5f14-46b4-a4ea-a86e6e8c4acc" providerId="ADAL" clId="{661C6999-6DFA-41E1-9F2F-FC61AEB8EB9F}" dt="2022-02-14T15:38:04.107" v="379" actId="47"/>
        <pc:sldMkLst>
          <pc:docMk/>
          <pc:sldMk cId="3225949520" sldId="939"/>
        </pc:sldMkLst>
        <pc:spChg chg="del">
          <ac:chgData name="Marta" userId="eac6eb22-5f14-46b4-a4ea-a86e6e8c4acc" providerId="ADAL" clId="{661C6999-6DFA-41E1-9F2F-FC61AEB8EB9F}" dt="2022-02-14T15:35:19.752" v="347" actId="478"/>
          <ac:spMkLst>
            <pc:docMk/>
            <pc:sldMk cId="3225949520" sldId="939"/>
            <ac:spMk id="3" creationId="{8621C8EE-0219-41A7-8DA5-E8C5AEB14A01}"/>
          </ac:spMkLst>
        </pc:spChg>
        <pc:spChg chg="del">
          <ac:chgData name="Marta" userId="eac6eb22-5f14-46b4-a4ea-a86e6e8c4acc" providerId="ADAL" clId="{661C6999-6DFA-41E1-9F2F-FC61AEB8EB9F}" dt="2022-02-14T15:35:19.752" v="347" actId="478"/>
          <ac:spMkLst>
            <pc:docMk/>
            <pc:sldMk cId="3225949520" sldId="939"/>
            <ac:spMk id="5" creationId="{40955CF1-E7E6-4541-A1EA-E7E723C9D7CD}"/>
          </ac:spMkLst>
        </pc:spChg>
        <pc:spChg chg="del">
          <ac:chgData name="Marta" userId="eac6eb22-5f14-46b4-a4ea-a86e6e8c4acc" providerId="ADAL" clId="{661C6999-6DFA-41E1-9F2F-FC61AEB8EB9F}" dt="2022-02-14T15:35:19.752" v="347" actId="478"/>
          <ac:spMkLst>
            <pc:docMk/>
            <pc:sldMk cId="3225949520" sldId="939"/>
            <ac:spMk id="12" creationId="{0275828B-1EFE-47A0-B81B-A1B3DF6B5ADE}"/>
          </ac:spMkLst>
        </pc:spChg>
        <pc:spChg chg="add mod">
          <ac:chgData name="Marta" userId="eac6eb22-5f14-46b4-a4ea-a86e6e8c4acc" providerId="ADAL" clId="{661C6999-6DFA-41E1-9F2F-FC61AEB8EB9F}" dt="2022-02-14T15:35:19.984" v="348"/>
          <ac:spMkLst>
            <pc:docMk/>
            <pc:sldMk cId="3225949520" sldId="939"/>
            <ac:spMk id="13" creationId="{83146624-2A31-4A14-B6DC-9FA5F3CC2C1A}"/>
          </ac:spMkLst>
        </pc:spChg>
        <pc:spChg chg="add mod">
          <ac:chgData name="Marta" userId="eac6eb22-5f14-46b4-a4ea-a86e6e8c4acc" providerId="ADAL" clId="{661C6999-6DFA-41E1-9F2F-FC61AEB8EB9F}" dt="2022-02-14T15:35:19.984" v="348"/>
          <ac:spMkLst>
            <pc:docMk/>
            <pc:sldMk cId="3225949520" sldId="939"/>
            <ac:spMk id="14" creationId="{111C263C-F926-43B8-A1F2-8A4DF9C065EA}"/>
          </ac:spMkLst>
        </pc:spChg>
        <pc:spChg chg="add mod">
          <ac:chgData name="Marta" userId="eac6eb22-5f14-46b4-a4ea-a86e6e8c4acc" providerId="ADAL" clId="{661C6999-6DFA-41E1-9F2F-FC61AEB8EB9F}" dt="2022-02-14T15:35:19.984" v="348"/>
          <ac:spMkLst>
            <pc:docMk/>
            <pc:sldMk cId="3225949520" sldId="939"/>
            <ac:spMk id="16" creationId="{F265ABE2-663B-4E96-9180-3C3188C0AA6F}"/>
          </ac:spMkLst>
        </pc:spChg>
        <pc:picChg chg="del">
          <ac:chgData name="Marta" userId="eac6eb22-5f14-46b4-a4ea-a86e6e8c4acc" providerId="ADAL" clId="{661C6999-6DFA-41E1-9F2F-FC61AEB8EB9F}" dt="2022-02-14T15:35:19.752" v="347" actId="478"/>
          <ac:picMkLst>
            <pc:docMk/>
            <pc:sldMk cId="3225949520" sldId="939"/>
            <ac:picMk id="10" creationId="{FC2D7103-E7A1-4181-9248-567ED483A1C2}"/>
          </ac:picMkLst>
        </pc:picChg>
        <pc:picChg chg="add mod">
          <ac:chgData name="Marta" userId="eac6eb22-5f14-46b4-a4ea-a86e6e8c4acc" providerId="ADAL" clId="{661C6999-6DFA-41E1-9F2F-FC61AEB8EB9F}" dt="2022-02-14T15:35:19.984" v="348"/>
          <ac:picMkLst>
            <pc:docMk/>
            <pc:sldMk cId="3225949520" sldId="939"/>
            <ac:picMk id="18" creationId="{E9830B66-C0C9-4B4C-8153-A5ED40B5F221}"/>
          </ac:picMkLst>
        </pc:picChg>
      </pc:sldChg>
      <pc:sldChg chg="delSp modSp add mod">
        <pc:chgData name="Marta" userId="eac6eb22-5f14-46b4-a4ea-a86e6e8c4acc" providerId="ADAL" clId="{661C6999-6DFA-41E1-9F2F-FC61AEB8EB9F}" dt="2022-02-14T15:42:09.607" v="567" actId="20577"/>
        <pc:sldMkLst>
          <pc:docMk/>
          <pc:sldMk cId="3712657699" sldId="939"/>
        </pc:sldMkLst>
        <pc:spChg chg="mod">
          <ac:chgData name="Marta" userId="eac6eb22-5f14-46b4-a4ea-a86e6e8c4acc" providerId="ADAL" clId="{661C6999-6DFA-41E1-9F2F-FC61AEB8EB9F}" dt="2022-02-14T15:42:09.607" v="567" actId="20577"/>
          <ac:spMkLst>
            <pc:docMk/>
            <pc:sldMk cId="3712657699" sldId="939"/>
            <ac:spMk id="2" creationId="{91383D11-DEC4-4BFF-88BB-8FB2206CEB37}"/>
          </ac:spMkLst>
        </pc:spChg>
        <pc:spChg chg="mod">
          <ac:chgData name="Marta" userId="eac6eb22-5f14-46b4-a4ea-a86e6e8c4acc" providerId="ADAL" clId="{661C6999-6DFA-41E1-9F2F-FC61AEB8EB9F}" dt="2022-02-14T15:39:59.983" v="480" actId="20577"/>
          <ac:spMkLst>
            <pc:docMk/>
            <pc:sldMk cId="3712657699" sldId="939"/>
            <ac:spMk id="4" creationId="{E8E02AC0-EA95-4CA2-B250-70F98D25C504}"/>
          </ac:spMkLst>
        </pc:spChg>
        <pc:picChg chg="del">
          <ac:chgData name="Marta" userId="eac6eb22-5f14-46b4-a4ea-a86e6e8c4acc" providerId="ADAL" clId="{661C6999-6DFA-41E1-9F2F-FC61AEB8EB9F}" dt="2022-02-14T15:39:02.178" v="438" actId="478"/>
          <ac:picMkLst>
            <pc:docMk/>
            <pc:sldMk cId="3712657699" sldId="939"/>
            <ac:picMk id="6" creationId="{FAB1BF17-3A41-4541-8316-70911C21F415}"/>
          </ac:picMkLst>
        </pc:picChg>
        <pc:picChg chg="del">
          <ac:chgData name="Marta" userId="eac6eb22-5f14-46b4-a4ea-a86e6e8c4acc" providerId="ADAL" clId="{661C6999-6DFA-41E1-9F2F-FC61AEB8EB9F}" dt="2022-02-14T15:39:04.543" v="439" actId="478"/>
          <ac:picMkLst>
            <pc:docMk/>
            <pc:sldMk cId="3712657699" sldId="939"/>
            <ac:picMk id="7" creationId="{2E1269CC-152A-4332-8438-63FC4ADC1E57}"/>
          </ac:picMkLst>
        </pc:picChg>
        <pc:picChg chg="del">
          <ac:chgData name="Marta" userId="eac6eb22-5f14-46b4-a4ea-a86e6e8c4acc" providerId="ADAL" clId="{661C6999-6DFA-41E1-9F2F-FC61AEB8EB9F}" dt="2022-02-14T15:39:04.543" v="439" actId="478"/>
          <ac:picMkLst>
            <pc:docMk/>
            <pc:sldMk cId="3712657699" sldId="939"/>
            <ac:picMk id="9" creationId="{9F39D171-157B-4409-9B51-F75712CB4BE2}"/>
          </ac:picMkLst>
        </pc:picChg>
        <pc:picChg chg="del">
          <ac:chgData name="Marta" userId="eac6eb22-5f14-46b4-a4ea-a86e6e8c4acc" providerId="ADAL" clId="{661C6999-6DFA-41E1-9F2F-FC61AEB8EB9F}" dt="2022-02-14T15:39:04.543" v="439" actId="478"/>
          <ac:picMkLst>
            <pc:docMk/>
            <pc:sldMk cId="3712657699" sldId="939"/>
            <ac:picMk id="15" creationId="{7FDA0B01-D45E-4688-BEA1-46E0D082A2A6}"/>
          </ac:picMkLst>
        </pc:picChg>
        <pc:picChg chg="del">
          <ac:chgData name="Marta" userId="eac6eb22-5f14-46b4-a4ea-a86e6e8c4acc" providerId="ADAL" clId="{661C6999-6DFA-41E1-9F2F-FC61AEB8EB9F}" dt="2022-02-14T15:39:04.543" v="439" actId="478"/>
          <ac:picMkLst>
            <pc:docMk/>
            <pc:sldMk cId="3712657699" sldId="939"/>
            <ac:picMk id="17" creationId="{5DCC1BA3-CAD4-452E-8302-C54DBC485768}"/>
          </ac:picMkLst>
        </pc:picChg>
        <pc:picChg chg="del">
          <ac:chgData name="Marta" userId="eac6eb22-5f14-46b4-a4ea-a86e6e8c4acc" providerId="ADAL" clId="{661C6999-6DFA-41E1-9F2F-FC61AEB8EB9F}" dt="2022-02-14T15:39:04.543" v="439" actId="478"/>
          <ac:picMkLst>
            <pc:docMk/>
            <pc:sldMk cId="3712657699" sldId="939"/>
            <ac:picMk id="1026" creationId="{00EB0658-355A-4D22-BE92-D259930690A7}"/>
          </ac:picMkLst>
        </pc:picChg>
      </pc:sldChg>
      <pc:sldChg chg="del">
        <pc:chgData name="Marta" userId="eac6eb22-5f14-46b4-a4ea-a86e6e8c4acc" providerId="ADAL" clId="{661C6999-6DFA-41E1-9F2F-FC61AEB8EB9F}" dt="2022-02-14T14:05:51.434" v="165" actId="47"/>
        <pc:sldMkLst>
          <pc:docMk/>
          <pc:sldMk cId="2808945221" sldId="940"/>
        </pc:sldMkLst>
      </pc:sldChg>
      <pc:sldChg chg="add">
        <pc:chgData name="Marta" userId="eac6eb22-5f14-46b4-a4ea-a86e6e8c4acc" providerId="ADAL" clId="{661C6999-6DFA-41E1-9F2F-FC61AEB8EB9F}" dt="2022-02-14T15:56:26.779" v="738"/>
        <pc:sldMkLst>
          <pc:docMk/>
          <pc:sldMk cId="4117986438" sldId="940"/>
        </pc:sldMkLst>
      </pc:sldChg>
      <pc:sldChg chg="add">
        <pc:chgData name="Marta" userId="eac6eb22-5f14-46b4-a4ea-a86e6e8c4acc" providerId="ADAL" clId="{661C6999-6DFA-41E1-9F2F-FC61AEB8EB9F}" dt="2022-02-14T15:56:26.779" v="738"/>
        <pc:sldMkLst>
          <pc:docMk/>
          <pc:sldMk cId="102967549" sldId="941"/>
        </pc:sldMkLst>
      </pc:sldChg>
      <pc:sldChg chg="del">
        <pc:chgData name="Marta" userId="eac6eb22-5f14-46b4-a4ea-a86e6e8c4acc" providerId="ADAL" clId="{661C6999-6DFA-41E1-9F2F-FC61AEB8EB9F}" dt="2022-02-14T14:05:51.434" v="165" actId="47"/>
        <pc:sldMkLst>
          <pc:docMk/>
          <pc:sldMk cId="816716792" sldId="941"/>
        </pc:sldMkLst>
      </pc:sldChg>
      <pc:sldChg chg="add">
        <pc:chgData name="Marta" userId="eac6eb22-5f14-46b4-a4ea-a86e6e8c4acc" providerId="ADAL" clId="{661C6999-6DFA-41E1-9F2F-FC61AEB8EB9F}" dt="2022-02-14T15:56:26.779" v="738"/>
        <pc:sldMkLst>
          <pc:docMk/>
          <pc:sldMk cId="2149241807" sldId="942"/>
        </pc:sldMkLst>
      </pc:sldChg>
      <pc:sldChg chg="del">
        <pc:chgData name="Marta" userId="eac6eb22-5f14-46b4-a4ea-a86e6e8c4acc" providerId="ADAL" clId="{661C6999-6DFA-41E1-9F2F-FC61AEB8EB9F}" dt="2022-02-14T14:05:51.434" v="165" actId="47"/>
        <pc:sldMkLst>
          <pc:docMk/>
          <pc:sldMk cId="2478388338" sldId="942"/>
        </pc:sldMkLst>
      </pc:sldChg>
      <pc:sldChg chg="add">
        <pc:chgData name="Marta" userId="eac6eb22-5f14-46b4-a4ea-a86e6e8c4acc" providerId="ADAL" clId="{661C6999-6DFA-41E1-9F2F-FC61AEB8EB9F}" dt="2022-02-14T15:56:26.779" v="738"/>
        <pc:sldMkLst>
          <pc:docMk/>
          <pc:sldMk cId="2322778213" sldId="943"/>
        </pc:sldMkLst>
      </pc:sldChg>
      <pc:sldChg chg="del">
        <pc:chgData name="Marta" userId="eac6eb22-5f14-46b4-a4ea-a86e6e8c4acc" providerId="ADAL" clId="{661C6999-6DFA-41E1-9F2F-FC61AEB8EB9F}" dt="2022-02-14T14:05:51.434" v="165" actId="47"/>
        <pc:sldMkLst>
          <pc:docMk/>
          <pc:sldMk cId="3208814923" sldId="943"/>
        </pc:sldMkLst>
      </pc:sldChg>
      <pc:sldChg chg="add">
        <pc:chgData name="Marta" userId="eac6eb22-5f14-46b4-a4ea-a86e6e8c4acc" providerId="ADAL" clId="{661C6999-6DFA-41E1-9F2F-FC61AEB8EB9F}" dt="2022-02-14T15:56:26.779" v="738"/>
        <pc:sldMkLst>
          <pc:docMk/>
          <pc:sldMk cId="258813626" sldId="944"/>
        </pc:sldMkLst>
      </pc:sldChg>
      <pc:sldChg chg="del">
        <pc:chgData name="Marta" userId="eac6eb22-5f14-46b4-a4ea-a86e6e8c4acc" providerId="ADAL" clId="{661C6999-6DFA-41E1-9F2F-FC61AEB8EB9F}" dt="2022-02-14T14:05:51.434" v="165" actId="47"/>
        <pc:sldMkLst>
          <pc:docMk/>
          <pc:sldMk cId="3672107520" sldId="944"/>
        </pc:sldMkLst>
      </pc:sldChg>
      <pc:sldChg chg="add">
        <pc:chgData name="Marta" userId="eac6eb22-5f14-46b4-a4ea-a86e6e8c4acc" providerId="ADAL" clId="{661C6999-6DFA-41E1-9F2F-FC61AEB8EB9F}" dt="2022-02-14T15:56:26.779" v="738"/>
        <pc:sldMkLst>
          <pc:docMk/>
          <pc:sldMk cId="867503054" sldId="945"/>
        </pc:sldMkLst>
      </pc:sldChg>
      <pc:sldChg chg="del">
        <pc:chgData name="Marta" userId="eac6eb22-5f14-46b4-a4ea-a86e6e8c4acc" providerId="ADAL" clId="{661C6999-6DFA-41E1-9F2F-FC61AEB8EB9F}" dt="2022-02-14T14:05:59.388" v="166" actId="47"/>
        <pc:sldMkLst>
          <pc:docMk/>
          <pc:sldMk cId="3803227558" sldId="945"/>
        </pc:sldMkLst>
      </pc:sldChg>
      <pc:sldChg chg="del">
        <pc:chgData name="Marta" userId="eac6eb22-5f14-46b4-a4ea-a86e6e8c4acc" providerId="ADAL" clId="{661C6999-6DFA-41E1-9F2F-FC61AEB8EB9F}" dt="2022-02-14T14:05:59.388" v="166" actId="47"/>
        <pc:sldMkLst>
          <pc:docMk/>
          <pc:sldMk cId="1284684684" sldId="946"/>
        </pc:sldMkLst>
      </pc:sldChg>
      <pc:sldChg chg="add">
        <pc:chgData name="Marta" userId="eac6eb22-5f14-46b4-a4ea-a86e6e8c4acc" providerId="ADAL" clId="{661C6999-6DFA-41E1-9F2F-FC61AEB8EB9F}" dt="2022-02-14T15:56:26.779" v="738"/>
        <pc:sldMkLst>
          <pc:docMk/>
          <pc:sldMk cId="4248608486" sldId="946"/>
        </pc:sldMkLst>
      </pc:sldChg>
      <pc:sldChg chg="add">
        <pc:chgData name="Marta" userId="eac6eb22-5f14-46b4-a4ea-a86e6e8c4acc" providerId="ADAL" clId="{661C6999-6DFA-41E1-9F2F-FC61AEB8EB9F}" dt="2022-02-14T15:56:26.779" v="738"/>
        <pc:sldMkLst>
          <pc:docMk/>
          <pc:sldMk cId="3557807244" sldId="947"/>
        </pc:sldMkLst>
      </pc:sldChg>
      <pc:sldChg chg="del">
        <pc:chgData name="Marta" userId="eac6eb22-5f14-46b4-a4ea-a86e6e8c4acc" providerId="ADAL" clId="{661C6999-6DFA-41E1-9F2F-FC61AEB8EB9F}" dt="2022-02-14T14:05:59.388" v="166" actId="47"/>
        <pc:sldMkLst>
          <pc:docMk/>
          <pc:sldMk cId="3885637504" sldId="947"/>
        </pc:sldMkLst>
      </pc:sldChg>
      <pc:sldChg chg="add">
        <pc:chgData name="Marta" userId="eac6eb22-5f14-46b4-a4ea-a86e6e8c4acc" providerId="ADAL" clId="{661C6999-6DFA-41E1-9F2F-FC61AEB8EB9F}" dt="2022-02-14T15:56:26.779" v="738"/>
        <pc:sldMkLst>
          <pc:docMk/>
          <pc:sldMk cId="707745755" sldId="948"/>
        </pc:sldMkLst>
      </pc:sldChg>
      <pc:sldChg chg="del">
        <pc:chgData name="Marta" userId="eac6eb22-5f14-46b4-a4ea-a86e6e8c4acc" providerId="ADAL" clId="{661C6999-6DFA-41E1-9F2F-FC61AEB8EB9F}" dt="2022-02-14T14:05:59.388" v="166" actId="47"/>
        <pc:sldMkLst>
          <pc:docMk/>
          <pc:sldMk cId="2254988444" sldId="948"/>
        </pc:sldMkLst>
      </pc:sldChg>
      <pc:sldChg chg="del">
        <pc:chgData name="Marta" userId="eac6eb22-5f14-46b4-a4ea-a86e6e8c4acc" providerId="ADAL" clId="{661C6999-6DFA-41E1-9F2F-FC61AEB8EB9F}" dt="2022-02-14T14:05:59.388" v="166" actId="47"/>
        <pc:sldMkLst>
          <pc:docMk/>
          <pc:sldMk cId="1050928760" sldId="949"/>
        </pc:sldMkLst>
      </pc:sldChg>
      <pc:sldChg chg="add">
        <pc:chgData name="Marta" userId="eac6eb22-5f14-46b4-a4ea-a86e6e8c4acc" providerId="ADAL" clId="{661C6999-6DFA-41E1-9F2F-FC61AEB8EB9F}" dt="2022-02-14T15:56:26.779" v="738"/>
        <pc:sldMkLst>
          <pc:docMk/>
          <pc:sldMk cId="3200383792" sldId="949"/>
        </pc:sldMkLst>
      </pc:sldChg>
      <pc:sldChg chg="del">
        <pc:chgData name="Marta" userId="eac6eb22-5f14-46b4-a4ea-a86e6e8c4acc" providerId="ADAL" clId="{661C6999-6DFA-41E1-9F2F-FC61AEB8EB9F}" dt="2022-02-14T14:05:59.388" v="166" actId="47"/>
        <pc:sldMkLst>
          <pc:docMk/>
          <pc:sldMk cId="1790142846" sldId="950"/>
        </pc:sldMkLst>
      </pc:sldChg>
      <pc:sldChg chg="add">
        <pc:chgData name="Marta" userId="eac6eb22-5f14-46b4-a4ea-a86e6e8c4acc" providerId="ADAL" clId="{661C6999-6DFA-41E1-9F2F-FC61AEB8EB9F}" dt="2022-02-14T15:56:26.779" v="738"/>
        <pc:sldMkLst>
          <pc:docMk/>
          <pc:sldMk cId="3796687518" sldId="950"/>
        </pc:sldMkLst>
      </pc:sldChg>
      <pc:sldChg chg="add">
        <pc:chgData name="Marta" userId="eac6eb22-5f14-46b4-a4ea-a86e6e8c4acc" providerId="ADAL" clId="{661C6999-6DFA-41E1-9F2F-FC61AEB8EB9F}" dt="2022-02-14T15:56:26.779" v="738"/>
        <pc:sldMkLst>
          <pc:docMk/>
          <pc:sldMk cId="3342564520" sldId="951"/>
        </pc:sldMkLst>
      </pc:sldChg>
      <pc:sldChg chg="del">
        <pc:chgData name="Marta" userId="eac6eb22-5f14-46b4-a4ea-a86e6e8c4acc" providerId="ADAL" clId="{661C6999-6DFA-41E1-9F2F-FC61AEB8EB9F}" dt="2022-02-14T14:05:59.388" v="166" actId="47"/>
        <pc:sldMkLst>
          <pc:docMk/>
          <pc:sldMk cId="3640458174" sldId="951"/>
        </pc:sldMkLst>
      </pc:sldChg>
      <pc:sldChg chg="add">
        <pc:chgData name="Marta" userId="eac6eb22-5f14-46b4-a4ea-a86e6e8c4acc" providerId="ADAL" clId="{661C6999-6DFA-41E1-9F2F-FC61AEB8EB9F}" dt="2022-02-14T15:56:26.779" v="738"/>
        <pc:sldMkLst>
          <pc:docMk/>
          <pc:sldMk cId="525359197" sldId="952"/>
        </pc:sldMkLst>
      </pc:sldChg>
      <pc:sldChg chg="del">
        <pc:chgData name="Marta" userId="eac6eb22-5f14-46b4-a4ea-a86e6e8c4acc" providerId="ADAL" clId="{661C6999-6DFA-41E1-9F2F-FC61AEB8EB9F}" dt="2022-02-14T14:05:59.388" v="166" actId="47"/>
        <pc:sldMkLst>
          <pc:docMk/>
          <pc:sldMk cId="4263782628" sldId="952"/>
        </pc:sldMkLst>
      </pc:sldChg>
      <pc:sldChg chg="add">
        <pc:chgData name="Marta" userId="eac6eb22-5f14-46b4-a4ea-a86e6e8c4acc" providerId="ADAL" clId="{661C6999-6DFA-41E1-9F2F-FC61AEB8EB9F}" dt="2022-02-14T15:56:26.779" v="738"/>
        <pc:sldMkLst>
          <pc:docMk/>
          <pc:sldMk cId="1321012257" sldId="953"/>
        </pc:sldMkLst>
      </pc:sldChg>
      <pc:sldChg chg="del">
        <pc:chgData name="Marta" userId="eac6eb22-5f14-46b4-a4ea-a86e6e8c4acc" providerId="ADAL" clId="{661C6999-6DFA-41E1-9F2F-FC61AEB8EB9F}" dt="2022-02-14T14:05:59.388" v="166" actId="47"/>
        <pc:sldMkLst>
          <pc:docMk/>
          <pc:sldMk cId="3024120423" sldId="953"/>
        </pc:sldMkLst>
      </pc:sldChg>
      <pc:sldChg chg="del">
        <pc:chgData name="Marta" userId="eac6eb22-5f14-46b4-a4ea-a86e6e8c4acc" providerId="ADAL" clId="{661C6999-6DFA-41E1-9F2F-FC61AEB8EB9F}" dt="2022-02-14T14:05:59.388" v="166" actId="47"/>
        <pc:sldMkLst>
          <pc:docMk/>
          <pc:sldMk cId="475558291" sldId="954"/>
        </pc:sldMkLst>
      </pc:sldChg>
      <pc:sldChg chg="add">
        <pc:chgData name="Marta" userId="eac6eb22-5f14-46b4-a4ea-a86e6e8c4acc" providerId="ADAL" clId="{661C6999-6DFA-41E1-9F2F-FC61AEB8EB9F}" dt="2022-02-14T15:56:26.779" v="738"/>
        <pc:sldMkLst>
          <pc:docMk/>
          <pc:sldMk cId="636632436" sldId="954"/>
        </pc:sldMkLst>
      </pc:sldChg>
      <pc:sldChg chg="del">
        <pc:chgData name="Marta" userId="eac6eb22-5f14-46b4-a4ea-a86e6e8c4acc" providerId="ADAL" clId="{661C6999-6DFA-41E1-9F2F-FC61AEB8EB9F}" dt="2022-02-14T14:05:59.388" v="166" actId="47"/>
        <pc:sldMkLst>
          <pc:docMk/>
          <pc:sldMk cId="1889026756" sldId="955"/>
        </pc:sldMkLst>
      </pc:sldChg>
      <pc:sldChg chg="add">
        <pc:chgData name="Marta" userId="eac6eb22-5f14-46b4-a4ea-a86e6e8c4acc" providerId="ADAL" clId="{661C6999-6DFA-41E1-9F2F-FC61AEB8EB9F}" dt="2022-02-14T15:56:26.779" v="738"/>
        <pc:sldMkLst>
          <pc:docMk/>
          <pc:sldMk cId="4112636735" sldId="955"/>
        </pc:sldMkLst>
      </pc:sldChg>
      <pc:sldChg chg="add">
        <pc:chgData name="Marta" userId="eac6eb22-5f14-46b4-a4ea-a86e6e8c4acc" providerId="ADAL" clId="{661C6999-6DFA-41E1-9F2F-FC61AEB8EB9F}" dt="2022-02-14T15:56:26.779" v="738"/>
        <pc:sldMkLst>
          <pc:docMk/>
          <pc:sldMk cId="1580427306" sldId="956"/>
        </pc:sldMkLst>
      </pc:sldChg>
      <pc:sldChg chg="add">
        <pc:chgData name="Marta" userId="eac6eb22-5f14-46b4-a4ea-a86e6e8c4acc" providerId="ADAL" clId="{661C6999-6DFA-41E1-9F2F-FC61AEB8EB9F}" dt="2022-02-14T15:56:26.779" v="738"/>
        <pc:sldMkLst>
          <pc:docMk/>
          <pc:sldMk cId="1781309504" sldId="957"/>
        </pc:sldMkLst>
      </pc:sldChg>
      <pc:sldChg chg="add">
        <pc:chgData name="Marta" userId="eac6eb22-5f14-46b4-a4ea-a86e6e8c4acc" providerId="ADAL" clId="{661C6999-6DFA-41E1-9F2F-FC61AEB8EB9F}" dt="2022-02-14T15:56:26.779" v="738"/>
        <pc:sldMkLst>
          <pc:docMk/>
          <pc:sldMk cId="2477111662" sldId="958"/>
        </pc:sldMkLst>
      </pc:sldChg>
      <pc:sldChg chg="add">
        <pc:chgData name="Marta" userId="eac6eb22-5f14-46b4-a4ea-a86e6e8c4acc" providerId="ADAL" clId="{661C6999-6DFA-41E1-9F2F-FC61AEB8EB9F}" dt="2022-02-14T15:56:26.779" v="738"/>
        <pc:sldMkLst>
          <pc:docMk/>
          <pc:sldMk cId="3793172541" sldId="959"/>
        </pc:sldMkLst>
      </pc:sldChg>
      <pc:sldChg chg="add">
        <pc:chgData name="Marta" userId="eac6eb22-5f14-46b4-a4ea-a86e6e8c4acc" providerId="ADAL" clId="{661C6999-6DFA-41E1-9F2F-FC61AEB8EB9F}" dt="2022-02-14T15:56:26.779" v="738"/>
        <pc:sldMkLst>
          <pc:docMk/>
          <pc:sldMk cId="1495583960" sldId="960"/>
        </pc:sldMkLst>
      </pc:sldChg>
      <pc:sldChg chg="add">
        <pc:chgData name="Marta" userId="eac6eb22-5f14-46b4-a4ea-a86e6e8c4acc" providerId="ADAL" clId="{661C6999-6DFA-41E1-9F2F-FC61AEB8EB9F}" dt="2022-02-14T15:56:26.779" v="738"/>
        <pc:sldMkLst>
          <pc:docMk/>
          <pc:sldMk cId="4227625523" sldId="961"/>
        </pc:sldMkLst>
      </pc:sldChg>
      <pc:sldChg chg="add">
        <pc:chgData name="Marta" userId="eac6eb22-5f14-46b4-a4ea-a86e6e8c4acc" providerId="ADAL" clId="{661C6999-6DFA-41E1-9F2F-FC61AEB8EB9F}" dt="2022-02-14T15:56:26.779" v="738"/>
        <pc:sldMkLst>
          <pc:docMk/>
          <pc:sldMk cId="4117339498" sldId="962"/>
        </pc:sldMkLst>
      </pc:sldChg>
      <pc:sldChg chg="add">
        <pc:chgData name="Marta" userId="eac6eb22-5f14-46b4-a4ea-a86e6e8c4acc" providerId="ADAL" clId="{661C6999-6DFA-41E1-9F2F-FC61AEB8EB9F}" dt="2022-02-14T15:56:26.779" v="738"/>
        <pc:sldMkLst>
          <pc:docMk/>
          <pc:sldMk cId="4248731220" sldId="963"/>
        </pc:sldMkLst>
      </pc:sldChg>
      <pc:sldChg chg="add">
        <pc:chgData name="Marta" userId="eac6eb22-5f14-46b4-a4ea-a86e6e8c4acc" providerId="ADAL" clId="{661C6999-6DFA-41E1-9F2F-FC61AEB8EB9F}" dt="2022-02-14T15:56:26.779" v="738"/>
        <pc:sldMkLst>
          <pc:docMk/>
          <pc:sldMk cId="2394336915" sldId="964"/>
        </pc:sldMkLst>
      </pc:sldChg>
      <pc:sldChg chg="add">
        <pc:chgData name="Marta" userId="eac6eb22-5f14-46b4-a4ea-a86e6e8c4acc" providerId="ADAL" clId="{661C6999-6DFA-41E1-9F2F-FC61AEB8EB9F}" dt="2022-02-14T15:56:26.779" v="738"/>
        <pc:sldMkLst>
          <pc:docMk/>
          <pc:sldMk cId="1871208208" sldId="965"/>
        </pc:sldMkLst>
      </pc:sldChg>
      <pc:sldChg chg="add">
        <pc:chgData name="Marta" userId="eac6eb22-5f14-46b4-a4ea-a86e6e8c4acc" providerId="ADAL" clId="{661C6999-6DFA-41E1-9F2F-FC61AEB8EB9F}" dt="2022-02-14T15:56:26.779" v="738"/>
        <pc:sldMkLst>
          <pc:docMk/>
          <pc:sldMk cId="128121569" sldId="966"/>
        </pc:sldMkLst>
      </pc:sldChg>
      <pc:sldChg chg="delSp add mod">
        <pc:chgData name="Marta" userId="eac6eb22-5f14-46b4-a4ea-a86e6e8c4acc" providerId="ADAL" clId="{661C6999-6DFA-41E1-9F2F-FC61AEB8EB9F}" dt="2022-02-14T15:57:52.254" v="739" actId="478"/>
        <pc:sldMkLst>
          <pc:docMk/>
          <pc:sldMk cId="3076133610" sldId="967"/>
        </pc:sldMkLst>
        <pc:spChg chg="del">
          <ac:chgData name="Marta" userId="eac6eb22-5f14-46b4-a4ea-a86e6e8c4acc" providerId="ADAL" clId="{661C6999-6DFA-41E1-9F2F-FC61AEB8EB9F}" dt="2022-02-14T15:57:52.254" v="739" actId="478"/>
          <ac:spMkLst>
            <pc:docMk/>
            <pc:sldMk cId="3076133610" sldId="967"/>
            <ac:spMk id="4" creationId="{00000000-0000-0000-0000-000000000000}"/>
          </ac:spMkLst>
        </pc:spChg>
      </pc:sldChg>
      <pc:sldMasterChg chg="add addSldLayout">
        <pc:chgData name="Marta" userId="eac6eb22-5f14-46b4-a4ea-a86e6e8c4acc" providerId="ADAL" clId="{661C6999-6DFA-41E1-9F2F-FC61AEB8EB9F}" dt="2022-02-14T15:56:26.752" v="737" actId="27028"/>
        <pc:sldMasterMkLst>
          <pc:docMk/>
          <pc:sldMasterMk cId="0" sldId="2147483648"/>
        </pc:sldMasterMkLst>
        <pc:sldLayoutChg chg="add">
          <pc:chgData name="Marta" userId="eac6eb22-5f14-46b4-a4ea-a86e6e8c4acc" providerId="ADAL" clId="{661C6999-6DFA-41E1-9F2F-FC61AEB8EB9F}" dt="2022-02-14T15:56:26.752" v="737" actId="27028"/>
          <pc:sldLayoutMkLst>
            <pc:docMk/>
            <pc:sldMasterMk cId="0" sldId="2147483648"/>
            <pc:sldLayoutMk cId="4260950116" sldId="2147483661"/>
          </pc:sldLayoutMkLst>
        </pc:sldLayoutChg>
        <pc:sldLayoutChg chg="add">
          <pc:chgData name="Marta" userId="eac6eb22-5f14-46b4-a4ea-a86e6e8c4acc" providerId="ADAL" clId="{661C6999-6DFA-41E1-9F2F-FC61AEB8EB9F}" dt="2022-02-14T15:56:26.752" v="737" actId="27028"/>
          <pc:sldLayoutMkLst>
            <pc:docMk/>
            <pc:sldMasterMk cId="0" sldId="2147483648"/>
            <pc:sldLayoutMk cId="2431866657" sldId="2147483664"/>
          </pc:sldLayoutMkLst>
        </pc:sldLayoutChg>
        <pc:sldLayoutChg chg="add">
          <pc:chgData name="Marta" userId="eac6eb22-5f14-46b4-a4ea-a86e6e8c4acc" providerId="ADAL" clId="{661C6999-6DFA-41E1-9F2F-FC61AEB8EB9F}" dt="2022-02-14T15:56:26.752" v="737" actId="27028"/>
          <pc:sldLayoutMkLst>
            <pc:docMk/>
            <pc:sldMasterMk cId="0" sldId="2147483648"/>
            <pc:sldLayoutMk cId="3998804859" sldId="2147483665"/>
          </pc:sldLayoutMkLst>
        </pc:sldLayoutChg>
        <pc:sldLayoutChg chg="add">
          <pc:chgData name="Marta" userId="eac6eb22-5f14-46b4-a4ea-a86e6e8c4acc" providerId="ADAL" clId="{661C6999-6DFA-41E1-9F2F-FC61AEB8EB9F}" dt="2022-02-14T15:56:26.752" v="737" actId="27028"/>
          <pc:sldLayoutMkLst>
            <pc:docMk/>
            <pc:sldMasterMk cId="0" sldId="2147483648"/>
            <pc:sldLayoutMk cId="2284147163" sldId="2147483666"/>
          </pc:sldLayoutMkLst>
        </pc:sldLayoutChg>
        <pc:sldLayoutChg chg="add">
          <pc:chgData name="Marta" userId="eac6eb22-5f14-46b4-a4ea-a86e6e8c4acc" providerId="ADAL" clId="{661C6999-6DFA-41E1-9F2F-FC61AEB8EB9F}" dt="2022-02-14T15:56:26.752" v="737" actId="27028"/>
          <pc:sldLayoutMkLst>
            <pc:docMk/>
            <pc:sldMasterMk cId="0" sldId="2147483648"/>
            <pc:sldLayoutMk cId="1860681604" sldId="2147483668"/>
          </pc:sldLayoutMkLst>
        </pc:sldLayoutChg>
        <pc:sldLayoutChg chg="add">
          <pc:chgData name="Marta" userId="eac6eb22-5f14-46b4-a4ea-a86e6e8c4acc" providerId="ADAL" clId="{661C6999-6DFA-41E1-9F2F-FC61AEB8EB9F}" dt="2022-02-14T15:56:26.752" v="737" actId="27028"/>
          <pc:sldLayoutMkLst>
            <pc:docMk/>
            <pc:sldMasterMk cId="0" sldId="2147483648"/>
            <pc:sldLayoutMk cId="1543846169" sldId="2147483671"/>
          </pc:sldLayoutMkLst>
        </pc:sldLayoutChg>
        <pc:sldLayoutChg chg="add">
          <pc:chgData name="Marta" userId="eac6eb22-5f14-46b4-a4ea-a86e6e8c4acc" providerId="ADAL" clId="{661C6999-6DFA-41E1-9F2F-FC61AEB8EB9F}" dt="2022-02-14T15:56:26.752" v="737" actId="27028"/>
          <pc:sldLayoutMkLst>
            <pc:docMk/>
            <pc:sldMasterMk cId="0" sldId="2147483648"/>
            <pc:sldLayoutMk cId="3259210329" sldId="2147483673"/>
          </pc:sldLayoutMkLst>
        </pc:sldLayoutChg>
      </pc:sldMasterChg>
      <pc:sldMasterChg chg="del delSldLayout">
        <pc:chgData name="Marta" userId="eac6eb22-5f14-46b4-a4ea-a86e6e8c4acc" providerId="ADAL" clId="{661C6999-6DFA-41E1-9F2F-FC61AEB8EB9F}" dt="2022-02-14T14:05:59.388" v="166" actId="47"/>
        <pc:sldMasterMkLst>
          <pc:docMk/>
          <pc:sldMasterMk cId="0" sldId="2147483659"/>
        </pc:sldMasterMkLst>
        <pc:sldLayoutChg chg="del">
          <pc:chgData name="Marta" userId="eac6eb22-5f14-46b4-a4ea-a86e6e8c4acc" providerId="ADAL" clId="{661C6999-6DFA-41E1-9F2F-FC61AEB8EB9F}" dt="2022-02-14T14:05:51.434" v="165" actId="47"/>
          <pc:sldLayoutMkLst>
            <pc:docMk/>
            <pc:sldMasterMk cId="0" sldId="2147483659"/>
            <pc:sldLayoutMk cId="0" sldId="2147483648"/>
          </pc:sldLayoutMkLst>
        </pc:sldLayoutChg>
        <pc:sldLayoutChg chg="del">
          <pc:chgData name="Marta" userId="eac6eb22-5f14-46b4-a4ea-a86e6e8c4acc" providerId="ADAL" clId="{661C6999-6DFA-41E1-9F2F-FC61AEB8EB9F}" dt="2022-02-14T14:05:59.388" v="166" actId="47"/>
          <pc:sldLayoutMkLst>
            <pc:docMk/>
            <pc:sldMasterMk cId="0" sldId="2147483659"/>
            <pc:sldLayoutMk cId="0" sldId="2147483649"/>
          </pc:sldLayoutMkLst>
        </pc:sldLayoutChg>
        <pc:sldLayoutChg chg="del">
          <pc:chgData name="Marta" userId="eac6eb22-5f14-46b4-a4ea-a86e6e8c4acc" providerId="ADAL" clId="{661C6999-6DFA-41E1-9F2F-FC61AEB8EB9F}" dt="2022-02-14T14:05:59.388" v="166" actId="47"/>
          <pc:sldLayoutMkLst>
            <pc:docMk/>
            <pc:sldMasterMk cId="0" sldId="2147483659"/>
            <pc:sldLayoutMk cId="0" sldId="2147483650"/>
          </pc:sldLayoutMkLst>
        </pc:sldLayoutChg>
        <pc:sldLayoutChg chg="del">
          <pc:chgData name="Marta" userId="eac6eb22-5f14-46b4-a4ea-a86e6e8c4acc" providerId="ADAL" clId="{661C6999-6DFA-41E1-9F2F-FC61AEB8EB9F}" dt="2022-02-14T14:05:59.388" v="166" actId="47"/>
          <pc:sldLayoutMkLst>
            <pc:docMk/>
            <pc:sldMasterMk cId="0" sldId="2147483659"/>
            <pc:sldLayoutMk cId="0" sldId="2147483651"/>
          </pc:sldLayoutMkLst>
        </pc:sldLayoutChg>
        <pc:sldLayoutChg chg="del">
          <pc:chgData name="Marta" userId="eac6eb22-5f14-46b4-a4ea-a86e6e8c4acc" providerId="ADAL" clId="{661C6999-6DFA-41E1-9F2F-FC61AEB8EB9F}" dt="2022-02-14T14:05:59.388" v="166" actId="47"/>
          <pc:sldLayoutMkLst>
            <pc:docMk/>
            <pc:sldMasterMk cId="0" sldId="2147483659"/>
            <pc:sldLayoutMk cId="0" sldId="2147483652"/>
          </pc:sldLayoutMkLst>
        </pc:sldLayoutChg>
        <pc:sldLayoutChg chg="del">
          <pc:chgData name="Marta" userId="eac6eb22-5f14-46b4-a4ea-a86e6e8c4acc" providerId="ADAL" clId="{661C6999-6DFA-41E1-9F2F-FC61AEB8EB9F}" dt="2022-02-14T14:05:59.388" v="166" actId="47"/>
          <pc:sldLayoutMkLst>
            <pc:docMk/>
            <pc:sldMasterMk cId="0" sldId="2147483659"/>
            <pc:sldLayoutMk cId="0" sldId="2147483653"/>
          </pc:sldLayoutMkLst>
        </pc:sldLayoutChg>
        <pc:sldLayoutChg chg="del">
          <pc:chgData name="Marta" userId="eac6eb22-5f14-46b4-a4ea-a86e6e8c4acc" providerId="ADAL" clId="{661C6999-6DFA-41E1-9F2F-FC61AEB8EB9F}" dt="2022-02-14T14:05:59.388" v="166" actId="47"/>
          <pc:sldLayoutMkLst>
            <pc:docMk/>
            <pc:sldMasterMk cId="0" sldId="2147483659"/>
            <pc:sldLayoutMk cId="0" sldId="2147483654"/>
          </pc:sldLayoutMkLst>
        </pc:sldLayoutChg>
        <pc:sldLayoutChg chg="del">
          <pc:chgData name="Marta" userId="eac6eb22-5f14-46b4-a4ea-a86e6e8c4acc" providerId="ADAL" clId="{661C6999-6DFA-41E1-9F2F-FC61AEB8EB9F}" dt="2022-02-14T14:05:59.388" v="166" actId="47"/>
          <pc:sldLayoutMkLst>
            <pc:docMk/>
            <pc:sldMasterMk cId="0" sldId="2147483659"/>
            <pc:sldLayoutMk cId="0" sldId="2147483655"/>
          </pc:sldLayoutMkLst>
        </pc:sldLayoutChg>
        <pc:sldLayoutChg chg="del">
          <pc:chgData name="Marta" userId="eac6eb22-5f14-46b4-a4ea-a86e6e8c4acc" providerId="ADAL" clId="{661C6999-6DFA-41E1-9F2F-FC61AEB8EB9F}" dt="2022-02-14T14:05:59.388" v="166" actId="47"/>
          <pc:sldLayoutMkLst>
            <pc:docMk/>
            <pc:sldMasterMk cId="0" sldId="2147483659"/>
            <pc:sldLayoutMk cId="0" sldId="2147483656"/>
          </pc:sldLayoutMkLst>
        </pc:sldLayoutChg>
        <pc:sldLayoutChg chg="del">
          <pc:chgData name="Marta" userId="eac6eb22-5f14-46b4-a4ea-a86e6e8c4acc" providerId="ADAL" clId="{661C6999-6DFA-41E1-9F2F-FC61AEB8EB9F}" dt="2022-02-14T14:05:59.388" v="166" actId="47"/>
          <pc:sldLayoutMkLst>
            <pc:docMk/>
            <pc:sldMasterMk cId="0" sldId="2147483659"/>
            <pc:sldLayoutMk cId="0" sldId="2147483657"/>
          </pc:sldLayoutMkLst>
        </pc:sldLayoutChg>
        <pc:sldLayoutChg chg="del">
          <pc:chgData name="Marta" userId="eac6eb22-5f14-46b4-a4ea-a86e6e8c4acc" providerId="ADAL" clId="{661C6999-6DFA-41E1-9F2F-FC61AEB8EB9F}" dt="2022-02-14T14:05:59.388" v="166" actId="47"/>
          <pc:sldLayoutMkLst>
            <pc:docMk/>
            <pc:sldMasterMk cId="0" sldId="2147483659"/>
            <pc:sldLayoutMk cId="0" sldId="2147483658"/>
          </pc:sldLayoutMkLst>
        </pc:sldLayoutChg>
      </pc:sldMasterChg>
      <pc:sldMasterChg chg="modSp mod">
        <pc:chgData name="Marta" userId="eac6eb22-5f14-46b4-a4ea-a86e6e8c4acc" providerId="ADAL" clId="{661C6999-6DFA-41E1-9F2F-FC61AEB8EB9F}" dt="2022-02-14T15:34:08.809" v="335" actId="14100"/>
        <pc:sldMasterMkLst>
          <pc:docMk/>
          <pc:sldMasterMk cId="756595898" sldId="2147483890"/>
        </pc:sldMasterMkLst>
        <pc:spChg chg="mod">
          <ac:chgData name="Marta" userId="eac6eb22-5f14-46b4-a4ea-a86e6e8c4acc" providerId="ADAL" clId="{661C6999-6DFA-41E1-9F2F-FC61AEB8EB9F}" dt="2022-02-14T15:34:08.809" v="335" actId="14100"/>
          <ac:spMkLst>
            <pc:docMk/>
            <pc:sldMasterMk cId="756595898" sldId="2147483890"/>
            <ac:spMk id="14" creationId="{7A1A9E8F-E2E2-4CF0-B0F8-BD0F27917FF9}"/>
          </ac:spMkLst>
        </pc:spChg>
      </pc:sldMasterChg>
    </pc:docChg>
  </pc:docChgLst>
  <pc:docChgLst>
    <pc:chgData name="Marta" userId="eac6eb22-5f14-46b4-a4ea-a86e6e8c4acc" providerId="ADAL" clId="{421A0E67-5D36-4B97-98EC-B6B73232AE08}"/>
    <pc:docChg chg="undo custSel addSld delSld modSld sldOrd modSection">
      <pc:chgData name="Marta" userId="eac6eb22-5f14-46b4-a4ea-a86e6e8c4acc" providerId="ADAL" clId="{421A0E67-5D36-4B97-98EC-B6B73232AE08}" dt="2022-08-16T15:35:40.282" v="742" actId="20577"/>
      <pc:docMkLst>
        <pc:docMk/>
      </pc:docMkLst>
      <pc:sldChg chg="modSp mod">
        <pc:chgData name="Marta" userId="eac6eb22-5f14-46b4-a4ea-a86e6e8c4acc" providerId="ADAL" clId="{421A0E67-5D36-4B97-98EC-B6B73232AE08}" dt="2022-08-15T17:07:57.413" v="139" actId="1036"/>
        <pc:sldMkLst>
          <pc:docMk/>
          <pc:sldMk cId="573922979" sldId="256"/>
        </pc:sldMkLst>
        <pc:spChg chg="mod">
          <ac:chgData name="Marta" userId="eac6eb22-5f14-46b4-a4ea-a86e6e8c4acc" providerId="ADAL" clId="{421A0E67-5D36-4B97-98EC-B6B73232AE08}" dt="2022-08-15T17:07:57.413" v="139" actId="1036"/>
          <ac:spMkLst>
            <pc:docMk/>
            <pc:sldMk cId="573922979" sldId="256"/>
            <ac:spMk id="3" creationId="{00000000-0000-0000-0000-000000000000}"/>
          </ac:spMkLst>
        </pc:spChg>
        <pc:spChg chg="mod">
          <ac:chgData name="Marta" userId="eac6eb22-5f14-46b4-a4ea-a86e6e8c4acc" providerId="ADAL" clId="{421A0E67-5D36-4B97-98EC-B6B73232AE08}" dt="2022-08-15T17:07:13.534" v="112" actId="6549"/>
          <ac:spMkLst>
            <pc:docMk/>
            <pc:sldMk cId="573922979" sldId="256"/>
            <ac:spMk id="4" creationId="{00000000-0000-0000-0000-000000000000}"/>
          </ac:spMkLst>
        </pc:spChg>
      </pc:sldChg>
      <pc:sldChg chg="modSp mod">
        <pc:chgData name="Marta" userId="eac6eb22-5f14-46b4-a4ea-a86e6e8c4acc" providerId="ADAL" clId="{421A0E67-5D36-4B97-98EC-B6B73232AE08}" dt="2022-08-16T13:51:35.954" v="714" actId="20577"/>
        <pc:sldMkLst>
          <pc:docMk/>
          <pc:sldMk cId="2325718728" sldId="257"/>
        </pc:sldMkLst>
        <pc:spChg chg="mod">
          <ac:chgData name="Marta" userId="eac6eb22-5f14-46b4-a4ea-a86e6e8c4acc" providerId="ADAL" clId="{421A0E67-5D36-4B97-98EC-B6B73232AE08}" dt="2022-08-16T13:51:35.954" v="714" actId="20577"/>
          <ac:spMkLst>
            <pc:docMk/>
            <pc:sldMk cId="2325718728" sldId="257"/>
            <ac:spMk id="5" creationId="{00000000-0000-0000-0000-000000000000}"/>
          </ac:spMkLst>
        </pc:spChg>
      </pc:sldChg>
      <pc:sldChg chg="addSp delSp modSp mod">
        <pc:chgData name="Marta" userId="eac6eb22-5f14-46b4-a4ea-a86e6e8c4acc" providerId="ADAL" clId="{421A0E67-5D36-4B97-98EC-B6B73232AE08}" dt="2022-08-16T13:52:11.046" v="717" actId="14100"/>
        <pc:sldMkLst>
          <pc:docMk/>
          <pc:sldMk cId="3528939462" sldId="258"/>
        </pc:sldMkLst>
        <pc:spChg chg="mod">
          <ac:chgData name="Marta" userId="eac6eb22-5f14-46b4-a4ea-a86e6e8c4acc" providerId="ADAL" clId="{421A0E67-5D36-4B97-98EC-B6B73232AE08}" dt="2022-08-16T11:03:32.684" v="490" actId="113"/>
          <ac:spMkLst>
            <pc:docMk/>
            <pc:sldMk cId="3528939462" sldId="258"/>
            <ac:spMk id="4" creationId="{00000000-0000-0000-0000-000000000000}"/>
          </ac:spMkLst>
        </pc:spChg>
        <pc:spChg chg="mod">
          <ac:chgData name="Marta" userId="eac6eb22-5f14-46b4-a4ea-a86e6e8c4acc" providerId="ADAL" clId="{421A0E67-5D36-4B97-98EC-B6B73232AE08}" dt="2022-08-16T13:52:11.046" v="717" actId="14100"/>
          <ac:spMkLst>
            <pc:docMk/>
            <pc:sldMk cId="3528939462" sldId="258"/>
            <ac:spMk id="5" creationId="{00000000-0000-0000-0000-000000000000}"/>
          </ac:spMkLst>
        </pc:spChg>
        <pc:spChg chg="del">
          <ac:chgData name="Marta" userId="eac6eb22-5f14-46b4-a4ea-a86e6e8c4acc" providerId="ADAL" clId="{421A0E67-5D36-4B97-98EC-B6B73232AE08}" dt="2022-06-29T14:04:46.384" v="1" actId="478"/>
          <ac:spMkLst>
            <pc:docMk/>
            <pc:sldMk cId="3528939462" sldId="258"/>
            <ac:spMk id="6" creationId="{D21C2CC5-A009-4E29-B96B-9E272F027CB7}"/>
          </ac:spMkLst>
        </pc:spChg>
        <pc:spChg chg="del">
          <ac:chgData name="Marta" userId="eac6eb22-5f14-46b4-a4ea-a86e6e8c4acc" providerId="ADAL" clId="{421A0E67-5D36-4B97-98EC-B6B73232AE08}" dt="2022-06-29T14:04:56.082" v="2" actId="478"/>
          <ac:spMkLst>
            <pc:docMk/>
            <pc:sldMk cId="3528939462" sldId="258"/>
            <ac:spMk id="7" creationId="{A87F1D57-3657-433A-BB28-E6927B4FD7F3}"/>
          </ac:spMkLst>
        </pc:spChg>
        <pc:spChg chg="del mod">
          <ac:chgData name="Marta" userId="eac6eb22-5f14-46b4-a4ea-a86e6e8c4acc" providerId="ADAL" clId="{421A0E67-5D36-4B97-98EC-B6B73232AE08}" dt="2022-08-15T17:09:29.581" v="180" actId="478"/>
          <ac:spMkLst>
            <pc:docMk/>
            <pc:sldMk cId="3528939462" sldId="258"/>
            <ac:spMk id="11" creationId="{17E112E7-9901-4537-9827-6478B4C02EC2}"/>
          </ac:spMkLst>
        </pc:spChg>
        <pc:spChg chg="mod">
          <ac:chgData name="Marta" userId="eac6eb22-5f14-46b4-a4ea-a86e6e8c4acc" providerId="ADAL" clId="{421A0E67-5D36-4B97-98EC-B6B73232AE08}" dt="2022-08-15T17:10:13.034" v="190" actId="1076"/>
          <ac:spMkLst>
            <pc:docMk/>
            <pc:sldMk cId="3528939462" sldId="258"/>
            <ac:spMk id="19" creationId="{7A3DD77C-F4D1-4545-9802-4D2A6BDBF7AD}"/>
          </ac:spMkLst>
        </pc:spChg>
        <pc:grpChg chg="add mod">
          <ac:chgData name="Marta" userId="eac6eb22-5f14-46b4-a4ea-a86e6e8c4acc" providerId="ADAL" clId="{421A0E67-5D36-4B97-98EC-B6B73232AE08}" dt="2022-08-15T17:10:13.034" v="190" actId="1076"/>
          <ac:grpSpMkLst>
            <pc:docMk/>
            <pc:sldMk cId="3528939462" sldId="258"/>
            <ac:grpSpMk id="2" creationId="{15AD1636-3C84-4B7D-BAD1-04701E4888C3}"/>
          </ac:grpSpMkLst>
        </pc:grpChg>
        <pc:picChg chg="del">
          <ac:chgData name="Marta" userId="eac6eb22-5f14-46b4-a4ea-a86e6e8c4acc" providerId="ADAL" clId="{421A0E67-5D36-4B97-98EC-B6B73232AE08}" dt="2022-06-29T14:04:56.082" v="2" actId="478"/>
          <ac:picMkLst>
            <pc:docMk/>
            <pc:sldMk cId="3528939462" sldId="258"/>
            <ac:picMk id="15" creationId="{FDCC096D-8E97-44D4-BEA2-3628AFB419F4}"/>
          </ac:picMkLst>
        </pc:picChg>
        <pc:picChg chg="del">
          <ac:chgData name="Marta" userId="eac6eb22-5f14-46b4-a4ea-a86e6e8c4acc" providerId="ADAL" clId="{421A0E67-5D36-4B97-98EC-B6B73232AE08}" dt="2022-06-29T14:04:56.082" v="2" actId="478"/>
          <ac:picMkLst>
            <pc:docMk/>
            <pc:sldMk cId="3528939462" sldId="258"/>
            <ac:picMk id="17" creationId="{0FBA190B-C0D5-42E9-9B88-E5BA1B45870A}"/>
          </ac:picMkLst>
        </pc:picChg>
        <pc:picChg chg="del mod">
          <ac:chgData name="Marta" userId="eac6eb22-5f14-46b4-a4ea-a86e6e8c4acc" providerId="ADAL" clId="{421A0E67-5D36-4B97-98EC-B6B73232AE08}" dt="2022-08-15T17:09:27.394" v="179" actId="478"/>
          <ac:picMkLst>
            <pc:docMk/>
            <pc:sldMk cId="3528939462" sldId="258"/>
            <ac:picMk id="29" creationId="{8FB6A66A-70E5-47C5-B63C-A76B06DB8D84}"/>
          </ac:picMkLst>
        </pc:picChg>
        <pc:picChg chg="mod">
          <ac:chgData name="Marta" userId="eac6eb22-5f14-46b4-a4ea-a86e6e8c4acc" providerId="ADAL" clId="{421A0E67-5D36-4B97-98EC-B6B73232AE08}" dt="2022-08-15T17:10:13.034" v="190" actId="1076"/>
          <ac:picMkLst>
            <pc:docMk/>
            <pc:sldMk cId="3528939462" sldId="258"/>
            <ac:picMk id="31" creationId="{0594B47B-8C54-445C-9E42-7850FCDAF133}"/>
          </ac:picMkLst>
        </pc:picChg>
        <pc:picChg chg="del mod">
          <ac:chgData name="Marta" userId="eac6eb22-5f14-46b4-a4ea-a86e6e8c4acc" providerId="ADAL" clId="{421A0E67-5D36-4B97-98EC-B6B73232AE08}" dt="2022-08-15T17:09:30.432" v="181" actId="478"/>
          <ac:picMkLst>
            <pc:docMk/>
            <pc:sldMk cId="3528939462" sldId="258"/>
            <ac:picMk id="33" creationId="{19BBACD6-5753-42DE-BEAE-69BDAF503898}"/>
          </ac:picMkLst>
        </pc:picChg>
        <pc:picChg chg="mod">
          <ac:chgData name="Marta" userId="eac6eb22-5f14-46b4-a4ea-a86e6e8c4acc" providerId="ADAL" clId="{421A0E67-5D36-4B97-98EC-B6B73232AE08}" dt="2022-08-15T17:10:13.034" v="190" actId="1076"/>
          <ac:picMkLst>
            <pc:docMk/>
            <pc:sldMk cId="3528939462" sldId="258"/>
            <ac:picMk id="35" creationId="{81F8D405-DC8B-4918-95E3-7B172FAD1A3C}"/>
          </ac:picMkLst>
        </pc:picChg>
        <pc:picChg chg="del">
          <ac:chgData name="Marta" userId="eac6eb22-5f14-46b4-a4ea-a86e6e8c4acc" providerId="ADAL" clId="{421A0E67-5D36-4B97-98EC-B6B73232AE08}" dt="2022-06-29T14:04:43.256" v="0" actId="478"/>
          <ac:picMkLst>
            <pc:docMk/>
            <pc:sldMk cId="3528939462" sldId="258"/>
            <ac:picMk id="1026" creationId="{08527F38-23DD-483E-AD36-E521B1BF4043}"/>
          </ac:picMkLst>
        </pc:picChg>
        <pc:picChg chg="del">
          <ac:chgData name="Marta" userId="eac6eb22-5f14-46b4-a4ea-a86e6e8c4acc" providerId="ADAL" clId="{421A0E67-5D36-4B97-98EC-B6B73232AE08}" dt="2022-06-29T14:04:43.256" v="0" actId="478"/>
          <ac:picMkLst>
            <pc:docMk/>
            <pc:sldMk cId="3528939462" sldId="258"/>
            <ac:picMk id="1028" creationId="{7530C6F2-1178-4FCB-B31C-C79B83CE003E}"/>
          </ac:picMkLst>
        </pc:picChg>
      </pc:sldChg>
      <pc:sldChg chg="add del">
        <pc:chgData name="Marta" userId="eac6eb22-5f14-46b4-a4ea-a86e6e8c4acc" providerId="ADAL" clId="{421A0E67-5D36-4B97-98EC-B6B73232AE08}" dt="2022-08-16T14:54:50.698" v="735"/>
        <pc:sldMkLst>
          <pc:docMk/>
          <pc:sldMk cId="3740286033" sldId="277"/>
        </pc:sldMkLst>
      </pc:sldChg>
      <pc:sldChg chg="addSp delSp modSp add del mod setBg delDesignElem">
        <pc:chgData name="Marta" userId="eac6eb22-5f14-46b4-a4ea-a86e6e8c4acc" providerId="ADAL" clId="{421A0E67-5D36-4B97-98EC-B6B73232AE08}" dt="2022-08-16T14:54:56.621" v="736" actId="27636"/>
        <pc:sldMkLst>
          <pc:docMk/>
          <pc:sldMk cId="560021826" sldId="317"/>
        </pc:sldMkLst>
        <pc:spChg chg="mod">
          <ac:chgData name="Marta" userId="eac6eb22-5f14-46b4-a4ea-a86e6e8c4acc" providerId="ADAL" clId="{421A0E67-5D36-4B97-98EC-B6B73232AE08}" dt="2022-08-16T14:54:56.621" v="736" actId="27636"/>
          <ac:spMkLst>
            <pc:docMk/>
            <pc:sldMk cId="560021826" sldId="317"/>
            <ac:spMk id="15" creationId="{40F1DF5B-353A-4270-8C10-6A1509441174}"/>
          </ac:spMkLst>
        </pc:spChg>
        <pc:spChg chg="add del">
          <ac:chgData name="Marta" userId="eac6eb22-5f14-46b4-a4ea-a86e6e8c4acc" providerId="ADAL" clId="{421A0E67-5D36-4B97-98EC-B6B73232AE08}" dt="2022-08-16T14:54:50.698" v="735"/>
          <ac:spMkLst>
            <pc:docMk/>
            <pc:sldMk cId="560021826" sldId="317"/>
            <ac:spMk id="34" creationId="{82184FF4-7029-4ED7-813A-192E60608764}"/>
          </ac:spMkLst>
        </pc:spChg>
        <pc:spChg chg="add del">
          <ac:chgData name="Marta" userId="eac6eb22-5f14-46b4-a4ea-a86e6e8c4acc" providerId="ADAL" clId="{421A0E67-5D36-4B97-98EC-B6B73232AE08}" dt="2022-08-16T14:54:50.698" v="735"/>
          <ac:spMkLst>
            <pc:docMk/>
            <pc:sldMk cId="560021826" sldId="317"/>
            <ac:spMk id="36" creationId="{AAA7AB09-557C-41AD-9113-FF9F68FA1035}"/>
          </ac:spMkLst>
        </pc:spChg>
        <pc:spChg chg="add del">
          <ac:chgData name="Marta" userId="eac6eb22-5f14-46b4-a4ea-a86e6e8c4acc" providerId="ADAL" clId="{421A0E67-5D36-4B97-98EC-B6B73232AE08}" dt="2022-08-16T14:54:50.698" v="735"/>
          <ac:spMkLst>
            <pc:docMk/>
            <pc:sldMk cId="560021826" sldId="317"/>
            <ac:spMk id="38" creationId="{EF99ECAA-1F11-4937-BBA6-51935AB44C9D}"/>
          </ac:spMkLst>
        </pc:spChg>
        <pc:spChg chg="add del">
          <ac:chgData name="Marta" userId="eac6eb22-5f14-46b4-a4ea-a86e6e8c4acc" providerId="ADAL" clId="{421A0E67-5D36-4B97-98EC-B6B73232AE08}" dt="2022-08-16T14:54:50.698" v="735"/>
          <ac:spMkLst>
            <pc:docMk/>
            <pc:sldMk cId="560021826" sldId="317"/>
            <ac:spMk id="46" creationId="{1DB043B4-68C6-45B9-82AC-A5800EADB8DB}"/>
          </ac:spMkLst>
        </pc:spChg>
        <pc:spChg chg="add del">
          <ac:chgData name="Marta" userId="eac6eb22-5f14-46b4-a4ea-a86e6e8c4acc" providerId="ADAL" clId="{421A0E67-5D36-4B97-98EC-B6B73232AE08}" dt="2022-08-16T14:54:50.698" v="735"/>
          <ac:spMkLst>
            <pc:docMk/>
            <pc:sldMk cId="560021826" sldId="317"/>
            <ac:spMk id="48" creationId="{3C64A91D-E535-4C24-A0E3-96A3810E3FDC}"/>
          </ac:spMkLst>
        </pc:spChg>
        <pc:spChg chg="add del">
          <ac:chgData name="Marta" userId="eac6eb22-5f14-46b4-a4ea-a86e6e8c4acc" providerId="ADAL" clId="{421A0E67-5D36-4B97-98EC-B6B73232AE08}" dt="2022-08-16T14:54:50.698" v="735"/>
          <ac:spMkLst>
            <pc:docMk/>
            <pc:sldMk cId="560021826" sldId="317"/>
            <ac:spMk id="50" creationId="{26FC4867-BA3E-4F8E-AB23-684F34DF3D31}"/>
          </ac:spMkLst>
        </pc:spChg>
        <pc:grpChg chg="add del">
          <ac:chgData name="Marta" userId="eac6eb22-5f14-46b4-a4ea-a86e6e8c4acc" providerId="ADAL" clId="{421A0E67-5D36-4B97-98EC-B6B73232AE08}" dt="2022-08-16T14:54:50.698" v="735"/>
          <ac:grpSpMkLst>
            <pc:docMk/>
            <pc:sldMk cId="560021826" sldId="317"/>
            <ac:grpSpMk id="40" creationId="{79DE9FAB-6BBA-4CFE-B67D-77B47F01ECA4}"/>
          </ac:grpSpMkLst>
        </pc:grpChg>
      </pc:sldChg>
      <pc:sldChg chg="add del">
        <pc:chgData name="Marta" userId="eac6eb22-5f14-46b4-a4ea-a86e6e8c4acc" providerId="ADAL" clId="{421A0E67-5D36-4B97-98EC-B6B73232AE08}" dt="2022-08-16T14:54:50.698" v="735"/>
        <pc:sldMkLst>
          <pc:docMk/>
          <pc:sldMk cId="2158886557" sldId="384"/>
        </pc:sldMkLst>
      </pc:sldChg>
      <pc:sldChg chg="add del">
        <pc:chgData name="Marta" userId="eac6eb22-5f14-46b4-a4ea-a86e6e8c4acc" providerId="ADAL" clId="{421A0E67-5D36-4B97-98EC-B6B73232AE08}" dt="2022-08-16T14:54:50.698" v="735"/>
        <pc:sldMkLst>
          <pc:docMk/>
          <pc:sldMk cId="3247798845" sldId="391"/>
        </pc:sldMkLst>
      </pc:sldChg>
      <pc:sldChg chg="add del">
        <pc:chgData name="Marta" userId="eac6eb22-5f14-46b4-a4ea-a86e6e8c4acc" providerId="ADAL" clId="{421A0E67-5D36-4B97-98EC-B6B73232AE08}" dt="2022-08-16T14:54:50.698" v="735"/>
        <pc:sldMkLst>
          <pc:docMk/>
          <pc:sldMk cId="90443993" sldId="392"/>
        </pc:sldMkLst>
      </pc:sldChg>
      <pc:sldChg chg="add del">
        <pc:chgData name="Marta" userId="eac6eb22-5f14-46b4-a4ea-a86e6e8c4acc" providerId="ADAL" clId="{421A0E67-5D36-4B97-98EC-B6B73232AE08}" dt="2022-08-16T14:54:50.698" v="735"/>
        <pc:sldMkLst>
          <pc:docMk/>
          <pc:sldMk cId="4181620258" sldId="393"/>
        </pc:sldMkLst>
      </pc:sldChg>
      <pc:sldChg chg="addSp delSp modSp add del mod setBg delDesignElem">
        <pc:chgData name="Marta" userId="eac6eb22-5f14-46b4-a4ea-a86e6e8c4acc" providerId="ADAL" clId="{421A0E67-5D36-4B97-98EC-B6B73232AE08}" dt="2022-08-16T14:54:50.698" v="735"/>
        <pc:sldMkLst>
          <pc:docMk/>
          <pc:sldMk cId="4262670783" sldId="394"/>
        </pc:sldMkLst>
        <pc:spChg chg="mod">
          <ac:chgData name="Marta" userId="eac6eb22-5f14-46b4-a4ea-a86e6e8c4acc" providerId="ADAL" clId="{421A0E67-5D36-4B97-98EC-B6B73232AE08}" dt="2022-08-16T14:54:50.698" v="735"/>
          <ac:spMkLst>
            <pc:docMk/>
            <pc:sldMk cId="4262670783" sldId="394"/>
            <ac:spMk id="7" creationId="{46FC8EF3-964B-4138-8EE0-C401ED87FAA6}"/>
          </ac:spMkLst>
        </pc:spChg>
        <pc:spChg chg="add del">
          <ac:chgData name="Marta" userId="eac6eb22-5f14-46b4-a4ea-a86e6e8c4acc" providerId="ADAL" clId="{421A0E67-5D36-4B97-98EC-B6B73232AE08}" dt="2022-08-16T14:54:50.698" v="735"/>
          <ac:spMkLst>
            <pc:docMk/>
            <pc:sldMk cId="4262670783" sldId="394"/>
            <ac:spMk id="27" creationId="{A5931BE0-4B93-4D6C-878E-ACC59D6B4587}"/>
          </ac:spMkLst>
        </pc:spChg>
        <pc:spChg chg="add del">
          <ac:chgData name="Marta" userId="eac6eb22-5f14-46b4-a4ea-a86e6e8c4acc" providerId="ADAL" clId="{421A0E67-5D36-4B97-98EC-B6B73232AE08}" dt="2022-08-16T14:54:50.698" v="735"/>
          <ac:spMkLst>
            <pc:docMk/>
            <pc:sldMk cId="4262670783" sldId="394"/>
            <ac:spMk id="41" creationId="{532F34B7-0082-4316-8755-A000C50D36FB}"/>
          </ac:spMkLst>
        </pc:spChg>
        <pc:spChg chg="add del">
          <ac:chgData name="Marta" userId="eac6eb22-5f14-46b4-a4ea-a86e6e8c4acc" providerId="ADAL" clId="{421A0E67-5D36-4B97-98EC-B6B73232AE08}" dt="2022-08-16T14:54:50.698" v="735"/>
          <ac:spMkLst>
            <pc:docMk/>
            <pc:sldMk cId="4262670783" sldId="394"/>
            <ac:spMk id="44" creationId="{A16EB032-3F37-4641-A90D-DC9B574EBCB1}"/>
          </ac:spMkLst>
        </pc:spChg>
        <pc:grpChg chg="add del">
          <ac:chgData name="Marta" userId="eac6eb22-5f14-46b4-a4ea-a86e6e8c4acc" providerId="ADAL" clId="{421A0E67-5D36-4B97-98EC-B6B73232AE08}" dt="2022-08-16T14:54:50.698" v="735"/>
          <ac:grpSpMkLst>
            <pc:docMk/>
            <pc:sldMk cId="4262670783" sldId="394"/>
            <ac:grpSpMk id="20" creationId="{3BDBC526-6DCD-4FF6-8395-D8C22E46E527}"/>
          </ac:grpSpMkLst>
        </pc:grpChg>
        <pc:grpChg chg="add del">
          <ac:chgData name="Marta" userId="eac6eb22-5f14-46b4-a4ea-a86e6e8c4acc" providerId="ADAL" clId="{421A0E67-5D36-4B97-98EC-B6B73232AE08}" dt="2022-08-16T14:54:50.698" v="735"/>
          <ac:grpSpMkLst>
            <pc:docMk/>
            <pc:sldMk cId="4262670783" sldId="394"/>
            <ac:grpSpMk id="33" creationId="{D2CDAFB7-03B3-4206-BD0F-04EB362A2338}"/>
          </ac:grpSpMkLst>
        </pc:grpChg>
      </pc:sldChg>
      <pc:sldChg chg="add del">
        <pc:chgData name="Marta" userId="eac6eb22-5f14-46b4-a4ea-a86e6e8c4acc" providerId="ADAL" clId="{421A0E67-5D36-4B97-98EC-B6B73232AE08}" dt="2022-08-16T14:54:50.698" v="735"/>
        <pc:sldMkLst>
          <pc:docMk/>
          <pc:sldMk cId="2023272645" sldId="395"/>
        </pc:sldMkLst>
      </pc:sldChg>
      <pc:sldChg chg="add del">
        <pc:chgData name="Marta" userId="eac6eb22-5f14-46b4-a4ea-a86e6e8c4acc" providerId="ADAL" clId="{421A0E67-5D36-4B97-98EC-B6B73232AE08}" dt="2022-08-16T14:54:50.698" v="735"/>
        <pc:sldMkLst>
          <pc:docMk/>
          <pc:sldMk cId="1939490113" sldId="396"/>
        </pc:sldMkLst>
      </pc:sldChg>
      <pc:sldChg chg="addSp delSp add del setBg delDesignElem">
        <pc:chgData name="Marta" userId="eac6eb22-5f14-46b4-a4ea-a86e6e8c4acc" providerId="ADAL" clId="{421A0E67-5D36-4B97-98EC-B6B73232AE08}" dt="2022-08-16T14:54:50.698" v="735"/>
        <pc:sldMkLst>
          <pc:docMk/>
          <pc:sldMk cId="1098649409" sldId="397"/>
        </pc:sldMkLst>
        <pc:spChg chg="add del">
          <ac:chgData name="Marta" userId="eac6eb22-5f14-46b4-a4ea-a86e6e8c4acc" providerId="ADAL" clId="{421A0E67-5D36-4B97-98EC-B6B73232AE08}" dt="2022-08-16T14:54:50.698" v="735"/>
          <ac:spMkLst>
            <pc:docMk/>
            <pc:sldMk cId="1098649409" sldId="397"/>
            <ac:spMk id="12" creationId="{82184FF4-7029-4ED7-813A-192E60608764}"/>
          </ac:spMkLst>
        </pc:spChg>
        <pc:spChg chg="add del">
          <ac:chgData name="Marta" userId="eac6eb22-5f14-46b4-a4ea-a86e6e8c4acc" providerId="ADAL" clId="{421A0E67-5D36-4B97-98EC-B6B73232AE08}" dt="2022-08-16T14:54:50.698" v="735"/>
          <ac:spMkLst>
            <pc:docMk/>
            <pc:sldMk cId="1098649409" sldId="397"/>
            <ac:spMk id="14" creationId="{AAA7AB09-557C-41AD-9113-FF9F68FA1035}"/>
          </ac:spMkLst>
        </pc:spChg>
        <pc:spChg chg="add del">
          <ac:chgData name="Marta" userId="eac6eb22-5f14-46b4-a4ea-a86e6e8c4acc" providerId="ADAL" clId="{421A0E67-5D36-4B97-98EC-B6B73232AE08}" dt="2022-08-16T14:54:50.698" v="735"/>
          <ac:spMkLst>
            <pc:docMk/>
            <pc:sldMk cId="1098649409" sldId="397"/>
            <ac:spMk id="16" creationId="{EF99ECAA-1F11-4937-BBA6-51935AB44C9D}"/>
          </ac:spMkLst>
        </pc:spChg>
        <pc:spChg chg="add del">
          <ac:chgData name="Marta" userId="eac6eb22-5f14-46b4-a4ea-a86e6e8c4acc" providerId="ADAL" clId="{421A0E67-5D36-4B97-98EC-B6B73232AE08}" dt="2022-08-16T14:54:50.698" v="735"/>
          <ac:spMkLst>
            <pc:docMk/>
            <pc:sldMk cId="1098649409" sldId="397"/>
            <ac:spMk id="24" creationId="{1DB043B4-68C6-45B9-82AC-A5800EADB8DB}"/>
          </ac:spMkLst>
        </pc:spChg>
        <pc:spChg chg="add del">
          <ac:chgData name="Marta" userId="eac6eb22-5f14-46b4-a4ea-a86e6e8c4acc" providerId="ADAL" clId="{421A0E67-5D36-4B97-98EC-B6B73232AE08}" dt="2022-08-16T14:54:50.698" v="735"/>
          <ac:spMkLst>
            <pc:docMk/>
            <pc:sldMk cId="1098649409" sldId="397"/>
            <ac:spMk id="26" creationId="{61B0F92C-925A-4D2E-839E-EB381378C315}"/>
          </ac:spMkLst>
        </pc:spChg>
        <pc:grpChg chg="add del">
          <ac:chgData name="Marta" userId="eac6eb22-5f14-46b4-a4ea-a86e6e8c4acc" providerId="ADAL" clId="{421A0E67-5D36-4B97-98EC-B6B73232AE08}" dt="2022-08-16T14:54:50.698" v="735"/>
          <ac:grpSpMkLst>
            <pc:docMk/>
            <pc:sldMk cId="1098649409" sldId="397"/>
            <ac:grpSpMk id="18" creationId="{79DE9FAB-6BBA-4CFE-B67D-77B47F01ECA4}"/>
          </ac:grpSpMkLst>
        </pc:grpChg>
      </pc:sldChg>
      <pc:sldChg chg="add del">
        <pc:chgData name="Marta" userId="eac6eb22-5f14-46b4-a4ea-a86e6e8c4acc" providerId="ADAL" clId="{421A0E67-5D36-4B97-98EC-B6B73232AE08}" dt="2022-08-16T14:54:50.698" v="735"/>
        <pc:sldMkLst>
          <pc:docMk/>
          <pc:sldMk cId="2038971844" sldId="399"/>
        </pc:sldMkLst>
      </pc:sldChg>
      <pc:sldChg chg="add del">
        <pc:chgData name="Marta" userId="eac6eb22-5f14-46b4-a4ea-a86e6e8c4acc" providerId="ADAL" clId="{421A0E67-5D36-4B97-98EC-B6B73232AE08}" dt="2022-08-16T14:54:50.698" v="735"/>
        <pc:sldMkLst>
          <pc:docMk/>
          <pc:sldMk cId="3849338369" sldId="400"/>
        </pc:sldMkLst>
      </pc:sldChg>
      <pc:sldChg chg="addSp delSp modSp add del mod setBg delDesignElem">
        <pc:chgData name="Marta" userId="eac6eb22-5f14-46b4-a4ea-a86e6e8c4acc" providerId="ADAL" clId="{421A0E67-5D36-4B97-98EC-B6B73232AE08}" dt="2022-08-16T14:54:56.645" v="737" actId="27636"/>
        <pc:sldMkLst>
          <pc:docMk/>
          <pc:sldMk cId="695162734" sldId="402"/>
        </pc:sldMkLst>
        <pc:spChg chg="mod">
          <ac:chgData name="Marta" userId="eac6eb22-5f14-46b4-a4ea-a86e6e8c4acc" providerId="ADAL" clId="{421A0E67-5D36-4B97-98EC-B6B73232AE08}" dt="2022-08-16T14:54:50.698" v="735"/>
          <ac:spMkLst>
            <pc:docMk/>
            <pc:sldMk cId="695162734" sldId="402"/>
            <ac:spMk id="5" creationId="{051D17DF-4231-1A6C-1C67-0D7E1B0189E9}"/>
          </ac:spMkLst>
        </pc:spChg>
        <pc:spChg chg="mod">
          <ac:chgData name="Marta" userId="eac6eb22-5f14-46b4-a4ea-a86e6e8c4acc" providerId="ADAL" clId="{421A0E67-5D36-4B97-98EC-B6B73232AE08}" dt="2022-08-16T14:54:56.645" v="737" actId="27636"/>
          <ac:spMkLst>
            <pc:docMk/>
            <pc:sldMk cId="695162734" sldId="402"/>
            <ac:spMk id="8" creationId="{C67B1CCC-C9B9-36FD-DEF2-BB143B3F0982}"/>
          </ac:spMkLst>
        </pc:spChg>
        <pc:spChg chg="add del">
          <ac:chgData name="Marta" userId="eac6eb22-5f14-46b4-a4ea-a86e6e8c4acc" providerId="ADAL" clId="{421A0E67-5D36-4B97-98EC-B6B73232AE08}" dt="2022-08-16T14:54:50.698" v="735"/>
          <ac:spMkLst>
            <pc:docMk/>
            <pc:sldMk cId="695162734" sldId="402"/>
            <ac:spMk id="15" creationId="{60B7752B-728D-4CA3-8923-C4F7F77029E3}"/>
          </ac:spMkLst>
        </pc:spChg>
        <pc:spChg chg="add del">
          <ac:chgData name="Marta" userId="eac6eb22-5f14-46b4-a4ea-a86e6e8c4acc" providerId="ADAL" clId="{421A0E67-5D36-4B97-98EC-B6B73232AE08}" dt="2022-08-16T14:54:50.698" v="735"/>
          <ac:spMkLst>
            <pc:docMk/>
            <pc:sldMk cId="695162734" sldId="402"/>
            <ac:spMk id="17" creationId="{AFF323B2-FCDB-4497-8AF0-2F7A3C881B85}"/>
          </ac:spMkLst>
        </pc:spChg>
        <pc:grpChg chg="add del">
          <ac:chgData name="Marta" userId="eac6eb22-5f14-46b4-a4ea-a86e6e8c4acc" providerId="ADAL" clId="{421A0E67-5D36-4B97-98EC-B6B73232AE08}" dt="2022-08-16T14:54:50.698" v="735"/>
          <ac:grpSpMkLst>
            <pc:docMk/>
            <pc:sldMk cId="695162734" sldId="402"/>
            <ac:grpSpMk id="19" creationId="{7B7CADF7-83F2-4D18-8E02-975078DBAAB2}"/>
          </ac:grpSpMkLst>
        </pc:grpChg>
        <pc:grpChg chg="add del">
          <ac:chgData name="Marta" userId="eac6eb22-5f14-46b4-a4ea-a86e6e8c4acc" providerId="ADAL" clId="{421A0E67-5D36-4B97-98EC-B6B73232AE08}" dt="2022-08-16T14:54:50.698" v="735"/>
          <ac:grpSpMkLst>
            <pc:docMk/>
            <pc:sldMk cId="695162734" sldId="402"/>
            <ac:grpSpMk id="24" creationId="{F76A531C-147A-4C94-B721-EA95D8E88BB2}"/>
          </ac:grpSpMkLst>
        </pc:grpChg>
      </pc:sldChg>
      <pc:sldChg chg="addSp delSp add del setBg delDesignElem">
        <pc:chgData name="Marta" userId="eac6eb22-5f14-46b4-a4ea-a86e6e8c4acc" providerId="ADAL" clId="{421A0E67-5D36-4B97-98EC-B6B73232AE08}" dt="2022-08-16T14:54:50.698" v="735"/>
        <pc:sldMkLst>
          <pc:docMk/>
          <pc:sldMk cId="1855386000" sldId="403"/>
        </pc:sldMkLst>
        <pc:spChg chg="add del">
          <ac:chgData name="Marta" userId="eac6eb22-5f14-46b4-a4ea-a86e6e8c4acc" providerId="ADAL" clId="{421A0E67-5D36-4B97-98EC-B6B73232AE08}" dt="2022-08-16T14:54:50.698" v="735"/>
          <ac:spMkLst>
            <pc:docMk/>
            <pc:sldMk cId="1855386000" sldId="403"/>
            <ac:spMk id="22" creationId="{60B7752B-728D-4CA3-8923-C4F7F77029E3}"/>
          </ac:spMkLst>
        </pc:spChg>
        <pc:spChg chg="add del">
          <ac:chgData name="Marta" userId="eac6eb22-5f14-46b4-a4ea-a86e6e8c4acc" providerId="ADAL" clId="{421A0E67-5D36-4B97-98EC-B6B73232AE08}" dt="2022-08-16T14:54:50.698" v="735"/>
          <ac:spMkLst>
            <pc:docMk/>
            <pc:sldMk cId="1855386000" sldId="403"/>
            <ac:spMk id="23" creationId="{429899A3-416E-4DB5-846D-023526052013}"/>
          </ac:spMkLst>
        </pc:spChg>
      </pc:sldChg>
      <pc:sldChg chg="addSp delSp add del setBg delDesignElem">
        <pc:chgData name="Marta" userId="eac6eb22-5f14-46b4-a4ea-a86e6e8c4acc" providerId="ADAL" clId="{421A0E67-5D36-4B97-98EC-B6B73232AE08}" dt="2022-08-16T14:54:50.698" v="735"/>
        <pc:sldMkLst>
          <pc:docMk/>
          <pc:sldMk cId="3760891298" sldId="404"/>
        </pc:sldMkLst>
        <pc:spChg chg="add del">
          <ac:chgData name="Marta" userId="eac6eb22-5f14-46b4-a4ea-a86e6e8c4acc" providerId="ADAL" clId="{421A0E67-5D36-4B97-98EC-B6B73232AE08}" dt="2022-08-16T14:54:50.698" v="735"/>
          <ac:spMkLst>
            <pc:docMk/>
            <pc:sldMk cId="3760891298" sldId="404"/>
            <ac:spMk id="9" creationId="{60B7752B-728D-4CA3-8923-C4F7F77029E3}"/>
          </ac:spMkLst>
        </pc:spChg>
        <pc:spChg chg="add del">
          <ac:chgData name="Marta" userId="eac6eb22-5f14-46b4-a4ea-a86e6e8c4acc" providerId="ADAL" clId="{421A0E67-5D36-4B97-98EC-B6B73232AE08}" dt="2022-08-16T14:54:50.698" v="735"/>
          <ac:spMkLst>
            <pc:docMk/>
            <pc:sldMk cId="3760891298" sldId="404"/>
            <ac:spMk id="11" creationId="{429899A3-416E-4DB5-846D-023526052013}"/>
          </ac:spMkLst>
        </pc:spChg>
      </pc:sldChg>
      <pc:sldChg chg="add del">
        <pc:chgData name="Marta" userId="eac6eb22-5f14-46b4-a4ea-a86e6e8c4acc" providerId="ADAL" clId="{421A0E67-5D36-4B97-98EC-B6B73232AE08}" dt="2022-08-16T14:54:50.698" v="735"/>
        <pc:sldMkLst>
          <pc:docMk/>
          <pc:sldMk cId="1187584759" sldId="407"/>
        </pc:sldMkLst>
      </pc:sldChg>
      <pc:sldChg chg="add del">
        <pc:chgData name="Marta" userId="eac6eb22-5f14-46b4-a4ea-a86e6e8c4acc" providerId="ADAL" clId="{421A0E67-5D36-4B97-98EC-B6B73232AE08}" dt="2022-08-16T14:54:50.698" v="735"/>
        <pc:sldMkLst>
          <pc:docMk/>
          <pc:sldMk cId="3782587774" sldId="408"/>
        </pc:sldMkLst>
      </pc:sldChg>
      <pc:sldChg chg="add del">
        <pc:chgData name="Marta" userId="eac6eb22-5f14-46b4-a4ea-a86e6e8c4acc" providerId="ADAL" clId="{421A0E67-5D36-4B97-98EC-B6B73232AE08}" dt="2022-08-16T14:54:50.698" v="735"/>
        <pc:sldMkLst>
          <pc:docMk/>
          <pc:sldMk cId="845024425" sldId="409"/>
        </pc:sldMkLst>
      </pc:sldChg>
      <pc:sldChg chg="add del">
        <pc:chgData name="Marta" userId="eac6eb22-5f14-46b4-a4ea-a86e6e8c4acc" providerId="ADAL" clId="{421A0E67-5D36-4B97-98EC-B6B73232AE08}" dt="2022-08-16T14:54:50.698" v="735"/>
        <pc:sldMkLst>
          <pc:docMk/>
          <pc:sldMk cId="1782779914" sldId="410"/>
        </pc:sldMkLst>
      </pc:sldChg>
      <pc:sldChg chg="add del">
        <pc:chgData name="Marta" userId="eac6eb22-5f14-46b4-a4ea-a86e6e8c4acc" providerId="ADAL" clId="{421A0E67-5D36-4B97-98EC-B6B73232AE08}" dt="2022-08-16T14:54:50.698" v="735"/>
        <pc:sldMkLst>
          <pc:docMk/>
          <pc:sldMk cId="3378755196" sldId="411"/>
        </pc:sldMkLst>
      </pc:sldChg>
      <pc:sldChg chg="add del">
        <pc:chgData name="Marta" userId="eac6eb22-5f14-46b4-a4ea-a86e6e8c4acc" providerId="ADAL" clId="{421A0E67-5D36-4B97-98EC-B6B73232AE08}" dt="2022-08-16T14:54:50.698" v="735"/>
        <pc:sldMkLst>
          <pc:docMk/>
          <pc:sldMk cId="2282196625" sldId="412"/>
        </pc:sldMkLst>
      </pc:sldChg>
      <pc:sldChg chg="addSp delSp add del setBg delDesignElem">
        <pc:chgData name="Marta" userId="eac6eb22-5f14-46b4-a4ea-a86e6e8c4acc" providerId="ADAL" clId="{421A0E67-5D36-4B97-98EC-B6B73232AE08}" dt="2022-08-16T14:54:50.698" v="735"/>
        <pc:sldMkLst>
          <pc:docMk/>
          <pc:sldMk cId="2368872694" sldId="414"/>
        </pc:sldMkLst>
        <pc:spChg chg="add del">
          <ac:chgData name="Marta" userId="eac6eb22-5f14-46b4-a4ea-a86e6e8c4acc" providerId="ADAL" clId="{421A0E67-5D36-4B97-98EC-B6B73232AE08}" dt="2022-08-16T14:54:50.698" v="735"/>
          <ac:spMkLst>
            <pc:docMk/>
            <pc:sldMk cId="2368872694" sldId="414"/>
            <ac:spMk id="12" creationId="{60B7752B-728D-4CA3-8923-C4F7F77029E3}"/>
          </ac:spMkLst>
        </pc:spChg>
        <pc:spChg chg="add del">
          <ac:chgData name="Marta" userId="eac6eb22-5f14-46b4-a4ea-a86e6e8c4acc" providerId="ADAL" clId="{421A0E67-5D36-4B97-98EC-B6B73232AE08}" dt="2022-08-16T14:54:50.698" v="735"/>
          <ac:spMkLst>
            <pc:docMk/>
            <pc:sldMk cId="2368872694" sldId="414"/>
            <ac:spMk id="14" creationId="{88392DC7-0988-443B-A0D0-E726C7DB622B}"/>
          </ac:spMkLst>
        </pc:spChg>
      </pc:sldChg>
      <pc:sldChg chg="add del">
        <pc:chgData name="Marta" userId="eac6eb22-5f14-46b4-a4ea-a86e6e8c4acc" providerId="ADAL" clId="{421A0E67-5D36-4B97-98EC-B6B73232AE08}" dt="2022-08-16T14:54:50.698" v="735"/>
        <pc:sldMkLst>
          <pc:docMk/>
          <pc:sldMk cId="2429259181" sldId="415"/>
        </pc:sldMkLst>
      </pc:sldChg>
      <pc:sldChg chg="add del">
        <pc:chgData name="Marta" userId="eac6eb22-5f14-46b4-a4ea-a86e6e8c4acc" providerId="ADAL" clId="{421A0E67-5D36-4B97-98EC-B6B73232AE08}" dt="2022-08-16T14:54:50.698" v="735"/>
        <pc:sldMkLst>
          <pc:docMk/>
          <pc:sldMk cId="2970141981" sldId="416"/>
        </pc:sldMkLst>
      </pc:sldChg>
      <pc:sldChg chg="add del">
        <pc:chgData name="Marta" userId="eac6eb22-5f14-46b4-a4ea-a86e6e8c4acc" providerId="ADAL" clId="{421A0E67-5D36-4B97-98EC-B6B73232AE08}" dt="2022-08-16T14:54:50.698" v="735"/>
        <pc:sldMkLst>
          <pc:docMk/>
          <pc:sldMk cId="2236300998" sldId="417"/>
        </pc:sldMkLst>
      </pc:sldChg>
      <pc:sldChg chg="add del">
        <pc:chgData name="Marta" userId="eac6eb22-5f14-46b4-a4ea-a86e6e8c4acc" providerId="ADAL" clId="{421A0E67-5D36-4B97-98EC-B6B73232AE08}" dt="2022-08-16T14:54:50.698" v="735"/>
        <pc:sldMkLst>
          <pc:docMk/>
          <pc:sldMk cId="1178241170" sldId="418"/>
        </pc:sldMkLst>
      </pc:sldChg>
      <pc:sldChg chg="add del">
        <pc:chgData name="Marta" userId="eac6eb22-5f14-46b4-a4ea-a86e6e8c4acc" providerId="ADAL" clId="{421A0E67-5D36-4B97-98EC-B6B73232AE08}" dt="2022-08-16T14:54:50.698" v="735"/>
        <pc:sldMkLst>
          <pc:docMk/>
          <pc:sldMk cId="2971210888" sldId="420"/>
        </pc:sldMkLst>
      </pc:sldChg>
      <pc:sldChg chg="modSp mod ord">
        <pc:chgData name="Marta" userId="eac6eb22-5f14-46b4-a4ea-a86e6e8c4acc" providerId="ADAL" clId="{421A0E67-5D36-4B97-98EC-B6B73232AE08}" dt="2022-08-16T13:18:22.954" v="499" actId="20577"/>
        <pc:sldMkLst>
          <pc:docMk/>
          <pc:sldMk cId="3828261807" sldId="443"/>
        </pc:sldMkLst>
        <pc:spChg chg="mod">
          <ac:chgData name="Marta" userId="eac6eb22-5f14-46b4-a4ea-a86e6e8c4acc" providerId="ADAL" clId="{421A0E67-5D36-4B97-98EC-B6B73232AE08}" dt="2022-08-16T13:18:22.954" v="499" actId="20577"/>
          <ac:spMkLst>
            <pc:docMk/>
            <pc:sldMk cId="3828261807" sldId="443"/>
            <ac:spMk id="6" creationId="{00000000-0000-0000-0000-000000000000}"/>
          </ac:spMkLst>
        </pc:spChg>
      </pc:sldChg>
      <pc:sldChg chg="addSp delSp modSp mod">
        <pc:chgData name="Marta" userId="eac6eb22-5f14-46b4-a4ea-a86e6e8c4acc" providerId="ADAL" clId="{421A0E67-5D36-4B97-98EC-B6B73232AE08}" dt="2022-08-16T14:54:36.938" v="721" actId="22"/>
        <pc:sldMkLst>
          <pc:docMk/>
          <pc:sldMk cId="2693195115" sldId="461"/>
        </pc:sldMkLst>
        <pc:spChg chg="add del">
          <ac:chgData name="Marta" userId="eac6eb22-5f14-46b4-a4ea-a86e6e8c4acc" providerId="ADAL" clId="{421A0E67-5D36-4B97-98EC-B6B73232AE08}" dt="2022-08-16T14:54:31.375" v="719" actId="22"/>
          <ac:spMkLst>
            <pc:docMk/>
            <pc:sldMk cId="2693195115" sldId="461"/>
            <ac:spMk id="7" creationId="{6B6BCFBC-B713-45BA-B4C3-99D80534BDE8}"/>
          </ac:spMkLst>
        </pc:spChg>
        <pc:spChg chg="add del">
          <ac:chgData name="Marta" userId="eac6eb22-5f14-46b4-a4ea-a86e6e8c4acc" providerId="ADAL" clId="{421A0E67-5D36-4B97-98EC-B6B73232AE08}" dt="2022-08-16T14:54:36.938" v="721" actId="22"/>
          <ac:spMkLst>
            <pc:docMk/>
            <pc:sldMk cId="2693195115" sldId="461"/>
            <ac:spMk id="9" creationId="{DB5D6DF5-C9FE-40D3-A759-71CABC5FB5BA}"/>
          </ac:spMkLst>
        </pc:spChg>
        <pc:spChg chg="mod">
          <ac:chgData name="Marta" userId="eac6eb22-5f14-46b4-a4ea-a86e6e8c4acc" providerId="ADAL" clId="{421A0E67-5D36-4B97-98EC-B6B73232AE08}" dt="2022-08-15T17:20:04.577" v="406"/>
          <ac:spMkLst>
            <pc:docMk/>
            <pc:sldMk cId="2693195115" sldId="461"/>
            <ac:spMk id="11" creationId="{4B37742C-E7B3-4B6F-B7F7-41C69047103B}"/>
          </ac:spMkLst>
        </pc:spChg>
        <pc:spChg chg="mod">
          <ac:chgData name="Marta" userId="eac6eb22-5f14-46b4-a4ea-a86e6e8c4acc" providerId="ADAL" clId="{421A0E67-5D36-4B97-98EC-B6B73232AE08}" dt="2022-08-16T13:18:44.753" v="503" actId="20577"/>
          <ac:spMkLst>
            <pc:docMk/>
            <pc:sldMk cId="2693195115" sldId="461"/>
            <ac:spMk id="16" creationId="{A188A548-96A8-4D2F-8179-7CB96D16B0F5}"/>
          </ac:spMkLst>
        </pc:spChg>
        <pc:picChg chg="add mod">
          <ac:chgData name="Marta" userId="eac6eb22-5f14-46b4-a4ea-a86e6e8c4acc" providerId="ADAL" clId="{421A0E67-5D36-4B97-98EC-B6B73232AE08}" dt="2022-08-15T17:19:49.403" v="405" actId="1076"/>
          <ac:picMkLst>
            <pc:docMk/>
            <pc:sldMk cId="2693195115" sldId="461"/>
            <ac:picMk id="3" creationId="{2025F764-7F9C-4152-BA35-DB2333178F24}"/>
          </ac:picMkLst>
        </pc:picChg>
        <pc:picChg chg="del">
          <ac:chgData name="Marta" userId="eac6eb22-5f14-46b4-a4ea-a86e6e8c4acc" providerId="ADAL" clId="{421A0E67-5D36-4B97-98EC-B6B73232AE08}" dt="2022-08-15T17:19:46.733" v="403" actId="478"/>
          <ac:picMkLst>
            <pc:docMk/>
            <pc:sldMk cId="2693195115" sldId="461"/>
            <ac:picMk id="4" creationId="{B6BAE143-C1D7-46E8-9E78-64DDAB0135C8}"/>
          </ac:picMkLst>
        </pc:picChg>
      </pc:sldChg>
      <pc:sldChg chg="modSp mod">
        <pc:chgData name="Marta" userId="eac6eb22-5f14-46b4-a4ea-a86e6e8c4acc" providerId="ADAL" clId="{421A0E67-5D36-4B97-98EC-B6B73232AE08}" dt="2022-08-16T13:18:48.585" v="505" actId="20577"/>
        <pc:sldMkLst>
          <pc:docMk/>
          <pc:sldMk cId="1484635905" sldId="753"/>
        </pc:sldMkLst>
        <pc:spChg chg="mod">
          <ac:chgData name="Marta" userId="eac6eb22-5f14-46b4-a4ea-a86e6e8c4acc" providerId="ADAL" clId="{421A0E67-5D36-4B97-98EC-B6B73232AE08}" dt="2022-08-16T13:18:48.585" v="505" actId="20577"/>
          <ac:spMkLst>
            <pc:docMk/>
            <pc:sldMk cId="1484635905" sldId="753"/>
            <ac:spMk id="6" creationId="{00000000-0000-0000-0000-000000000000}"/>
          </ac:spMkLst>
        </pc:spChg>
      </pc:sldChg>
      <pc:sldChg chg="modSp mod">
        <pc:chgData name="Marta" userId="eac6eb22-5f14-46b4-a4ea-a86e6e8c4acc" providerId="ADAL" clId="{421A0E67-5D36-4B97-98EC-B6B73232AE08}" dt="2022-08-16T13:18:58.146" v="510" actId="20577"/>
        <pc:sldMkLst>
          <pc:docMk/>
          <pc:sldMk cId="2932444859" sldId="756"/>
        </pc:sldMkLst>
        <pc:spChg chg="mod">
          <ac:chgData name="Marta" userId="eac6eb22-5f14-46b4-a4ea-a86e6e8c4acc" providerId="ADAL" clId="{421A0E67-5D36-4B97-98EC-B6B73232AE08}" dt="2022-08-16T13:18:58.146" v="510" actId="20577"/>
          <ac:spMkLst>
            <pc:docMk/>
            <pc:sldMk cId="2932444859" sldId="756"/>
            <ac:spMk id="4" creationId="{00000000-0000-0000-0000-000000000000}"/>
          </ac:spMkLst>
        </pc:spChg>
        <pc:spChg chg="mod">
          <ac:chgData name="Marta" userId="eac6eb22-5f14-46b4-a4ea-a86e6e8c4acc" providerId="ADAL" clId="{421A0E67-5D36-4B97-98EC-B6B73232AE08}" dt="2022-08-15T17:24:14.869" v="443" actId="20577"/>
          <ac:spMkLst>
            <pc:docMk/>
            <pc:sldMk cId="2932444859" sldId="756"/>
            <ac:spMk id="8" creationId="{994CAA25-984D-4484-838B-9B092E7155F2}"/>
          </ac:spMkLst>
        </pc:spChg>
      </pc:sldChg>
      <pc:sldChg chg="delSp modSp mod">
        <pc:chgData name="Marta" userId="eac6eb22-5f14-46b4-a4ea-a86e6e8c4acc" providerId="ADAL" clId="{421A0E67-5D36-4B97-98EC-B6B73232AE08}" dt="2022-08-16T11:03:38.544" v="491"/>
        <pc:sldMkLst>
          <pc:docMk/>
          <pc:sldMk cId="4279644075" sldId="759"/>
        </pc:sldMkLst>
        <pc:spChg chg="mod">
          <ac:chgData name="Marta" userId="eac6eb22-5f14-46b4-a4ea-a86e6e8c4acc" providerId="ADAL" clId="{421A0E67-5D36-4B97-98EC-B6B73232AE08}" dt="2022-08-16T11:03:38.544" v="491"/>
          <ac:spMkLst>
            <pc:docMk/>
            <pc:sldMk cId="4279644075" sldId="759"/>
            <ac:spMk id="3" creationId="{00000000-0000-0000-0000-000000000000}"/>
          </ac:spMkLst>
        </pc:spChg>
        <pc:spChg chg="mod">
          <ac:chgData name="Marta" userId="eac6eb22-5f14-46b4-a4ea-a86e6e8c4acc" providerId="ADAL" clId="{421A0E67-5D36-4B97-98EC-B6B73232AE08}" dt="2022-08-15T17:18:42.717" v="386" actId="20577"/>
          <ac:spMkLst>
            <pc:docMk/>
            <pc:sldMk cId="4279644075" sldId="759"/>
            <ac:spMk id="9" creationId="{5EB1A567-6EC8-4912-9C2F-000067B6D567}"/>
          </ac:spMkLst>
        </pc:spChg>
        <pc:picChg chg="del">
          <ac:chgData name="Marta" userId="eac6eb22-5f14-46b4-a4ea-a86e6e8c4acc" providerId="ADAL" clId="{421A0E67-5D36-4B97-98EC-B6B73232AE08}" dt="2022-08-15T17:11:48.878" v="257" actId="478"/>
          <ac:picMkLst>
            <pc:docMk/>
            <pc:sldMk cId="4279644075" sldId="759"/>
            <ac:picMk id="14" creationId="{E94AA244-FAD6-4D15-9003-5EA0AE20608F}"/>
          </ac:picMkLst>
        </pc:picChg>
      </pc:sldChg>
      <pc:sldChg chg="del">
        <pc:chgData name="Marta" userId="eac6eb22-5f14-46b4-a4ea-a86e6e8c4acc" providerId="ADAL" clId="{421A0E67-5D36-4B97-98EC-B6B73232AE08}" dt="2022-08-15T17:19:10.896" v="387" actId="47"/>
        <pc:sldMkLst>
          <pc:docMk/>
          <pc:sldMk cId="3888553813" sldId="879"/>
        </pc:sldMkLst>
      </pc:sldChg>
      <pc:sldChg chg="modSp mod">
        <pc:chgData name="Marta" userId="eac6eb22-5f14-46b4-a4ea-a86e6e8c4acc" providerId="ADAL" clId="{421A0E67-5D36-4B97-98EC-B6B73232AE08}" dt="2022-08-16T13:35:17.401" v="654" actId="20577"/>
        <pc:sldMkLst>
          <pc:docMk/>
          <pc:sldMk cId="644561616" sldId="901"/>
        </pc:sldMkLst>
        <pc:spChg chg="mod">
          <ac:chgData name="Marta" userId="eac6eb22-5f14-46b4-a4ea-a86e6e8c4acc" providerId="ADAL" clId="{421A0E67-5D36-4B97-98EC-B6B73232AE08}" dt="2022-08-16T13:35:17.401" v="654" actId="20577"/>
          <ac:spMkLst>
            <pc:docMk/>
            <pc:sldMk cId="644561616" sldId="901"/>
            <ac:spMk id="2" creationId="{F49F4E2B-EEB0-4736-A001-E9CD8947E750}"/>
          </ac:spMkLst>
        </pc:spChg>
        <pc:spChg chg="mod">
          <ac:chgData name="Marta" userId="eac6eb22-5f14-46b4-a4ea-a86e6e8c4acc" providerId="ADAL" clId="{421A0E67-5D36-4B97-98EC-B6B73232AE08}" dt="2022-08-16T13:18:52.920" v="507" actId="20577"/>
          <ac:spMkLst>
            <pc:docMk/>
            <pc:sldMk cId="644561616" sldId="901"/>
            <ac:spMk id="6" creationId="{00000000-0000-0000-0000-000000000000}"/>
          </ac:spMkLst>
        </pc:spChg>
        <pc:spChg chg="mod">
          <ac:chgData name="Marta" userId="eac6eb22-5f14-46b4-a4ea-a86e6e8c4acc" providerId="ADAL" clId="{421A0E67-5D36-4B97-98EC-B6B73232AE08}" dt="2022-08-16T13:33:44.525" v="588" actId="1076"/>
          <ac:spMkLst>
            <pc:docMk/>
            <pc:sldMk cId="644561616" sldId="901"/>
            <ac:spMk id="10" creationId="{66421E13-941D-487E-9F8E-DCFA3FE9C646}"/>
          </ac:spMkLst>
        </pc:spChg>
        <pc:picChg chg="mod">
          <ac:chgData name="Marta" userId="eac6eb22-5f14-46b4-a4ea-a86e6e8c4acc" providerId="ADAL" clId="{421A0E67-5D36-4B97-98EC-B6B73232AE08}" dt="2022-08-16T13:34:43.163" v="643" actId="1076"/>
          <ac:picMkLst>
            <pc:docMk/>
            <pc:sldMk cId="644561616" sldId="901"/>
            <ac:picMk id="5" creationId="{A7CE0624-DE4C-4238-8618-DC619B9FF7AB}"/>
          </ac:picMkLst>
        </pc:picChg>
      </pc:sldChg>
      <pc:sldChg chg="del">
        <pc:chgData name="Marta" userId="eac6eb22-5f14-46b4-a4ea-a86e6e8c4acc" providerId="ADAL" clId="{421A0E67-5D36-4B97-98EC-B6B73232AE08}" dt="2022-08-15T17:20:27.092" v="407" actId="47"/>
        <pc:sldMkLst>
          <pc:docMk/>
          <pc:sldMk cId="1397072693" sldId="938"/>
        </pc:sldMkLst>
      </pc:sldChg>
      <pc:sldChg chg="modSp mod">
        <pc:chgData name="Marta" userId="eac6eb22-5f14-46b4-a4ea-a86e6e8c4acc" providerId="ADAL" clId="{421A0E67-5D36-4B97-98EC-B6B73232AE08}" dt="2022-08-16T15:35:40.282" v="742" actId="20577"/>
        <pc:sldMkLst>
          <pc:docMk/>
          <pc:sldMk cId="3712657699" sldId="939"/>
        </pc:sldMkLst>
        <pc:spChg chg="mod">
          <ac:chgData name="Marta" userId="eac6eb22-5f14-46b4-a4ea-a86e6e8c4acc" providerId="ADAL" clId="{421A0E67-5D36-4B97-98EC-B6B73232AE08}" dt="2022-08-16T15:35:40.282" v="742" actId="20577"/>
          <ac:spMkLst>
            <pc:docMk/>
            <pc:sldMk cId="3712657699" sldId="939"/>
            <ac:spMk id="10" creationId="{0331A5F1-7904-40A2-A8F1-875643455C5C}"/>
          </ac:spMkLst>
        </pc:spChg>
      </pc:sldChg>
      <pc:sldChg chg="del">
        <pc:chgData name="Marta" userId="eac6eb22-5f14-46b4-a4ea-a86e6e8c4acc" providerId="ADAL" clId="{421A0E67-5D36-4B97-98EC-B6B73232AE08}" dt="2022-08-15T17:19:14.645" v="388" actId="47"/>
        <pc:sldMkLst>
          <pc:docMk/>
          <pc:sldMk cId="7962108" sldId="940"/>
        </pc:sldMkLst>
      </pc:sldChg>
      <pc:sldChg chg="addSp delSp modSp add mod">
        <pc:chgData name="Marta" userId="eac6eb22-5f14-46b4-a4ea-a86e6e8c4acc" providerId="ADAL" clId="{421A0E67-5D36-4B97-98EC-B6B73232AE08}" dt="2022-08-16T13:51:01.427" v="700" actId="1076"/>
        <pc:sldMkLst>
          <pc:docMk/>
          <pc:sldMk cId="198001124" sldId="940"/>
        </pc:sldMkLst>
        <pc:spChg chg="add del mod">
          <ac:chgData name="Marta" userId="eac6eb22-5f14-46b4-a4ea-a86e6e8c4acc" providerId="ADAL" clId="{421A0E67-5D36-4B97-98EC-B6B73232AE08}" dt="2022-08-16T13:20:21.550" v="568" actId="1076"/>
          <ac:spMkLst>
            <pc:docMk/>
            <pc:sldMk cId="198001124" sldId="940"/>
            <ac:spMk id="2" creationId="{336D7662-30CC-465F-B484-884B38F6F8BF}"/>
          </ac:spMkLst>
        </pc:spChg>
        <pc:spChg chg="add del">
          <ac:chgData name="Marta" userId="eac6eb22-5f14-46b4-a4ea-a86e6e8c4acc" providerId="ADAL" clId="{421A0E67-5D36-4B97-98EC-B6B73232AE08}" dt="2022-08-16T13:44:21.009" v="671" actId="478"/>
          <ac:spMkLst>
            <pc:docMk/>
            <pc:sldMk cId="198001124" sldId="940"/>
            <ac:spMk id="5" creationId="{81581A30-4899-4AF7-937D-1D0C23FEC070}"/>
          </ac:spMkLst>
        </pc:spChg>
        <pc:spChg chg="mod">
          <ac:chgData name="Marta" userId="eac6eb22-5f14-46b4-a4ea-a86e6e8c4acc" providerId="ADAL" clId="{421A0E67-5D36-4B97-98EC-B6B73232AE08}" dt="2022-08-16T13:20:02.507" v="559" actId="113"/>
          <ac:spMkLst>
            <pc:docMk/>
            <pc:sldMk cId="198001124" sldId="940"/>
            <ac:spMk id="6" creationId="{00000000-0000-0000-0000-000000000000}"/>
          </ac:spMkLst>
        </pc:spChg>
        <pc:spChg chg="del">
          <ac:chgData name="Marta" userId="eac6eb22-5f14-46b4-a4ea-a86e6e8c4acc" providerId="ADAL" clId="{421A0E67-5D36-4B97-98EC-B6B73232AE08}" dt="2022-08-16T13:20:10.026" v="563" actId="478"/>
          <ac:spMkLst>
            <pc:docMk/>
            <pc:sldMk cId="198001124" sldId="940"/>
            <ac:spMk id="8" creationId="{6905132D-210A-4783-BB7A-D763FAE872C9}"/>
          </ac:spMkLst>
        </pc:spChg>
        <pc:spChg chg="add del">
          <ac:chgData name="Marta" userId="eac6eb22-5f14-46b4-a4ea-a86e6e8c4acc" providerId="ADAL" clId="{421A0E67-5D36-4B97-98EC-B6B73232AE08}" dt="2022-08-16T13:44:27.256" v="673" actId="478"/>
          <ac:spMkLst>
            <pc:docMk/>
            <pc:sldMk cId="198001124" sldId="940"/>
            <ac:spMk id="10" creationId="{75614007-0F9A-492D-A45C-62230FAD2C70}"/>
          </ac:spMkLst>
        </pc:spChg>
        <pc:spChg chg="add mod">
          <ac:chgData name="Marta" userId="eac6eb22-5f14-46b4-a4ea-a86e6e8c4acc" providerId="ADAL" clId="{421A0E67-5D36-4B97-98EC-B6B73232AE08}" dt="2022-08-16T13:50:53.137" v="699" actId="2711"/>
          <ac:spMkLst>
            <pc:docMk/>
            <pc:sldMk cId="198001124" sldId="940"/>
            <ac:spMk id="16" creationId="{DD0F208D-BE7D-45D7-86C8-11A45240DF9F}"/>
          </ac:spMkLst>
        </pc:spChg>
        <pc:picChg chg="add mod">
          <ac:chgData name="Marta" userId="eac6eb22-5f14-46b4-a4ea-a86e6e8c4acc" providerId="ADAL" clId="{421A0E67-5D36-4B97-98EC-B6B73232AE08}" dt="2022-08-16T13:51:01.427" v="700" actId="1076"/>
          <ac:picMkLst>
            <pc:docMk/>
            <pc:sldMk cId="198001124" sldId="940"/>
            <ac:picMk id="4" creationId="{14EFDE39-FD1C-4A35-92AE-61DE381A4D0C}"/>
          </ac:picMkLst>
        </pc:picChg>
        <pc:picChg chg="del">
          <ac:chgData name="Marta" userId="eac6eb22-5f14-46b4-a4ea-a86e6e8c4acc" providerId="ADAL" clId="{421A0E67-5D36-4B97-98EC-B6B73232AE08}" dt="2022-08-16T13:20:06.074" v="562" actId="478"/>
          <ac:picMkLst>
            <pc:docMk/>
            <pc:sldMk cId="198001124" sldId="940"/>
            <ac:picMk id="7" creationId="{9137AAE6-2CDA-44CD-95E8-05B73E341D3D}"/>
          </ac:picMkLst>
        </pc:picChg>
        <pc:picChg chg="del">
          <ac:chgData name="Marta" userId="eac6eb22-5f14-46b4-a4ea-a86e6e8c4acc" providerId="ADAL" clId="{421A0E67-5D36-4B97-98EC-B6B73232AE08}" dt="2022-08-16T13:20:05.043" v="560" actId="478"/>
          <ac:picMkLst>
            <pc:docMk/>
            <pc:sldMk cId="198001124" sldId="940"/>
            <ac:picMk id="9" creationId="{B43E69E6-FB0C-4DC8-A0A2-32F996581616}"/>
          </ac:picMkLst>
        </pc:picChg>
        <pc:picChg chg="add mod">
          <ac:chgData name="Marta" userId="eac6eb22-5f14-46b4-a4ea-a86e6e8c4acc" providerId="ADAL" clId="{421A0E67-5D36-4B97-98EC-B6B73232AE08}" dt="2022-08-16T13:46:24.055" v="698" actId="1076"/>
          <ac:picMkLst>
            <pc:docMk/>
            <pc:sldMk cId="198001124" sldId="940"/>
            <ac:picMk id="1026" creationId="{F181F7E9-EEE2-416B-97F5-D1EA86ECD6BE}"/>
          </ac:picMkLst>
        </pc:picChg>
        <pc:picChg chg="add mod">
          <ac:chgData name="Marta" userId="eac6eb22-5f14-46b4-a4ea-a86e6e8c4acc" providerId="ADAL" clId="{421A0E67-5D36-4B97-98EC-B6B73232AE08}" dt="2022-08-16T13:46:20.195" v="696" actId="1076"/>
          <ac:picMkLst>
            <pc:docMk/>
            <pc:sldMk cId="198001124" sldId="940"/>
            <ac:picMk id="1032" creationId="{AD276CEC-DC02-4DD7-B958-9F7AF5F2A865}"/>
          </ac:picMkLst>
        </pc:picChg>
        <pc:picChg chg="del">
          <ac:chgData name="Marta" userId="eac6eb22-5f14-46b4-a4ea-a86e6e8c4acc" providerId="ADAL" clId="{421A0E67-5D36-4B97-98EC-B6B73232AE08}" dt="2022-08-16T13:20:05.582" v="561" actId="478"/>
          <ac:picMkLst>
            <pc:docMk/>
            <pc:sldMk cId="198001124" sldId="940"/>
            <ac:picMk id="8194" creationId="{B76E08E8-2C79-46C5-A559-5E3C36DB1152}"/>
          </ac:picMkLst>
        </pc:picChg>
      </pc:sldChg>
      <pc:sldChg chg="add del">
        <pc:chgData name="Marta" userId="eac6eb22-5f14-46b4-a4ea-a86e6e8c4acc" providerId="ADAL" clId="{421A0E67-5D36-4B97-98EC-B6B73232AE08}" dt="2022-08-16T14:54:50.698" v="735"/>
        <pc:sldMkLst>
          <pc:docMk/>
          <pc:sldMk cId="752814286" sldId="941"/>
        </pc:sldMkLst>
      </pc:sldChg>
      <pc:sldChg chg="del">
        <pc:chgData name="Marta" userId="eac6eb22-5f14-46b4-a4ea-a86e6e8c4acc" providerId="ADAL" clId="{421A0E67-5D36-4B97-98EC-B6B73232AE08}" dt="2022-08-15T17:19:21.492" v="402" actId="47"/>
        <pc:sldMkLst>
          <pc:docMk/>
          <pc:sldMk cId="3466213424" sldId="941"/>
        </pc:sldMkLst>
      </pc:sldChg>
      <pc:sldChg chg="del">
        <pc:chgData name="Marta" userId="eac6eb22-5f14-46b4-a4ea-a86e6e8c4acc" providerId="ADAL" clId="{421A0E67-5D36-4B97-98EC-B6B73232AE08}" dt="2022-08-15T17:19:15.495" v="390" actId="47"/>
        <pc:sldMkLst>
          <pc:docMk/>
          <pc:sldMk cId="3670777090" sldId="942"/>
        </pc:sldMkLst>
      </pc:sldChg>
      <pc:sldChg chg="del">
        <pc:chgData name="Marta" userId="eac6eb22-5f14-46b4-a4ea-a86e6e8c4acc" providerId="ADAL" clId="{421A0E67-5D36-4B97-98EC-B6B73232AE08}" dt="2022-08-15T17:19:20.965" v="401" actId="47"/>
        <pc:sldMkLst>
          <pc:docMk/>
          <pc:sldMk cId="956744883" sldId="943"/>
        </pc:sldMkLst>
      </pc:sldChg>
      <pc:sldChg chg="del">
        <pc:chgData name="Marta" userId="eac6eb22-5f14-46b4-a4ea-a86e6e8c4acc" providerId="ADAL" clId="{421A0E67-5D36-4B97-98EC-B6B73232AE08}" dt="2022-08-15T17:19:15.701" v="391" actId="47"/>
        <pc:sldMkLst>
          <pc:docMk/>
          <pc:sldMk cId="799015635" sldId="944"/>
        </pc:sldMkLst>
      </pc:sldChg>
      <pc:sldChg chg="del">
        <pc:chgData name="Marta" userId="eac6eb22-5f14-46b4-a4ea-a86e6e8c4acc" providerId="ADAL" clId="{421A0E67-5D36-4B97-98EC-B6B73232AE08}" dt="2022-08-15T17:19:15.901" v="392" actId="47"/>
        <pc:sldMkLst>
          <pc:docMk/>
          <pc:sldMk cId="811183675" sldId="945"/>
        </pc:sldMkLst>
      </pc:sldChg>
      <pc:sldChg chg="del">
        <pc:chgData name="Marta" userId="eac6eb22-5f14-46b4-a4ea-a86e6e8c4acc" providerId="ADAL" clId="{421A0E67-5D36-4B97-98EC-B6B73232AE08}" dt="2022-08-15T17:19:16.374" v="393" actId="47"/>
        <pc:sldMkLst>
          <pc:docMk/>
          <pc:sldMk cId="2348044656" sldId="946"/>
        </pc:sldMkLst>
      </pc:sldChg>
      <pc:sldChg chg="del">
        <pc:chgData name="Marta" userId="eac6eb22-5f14-46b4-a4ea-a86e6e8c4acc" providerId="ADAL" clId="{421A0E67-5D36-4B97-98EC-B6B73232AE08}" dt="2022-08-15T17:19:16.709" v="394" actId="47"/>
        <pc:sldMkLst>
          <pc:docMk/>
          <pc:sldMk cId="3370285080" sldId="947"/>
        </pc:sldMkLst>
      </pc:sldChg>
      <pc:sldChg chg="del">
        <pc:chgData name="Marta" userId="eac6eb22-5f14-46b4-a4ea-a86e6e8c4acc" providerId="ADAL" clId="{421A0E67-5D36-4B97-98EC-B6B73232AE08}" dt="2022-08-15T17:19:17.306" v="395" actId="47"/>
        <pc:sldMkLst>
          <pc:docMk/>
          <pc:sldMk cId="3120640163" sldId="948"/>
        </pc:sldMkLst>
      </pc:sldChg>
      <pc:sldChg chg="del">
        <pc:chgData name="Marta" userId="eac6eb22-5f14-46b4-a4ea-a86e6e8c4acc" providerId="ADAL" clId="{421A0E67-5D36-4B97-98EC-B6B73232AE08}" dt="2022-08-15T17:19:17.612" v="396" actId="47"/>
        <pc:sldMkLst>
          <pc:docMk/>
          <pc:sldMk cId="28271892" sldId="949"/>
        </pc:sldMkLst>
      </pc:sldChg>
      <pc:sldChg chg="del">
        <pc:chgData name="Marta" userId="eac6eb22-5f14-46b4-a4ea-a86e6e8c4acc" providerId="ADAL" clId="{421A0E67-5D36-4B97-98EC-B6B73232AE08}" dt="2022-08-15T17:19:18.156" v="397" actId="47"/>
        <pc:sldMkLst>
          <pc:docMk/>
          <pc:sldMk cId="410567365" sldId="950"/>
        </pc:sldMkLst>
      </pc:sldChg>
      <pc:sldChg chg="del">
        <pc:chgData name="Marta" userId="eac6eb22-5f14-46b4-a4ea-a86e6e8c4acc" providerId="ADAL" clId="{421A0E67-5D36-4B97-98EC-B6B73232AE08}" dt="2022-08-15T17:19:19.131" v="398" actId="47"/>
        <pc:sldMkLst>
          <pc:docMk/>
          <pc:sldMk cId="2235436417" sldId="951"/>
        </pc:sldMkLst>
      </pc:sldChg>
      <pc:sldChg chg="del">
        <pc:chgData name="Marta" userId="eac6eb22-5f14-46b4-a4ea-a86e6e8c4acc" providerId="ADAL" clId="{421A0E67-5D36-4B97-98EC-B6B73232AE08}" dt="2022-08-15T17:19:19.668" v="399" actId="47"/>
        <pc:sldMkLst>
          <pc:docMk/>
          <pc:sldMk cId="297809370" sldId="952"/>
        </pc:sldMkLst>
      </pc:sldChg>
      <pc:sldChg chg="del">
        <pc:chgData name="Marta" userId="eac6eb22-5f14-46b4-a4ea-a86e6e8c4acc" providerId="ADAL" clId="{421A0E67-5D36-4B97-98EC-B6B73232AE08}" dt="2022-08-15T17:19:20.168" v="400" actId="47"/>
        <pc:sldMkLst>
          <pc:docMk/>
          <pc:sldMk cId="2593472074" sldId="953"/>
        </pc:sldMkLst>
      </pc:sldChg>
      <pc:sldChg chg="del">
        <pc:chgData name="Marta" userId="eac6eb22-5f14-46b4-a4ea-a86e6e8c4acc" providerId="ADAL" clId="{421A0E67-5D36-4B97-98EC-B6B73232AE08}" dt="2022-08-15T17:19:15.029" v="389" actId="47"/>
        <pc:sldMkLst>
          <pc:docMk/>
          <pc:sldMk cId="301861899" sldId="954"/>
        </pc:sldMkLst>
      </pc:sldChg>
      <pc:sldChg chg="delSp modSp add del mod">
        <pc:chgData name="Marta" userId="eac6eb22-5f14-46b4-a4ea-a86e6e8c4acc" providerId="ADAL" clId="{421A0E67-5D36-4B97-98EC-B6B73232AE08}" dt="2022-08-15T17:18:10.877" v="381" actId="47"/>
        <pc:sldMkLst>
          <pc:docMk/>
          <pc:sldMk cId="3818962929" sldId="955"/>
        </pc:sldMkLst>
        <pc:spChg chg="mod">
          <ac:chgData name="Marta" userId="eac6eb22-5f14-46b4-a4ea-a86e6e8c4acc" providerId="ADAL" clId="{421A0E67-5D36-4B97-98EC-B6B73232AE08}" dt="2022-08-15T17:11:36.290" v="256" actId="14100"/>
          <ac:spMkLst>
            <pc:docMk/>
            <pc:sldMk cId="3818962929" sldId="955"/>
            <ac:spMk id="9" creationId="{5EB1A567-6EC8-4912-9C2F-000067B6D567}"/>
          </ac:spMkLst>
        </pc:spChg>
        <pc:picChg chg="del">
          <ac:chgData name="Marta" userId="eac6eb22-5f14-46b4-a4ea-a86e6e8c4acc" providerId="ADAL" clId="{421A0E67-5D36-4B97-98EC-B6B73232AE08}" dt="2022-08-15T17:11:05.153" v="218" actId="478"/>
          <ac:picMkLst>
            <pc:docMk/>
            <pc:sldMk cId="3818962929" sldId="955"/>
            <ac:picMk id="14" creationId="{E94AA244-FAD6-4D15-9003-5EA0AE20608F}"/>
          </ac:picMkLst>
        </pc:picChg>
      </pc:sldChg>
    </pc:docChg>
  </pc:docChgLst>
  <pc:docChgLst>
    <pc:chgData name="Marta" userId="eac6eb22-5f14-46b4-a4ea-a86e6e8c4acc" providerId="ADAL" clId="{936D5070-5F5B-43F3-BB98-611C2029C912}"/>
    <pc:docChg chg="undo custSel delSld modSld delMainMaster modMainMaster modSection">
      <pc:chgData name="Marta" userId="eac6eb22-5f14-46b4-a4ea-a86e6e8c4acc" providerId="ADAL" clId="{936D5070-5F5B-43F3-BB98-611C2029C912}" dt="2023-02-21T17:08:54.660" v="419" actId="20577"/>
      <pc:docMkLst>
        <pc:docMk/>
      </pc:docMkLst>
      <pc:sldChg chg="modSp mod">
        <pc:chgData name="Marta" userId="eac6eb22-5f14-46b4-a4ea-a86e6e8c4acc" providerId="ADAL" clId="{936D5070-5F5B-43F3-BB98-611C2029C912}" dt="2023-02-16T12:51:16.159" v="23" actId="20577"/>
        <pc:sldMkLst>
          <pc:docMk/>
          <pc:sldMk cId="573922979" sldId="256"/>
        </pc:sldMkLst>
        <pc:spChg chg="mod">
          <ac:chgData name="Marta" userId="eac6eb22-5f14-46b4-a4ea-a86e6e8c4acc" providerId="ADAL" clId="{936D5070-5F5B-43F3-BB98-611C2029C912}" dt="2023-02-16T12:51:16.159" v="23" actId="20577"/>
          <ac:spMkLst>
            <pc:docMk/>
            <pc:sldMk cId="573922979" sldId="256"/>
            <ac:spMk id="4" creationId="{00000000-0000-0000-0000-000000000000}"/>
          </ac:spMkLst>
        </pc:spChg>
      </pc:sldChg>
      <pc:sldChg chg="modSp mod">
        <pc:chgData name="Marta" userId="eac6eb22-5f14-46b4-a4ea-a86e6e8c4acc" providerId="ADAL" clId="{936D5070-5F5B-43F3-BB98-611C2029C912}" dt="2023-02-16T14:42:20.177" v="360" actId="6549"/>
        <pc:sldMkLst>
          <pc:docMk/>
          <pc:sldMk cId="2325718728" sldId="257"/>
        </pc:sldMkLst>
        <pc:spChg chg="mod">
          <ac:chgData name="Marta" userId="eac6eb22-5f14-46b4-a4ea-a86e6e8c4acc" providerId="ADAL" clId="{936D5070-5F5B-43F3-BB98-611C2029C912}" dt="2023-02-16T14:42:20.177" v="360" actId="6549"/>
          <ac:spMkLst>
            <pc:docMk/>
            <pc:sldMk cId="2325718728" sldId="257"/>
            <ac:spMk id="5" creationId="{00000000-0000-0000-0000-000000000000}"/>
          </ac:spMkLst>
        </pc:spChg>
      </pc:sldChg>
      <pc:sldChg chg="modSp mod">
        <pc:chgData name="Marta" userId="eac6eb22-5f14-46b4-a4ea-a86e6e8c4acc" providerId="ADAL" clId="{936D5070-5F5B-43F3-BB98-611C2029C912}" dt="2023-02-16T13:01:18.863" v="272" actId="20577"/>
        <pc:sldMkLst>
          <pc:docMk/>
          <pc:sldMk cId="3528939462" sldId="258"/>
        </pc:sldMkLst>
        <pc:spChg chg="mod">
          <ac:chgData name="Marta" userId="eac6eb22-5f14-46b4-a4ea-a86e6e8c4acc" providerId="ADAL" clId="{936D5070-5F5B-43F3-BB98-611C2029C912}" dt="2023-02-16T13:01:18.863" v="272" actId="20577"/>
          <ac:spMkLst>
            <pc:docMk/>
            <pc:sldMk cId="3528939462" sldId="258"/>
            <ac:spMk id="4" creationId="{00000000-0000-0000-0000-000000000000}"/>
          </ac:spMkLst>
        </pc:spChg>
      </pc:sldChg>
      <pc:sldChg chg="modSp del mod">
        <pc:chgData name="Marta" userId="eac6eb22-5f14-46b4-a4ea-a86e6e8c4acc" providerId="ADAL" clId="{936D5070-5F5B-43F3-BB98-611C2029C912}" dt="2023-02-16T14:42:31.961" v="361" actId="47"/>
        <pc:sldMkLst>
          <pc:docMk/>
          <pc:sldMk cId="3828261807" sldId="443"/>
        </pc:sldMkLst>
        <pc:spChg chg="mod">
          <ac:chgData name="Marta" userId="eac6eb22-5f14-46b4-a4ea-a86e6e8c4acc" providerId="ADAL" clId="{936D5070-5F5B-43F3-BB98-611C2029C912}" dt="2023-02-16T13:00:19.759" v="254" actId="20577"/>
          <ac:spMkLst>
            <pc:docMk/>
            <pc:sldMk cId="3828261807" sldId="443"/>
            <ac:spMk id="6" creationId="{00000000-0000-0000-0000-000000000000}"/>
          </ac:spMkLst>
        </pc:spChg>
      </pc:sldChg>
      <pc:sldChg chg="addSp delSp modSp mod">
        <pc:chgData name="Marta" userId="eac6eb22-5f14-46b4-a4ea-a86e6e8c4acc" providerId="ADAL" clId="{936D5070-5F5B-43F3-BB98-611C2029C912}" dt="2023-02-21T12:41:54.168" v="399" actId="20577"/>
        <pc:sldMkLst>
          <pc:docMk/>
          <pc:sldMk cId="2693195115" sldId="461"/>
        </pc:sldMkLst>
        <pc:spChg chg="mod">
          <ac:chgData name="Marta" userId="eac6eb22-5f14-46b4-a4ea-a86e6e8c4acc" providerId="ADAL" clId="{936D5070-5F5B-43F3-BB98-611C2029C912}" dt="2023-02-16T12:58:56.656" v="208"/>
          <ac:spMkLst>
            <pc:docMk/>
            <pc:sldMk cId="2693195115" sldId="461"/>
            <ac:spMk id="11" creationId="{4B37742C-E7B3-4B6F-B7F7-41C69047103B}"/>
          </ac:spMkLst>
        </pc:spChg>
        <pc:spChg chg="mod">
          <ac:chgData name="Marta" userId="eac6eb22-5f14-46b4-a4ea-a86e6e8c4acc" providerId="ADAL" clId="{936D5070-5F5B-43F3-BB98-611C2029C912}" dt="2023-02-21T12:41:54.168" v="399" actId="20577"/>
          <ac:spMkLst>
            <pc:docMk/>
            <pc:sldMk cId="2693195115" sldId="461"/>
            <ac:spMk id="16" creationId="{A188A548-96A8-4D2F-8179-7CB96D16B0F5}"/>
          </ac:spMkLst>
        </pc:spChg>
        <pc:graphicFrameChg chg="del">
          <ac:chgData name="Marta" userId="eac6eb22-5f14-46b4-a4ea-a86e6e8c4acc" providerId="ADAL" clId="{936D5070-5F5B-43F3-BB98-611C2029C912}" dt="2023-02-16T12:57:50.729" v="199" actId="478"/>
          <ac:graphicFrameMkLst>
            <pc:docMk/>
            <pc:sldMk cId="2693195115" sldId="461"/>
            <ac:graphicFrameMk id="2" creationId="{93989665-6229-4EF5-B3DF-1F8CC62BF050}"/>
          </ac:graphicFrameMkLst>
        </pc:graphicFrameChg>
        <pc:picChg chg="del">
          <ac:chgData name="Marta" userId="eac6eb22-5f14-46b4-a4ea-a86e6e8c4acc" providerId="ADAL" clId="{936D5070-5F5B-43F3-BB98-611C2029C912}" dt="2023-02-16T12:57:50.220" v="198" actId="478"/>
          <ac:picMkLst>
            <pc:docMk/>
            <pc:sldMk cId="2693195115" sldId="461"/>
            <ac:picMk id="4" creationId="{E979B96D-8F0E-4A4F-9284-FCFF6B2FE46E}"/>
          </ac:picMkLst>
        </pc:picChg>
        <pc:picChg chg="add mod">
          <ac:chgData name="Marta" userId="eac6eb22-5f14-46b4-a4ea-a86e6e8c4acc" providerId="ADAL" clId="{936D5070-5F5B-43F3-BB98-611C2029C912}" dt="2023-02-16T12:58:12.654" v="205" actId="1076"/>
          <ac:picMkLst>
            <pc:docMk/>
            <pc:sldMk cId="2693195115" sldId="461"/>
            <ac:picMk id="7" creationId="{B412223A-30BE-4C39-88E4-E8183FC28FA4}"/>
          </ac:picMkLst>
        </pc:picChg>
      </pc:sldChg>
      <pc:sldChg chg="modSp mod">
        <pc:chgData name="Marta" userId="eac6eb22-5f14-46b4-a4ea-a86e6e8c4acc" providerId="ADAL" clId="{936D5070-5F5B-43F3-BB98-611C2029C912}" dt="2023-02-16T14:42:34.935" v="363" actId="20577"/>
        <pc:sldMkLst>
          <pc:docMk/>
          <pc:sldMk cId="1484635905" sldId="753"/>
        </pc:sldMkLst>
        <pc:spChg chg="mod">
          <ac:chgData name="Marta" userId="eac6eb22-5f14-46b4-a4ea-a86e6e8c4acc" providerId="ADAL" clId="{936D5070-5F5B-43F3-BB98-611C2029C912}" dt="2023-02-16T14:42:34.935" v="363" actId="20577"/>
          <ac:spMkLst>
            <pc:docMk/>
            <pc:sldMk cId="1484635905" sldId="753"/>
            <ac:spMk id="6" creationId="{00000000-0000-0000-0000-000000000000}"/>
          </ac:spMkLst>
        </pc:spChg>
      </pc:sldChg>
      <pc:sldChg chg="modSp mod">
        <pc:chgData name="Marta" userId="eac6eb22-5f14-46b4-a4ea-a86e6e8c4acc" providerId="ADAL" clId="{936D5070-5F5B-43F3-BB98-611C2029C912}" dt="2023-02-16T14:42:46.701" v="374" actId="20577"/>
        <pc:sldMkLst>
          <pc:docMk/>
          <pc:sldMk cId="2932444859" sldId="756"/>
        </pc:sldMkLst>
        <pc:spChg chg="mod">
          <ac:chgData name="Marta" userId="eac6eb22-5f14-46b4-a4ea-a86e6e8c4acc" providerId="ADAL" clId="{936D5070-5F5B-43F3-BB98-611C2029C912}" dt="2023-02-16T14:42:46.701" v="374" actId="20577"/>
          <ac:spMkLst>
            <pc:docMk/>
            <pc:sldMk cId="2932444859" sldId="756"/>
            <ac:spMk id="4" creationId="{00000000-0000-0000-0000-000000000000}"/>
          </ac:spMkLst>
        </pc:spChg>
        <pc:spChg chg="mod">
          <ac:chgData name="Marta" userId="eac6eb22-5f14-46b4-a4ea-a86e6e8c4acc" providerId="ADAL" clId="{936D5070-5F5B-43F3-BB98-611C2029C912}" dt="2023-02-16T12:59:50.566" v="236" actId="6549"/>
          <ac:spMkLst>
            <pc:docMk/>
            <pc:sldMk cId="2932444859" sldId="756"/>
            <ac:spMk id="8" creationId="{994CAA25-984D-4484-838B-9B092E7155F2}"/>
          </ac:spMkLst>
        </pc:spChg>
      </pc:sldChg>
      <pc:sldChg chg="modSp mod">
        <pc:chgData name="Marta" userId="eac6eb22-5f14-46b4-a4ea-a86e6e8c4acc" providerId="ADAL" clId="{936D5070-5F5B-43F3-BB98-611C2029C912}" dt="2023-02-21T17:08:54.660" v="419" actId="20577"/>
        <pc:sldMkLst>
          <pc:docMk/>
          <pc:sldMk cId="4279644075" sldId="759"/>
        </pc:sldMkLst>
        <pc:spChg chg="mod">
          <ac:chgData name="Marta" userId="eac6eb22-5f14-46b4-a4ea-a86e6e8c4acc" providerId="ADAL" clId="{936D5070-5F5B-43F3-BB98-611C2029C912}" dt="2023-02-16T13:00:38.799" v="264" actId="20577"/>
          <ac:spMkLst>
            <pc:docMk/>
            <pc:sldMk cId="4279644075" sldId="759"/>
            <ac:spMk id="3" creationId="{00000000-0000-0000-0000-000000000000}"/>
          </ac:spMkLst>
        </pc:spChg>
        <pc:spChg chg="mod">
          <ac:chgData name="Marta" userId="eac6eb22-5f14-46b4-a4ea-a86e6e8c4acc" providerId="ADAL" clId="{936D5070-5F5B-43F3-BB98-611C2029C912}" dt="2023-02-21T17:08:54.660" v="419" actId="20577"/>
          <ac:spMkLst>
            <pc:docMk/>
            <pc:sldMk cId="4279644075" sldId="759"/>
            <ac:spMk id="9" creationId="{5EB1A567-6EC8-4912-9C2F-000067B6D567}"/>
          </ac:spMkLst>
        </pc:spChg>
      </pc:sldChg>
      <pc:sldChg chg="modSp mod">
        <pc:chgData name="Marta" userId="eac6eb22-5f14-46b4-a4ea-a86e6e8c4acc" providerId="ADAL" clId="{936D5070-5F5B-43F3-BB98-611C2029C912}" dt="2023-02-21T12:42:07.087" v="416" actId="20577"/>
        <pc:sldMkLst>
          <pc:docMk/>
          <pc:sldMk cId="644561616" sldId="901"/>
        </pc:sldMkLst>
        <pc:spChg chg="mod">
          <ac:chgData name="Marta" userId="eac6eb22-5f14-46b4-a4ea-a86e6e8c4acc" providerId="ADAL" clId="{936D5070-5F5B-43F3-BB98-611C2029C912}" dt="2023-02-16T13:07:31.583" v="354" actId="1076"/>
          <ac:spMkLst>
            <pc:docMk/>
            <pc:sldMk cId="644561616" sldId="901"/>
            <ac:spMk id="2" creationId="{F49F4E2B-EEB0-4736-A001-E9CD8947E750}"/>
          </ac:spMkLst>
        </pc:spChg>
        <pc:spChg chg="mod">
          <ac:chgData name="Marta" userId="eac6eb22-5f14-46b4-a4ea-a86e6e8c4acc" providerId="ADAL" clId="{936D5070-5F5B-43F3-BB98-611C2029C912}" dt="2023-02-21T12:42:07.087" v="416" actId="20577"/>
          <ac:spMkLst>
            <pc:docMk/>
            <pc:sldMk cId="644561616" sldId="901"/>
            <ac:spMk id="6" creationId="{00000000-0000-0000-0000-000000000000}"/>
          </ac:spMkLst>
        </pc:spChg>
        <pc:spChg chg="mod">
          <ac:chgData name="Marta" userId="eac6eb22-5f14-46b4-a4ea-a86e6e8c4acc" providerId="ADAL" clId="{936D5070-5F5B-43F3-BB98-611C2029C912}" dt="2023-02-16T14:42:39.254" v="367" actId="20577"/>
          <ac:spMkLst>
            <pc:docMk/>
            <pc:sldMk cId="644561616" sldId="901"/>
            <ac:spMk id="10" creationId="{66421E13-941D-487E-9F8E-DCFA3FE9C646}"/>
          </ac:spMkLst>
        </pc:spChg>
      </pc:sldChg>
      <pc:sldChg chg="modSp mod">
        <pc:chgData name="Marta" userId="eac6eb22-5f14-46b4-a4ea-a86e6e8c4acc" providerId="ADAL" clId="{936D5070-5F5B-43F3-BB98-611C2029C912}" dt="2023-02-16T13:00:36.092" v="262" actId="20577"/>
        <pc:sldMkLst>
          <pc:docMk/>
          <pc:sldMk cId="3712657699" sldId="939"/>
        </pc:sldMkLst>
        <pc:spChg chg="mod">
          <ac:chgData name="Marta" userId="eac6eb22-5f14-46b4-a4ea-a86e6e8c4acc" providerId="ADAL" clId="{936D5070-5F5B-43F3-BB98-611C2029C912}" dt="2023-02-16T13:00:36.092" v="262" actId="20577"/>
          <ac:spMkLst>
            <pc:docMk/>
            <pc:sldMk cId="3712657699" sldId="939"/>
            <ac:spMk id="2" creationId="{91383D11-DEC4-4BFF-88BB-8FB2206CEB37}"/>
          </ac:spMkLst>
        </pc:spChg>
      </pc:sldChg>
      <pc:sldChg chg="modSp mod">
        <pc:chgData name="Marta" userId="eac6eb22-5f14-46b4-a4ea-a86e6e8c4acc" providerId="ADAL" clId="{936D5070-5F5B-43F3-BB98-611C2029C912}" dt="2023-02-16T13:09:10.807" v="359" actId="1076"/>
        <pc:sldMkLst>
          <pc:docMk/>
          <pc:sldMk cId="198001124" sldId="940"/>
        </pc:sldMkLst>
        <pc:spChg chg="mod">
          <ac:chgData name="Marta" userId="eac6eb22-5f14-46b4-a4ea-a86e6e8c4acc" providerId="ADAL" clId="{936D5070-5F5B-43F3-BB98-611C2029C912}" dt="2023-02-16T13:00:32.718" v="260" actId="20577"/>
          <ac:spMkLst>
            <pc:docMk/>
            <pc:sldMk cId="198001124" sldId="940"/>
            <ac:spMk id="6" creationId="{00000000-0000-0000-0000-000000000000}"/>
          </ac:spMkLst>
        </pc:spChg>
        <pc:spChg chg="mod">
          <ac:chgData name="Marta" userId="eac6eb22-5f14-46b4-a4ea-a86e6e8c4acc" providerId="ADAL" clId="{936D5070-5F5B-43F3-BB98-611C2029C912}" dt="2023-02-16T13:09:10.807" v="359" actId="1076"/>
          <ac:spMkLst>
            <pc:docMk/>
            <pc:sldMk cId="198001124" sldId="940"/>
            <ac:spMk id="20" creationId="{9A5B8236-1DEC-4099-8440-0120734D500C}"/>
          </ac:spMkLst>
        </pc:spChg>
      </pc:sldChg>
      <pc:sldChg chg="del">
        <pc:chgData name="Marta" userId="eac6eb22-5f14-46b4-a4ea-a86e6e8c4acc" providerId="ADAL" clId="{936D5070-5F5B-43F3-BB98-611C2029C912}" dt="2023-02-16T12:52:09.320" v="99" actId="47"/>
        <pc:sldMkLst>
          <pc:docMk/>
          <pc:sldMk cId="1715774401" sldId="942"/>
        </pc:sldMkLst>
      </pc:sldChg>
      <pc:sldChg chg="addSp delSp modSp mod">
        <pc:chgData name="Marta" userId="eac6eb22-5f14-46b4-a4ea-a86e6e8c4acc" providerId="ADAL" clId="{936D5070-5F5B-43F3-BB98-611C2029C912}" dt="2023-02-21T12:42:12.643" v="417"/>
        <pc:sldMkLst>
          <pc:docMk/>
          <pc:sldMk cId="3432656581" sldId="943"/>
        </pc:sldMkLst>
        <pc:spChg chg="add del mod">
          <ac:chgData name="Marta" userId="eac6eb22-5f14-46b4-a4ea-a86e6e8c4acc" providerId="ADAL" clId="{936D5070-5F5B-43F3-BB98-611C2029C912}" dt="2023-02-16T13:07:00.479" v="350" actId="20577"/>
          <ac:spMkLst>
            <pc:docMk/>
            <pc:sldMk cId="3432656581" sldId="943"/>
            <ac:spMk id="2" creationId="{F49F4E2B-EEB0-4736-A001-E9CD8947E750}"/>
          </ac:spMkLst>
        </pc:spChg>
        <pc:spChg chg="mod">
          <ac:chgData name="Marta" userId="eac6eb22-5f14-46b4-a4ea-a86e6e8c4acc" providerId="ADAL" clId="{936D5070-5F5B-43F3-BB98-611C2029C912}" dt="2023-02-21T12:42:12.643" v="417"/>
          <ac:spMkLst>
            <pc:docMk/>
            <pc:sldMk cId="3432656581" sldId="943"/>
            <ac:spMk id="6" creationId="{00000000-0000-0000-0000-000000000000}"/>
          </ac:spMkLst>
        </pc:spChg>
        <pc:spChg chg="mod">
          <ac:chgData name="Marta" userId="eac6eb22-5f14-46b4-a4ea-a86e6e8c4acc" providerId="ADAL" clId="{936D5070-5F5B-43F3-BB98-611C2029C912}" dt="2023-02-16T14:42:42.168" v="369" actId="20577"/>
          <ac:spMkLst>
            <pc:docMk/>
            <pc:sldMk cId="3432656581" sldId="943"/>
            <ac:spMk id="10" creationId="{66421E13-941D-487E-9F8E-DCFA3FE9C646}"/>
          </ac:spMkLst>
        </pc:spChg>
        <pc:picChg chg="mod">
          <ac:chgData name="Marta" userId="eac6eb22-5f14-46b4-a4ea-a86e6e8c4acc" providerId="ADAL" clId="{936D5070-5F5B-43F3-BB98-611C2029C912}" dt="2023-02-16T13:03:58.713" v="331" actId="1076"/>
          <ac:picMkLst>
            <pc:docMk/>
            <pc:sldMk cId="3432656581" sldId="943"/>
            <ac:picMk id="5" creationId="{A7CE0624-DE4C-4238-8618-DC619B9FF7AB}"/>
          </ac:picMkLst>
        </pc:picChg>
      </pc:sldChg>
      <pc:sldChg chg="del">
        <pc:chgData name="Marta" userId="eac6eb22-5f14-46b4-a4ea-a86e6e8c4acc" providerId="ADAL" clId="{936D5070-5F5B-43F3-BB98-611C2029C912}" dt="2023-02-16T12:59:07.577" v="209" actId="47"/>
        <pc:sldMkLst>
          <pc:docMk/>
          <pc:sldMk cId="890681955" sldId="944"/>
        </pc:sldMkLst>
      </pc:sldChg>
      <pc:sldChg chg="del">
        <pc:chgData name="Marta" userId="eac6eb22-5f14-46b4-a4ea-a86e6e8c4acc" providerId="ADAL" clId="{936D5070-5F5B-43F3-BB98-611C2029C912}" dt="2023-02-16T12:59:08.617" v="210" actId="47"/>
        <pc:sldMkLst>
          <pc:docMk/>
          <pc:sldMk cId="111582250" sldId="945"/>
        </pc:sldMkLst>
      </pc:sldChg>
      <pc:sldChg chg="del">
        <pc:chgData name="Marta" userId="eac6eb22-5f14-46b4-a4ea-a86e6e8c4acc" providerId="ADAL" clId="{936D5070-5F5B-43F3-BB98-611C2029C912}" dt="2023-02-16T12:59:09.404" v="211" actId="47"/>
        <pc:sldMkLst>
          <pc:docMk/>
          <pc:sldMk cId="974107895" sldId="946"/>
        </pc:sldMkLst>
      </pc:sldChg>
      <pc:sldChg chg="del">
        <pc:chgData name="Marta" userId="eac6eb22-5f14-46b4-a4ea-a86e6e8c4acc" providerId="ADAL" clId="{936D5070-5F5B-43F3-BB98-611C2029C912}" dt="2023-02-16T12:59:10.087" v="212" actId="47"/>
        <pc:sldMkLst>
          <pc:docMk/>
          <pc:sldMk cId="4242984627" sldId="947"/>
        </pc:sldMkLst>
      </pc:sldChg>
      <pc:sldChg chg="del">
        <pc:chgData name="Marta" userId="eac6eb22-5f14-46b4-a4ea-a86e6e8c4acc" providerId="ADAL" clId="{936D5070-5F5B-43F3-BB98-611C2029C912}" dt="2023-02-16T12:59:11.591" v="213" actId="47"/>
        <pc:sldMkLst>
          <pc:docMk/>
          <pc:sldMk cId="4124398999" sldId="948"/>
        </pc:sldMkLst>
      </pc:sldChg>
      <pc:sldChg chg="del">
        <pc:chgData name="Marta" userId="eac6eb22-5f14-46b4-a4ea-a86e6e8c4acc" providerId="ADAL" clId="{936D5070-5F5B-43F3-BB98-611C2029C912}" dt="2023-02-16T12:59:12.557" v="214" actId="47"/>
        <pc:sldMkLst>
          <pc:docMk/>
          <pc:sldMk cId="1849435754" sldId="949"/>
        </pc:sldMkLst>
      </pc:sldChg>
      <pc:sldChg chg="del">
        <pc:chgData name="Marta" userId="eac6eb22-5f14-46b4-a4ea-a86e6e8c4acc" providerId="ADAL" clId="{936D5070-5F5B-43F3-BB98-611C2029C912}" dt="2023-02-16T12:59:13.345" v="215" actId="47"/>
        <pc:sldMkLst>
          <pc:docMk/>
          <pc:sldMk cId="1560383876" sldId="950"/>
        </pc:sldMkLst>
      </pc:sldChg>
      <pc:sldChg chg="del">
        <pc:chgData name="Marta" userId="eac6eb22-5f14-46b4-a4ea-a86e6e8c4acc" providerId="ADAL" clId="{936D5070-5F5B-43F3-BB98-611C2029C912}" dt="2023-02-16T12:59:14.010" v="216" actId="47"/>
        <pc:sldMkLst>
          <pc:docMk/>
          <pc:sldMk cId="3505265330" sldId="951"/>
        </pc:sldMkLst>
      </pc:sldChg>
      <pc:sldChg chg="del">
        <pc:chgData name="Marta" userId="eac6eb22-5f14-46b4-a4ea-a86e6e8c4acc" providerId="ADAL" clId="{936D5070-5F5B-43F3-BB98-611C2029C912}" dt="2023-02-16T12:59:14.913" v="217" actId="47"/>
        <pc:sldMkLst>
          <pc:docMk/>
          <pc:sldMk cId="3733317656" sldId="952"/>
        </pc:sldMkLst>
      </pc:sldChg>
      <pc:sldChg chg="del">
        <pc:chgData name="Marta" userId="eac6eb22-5f14-46b4-a4ea-a86e6e8c4acc" providerId="ADAL" clId="{936D5070-5F5B-43F3-BB98-611C2029C912}" dt="2023-02-16T12:59:16.051" v="218" actId="47"/>
        <pc:sldMkLst>
          <pc:docMk/>
          <pc:sldMk cId="936962136" sldId="953"/>
        </pc:sldMkLst>
      </pc:sldChg>
      <pc:sldChg chg="del">
        <pc:chgData name="Marta" userId="eac6eb22-5f14-46b4-a4ea-a86e6e8c4acc" providerId="ADAL" clId="{936D5070-5F5B-43F3-BB98-611C2029C912}" dt="2023-02-16T12:59:17.398" v="219" actId="47"/>
        <pc:sldMkLst>
          <pc:docMk/>
          <pc:sldMk cId="1178802896" sldId="954"/>
        </pc:sldMkLst>
      </pc:sldChg>
      <pc:sldMasterChg chg="del delSldLayout">
        <pc:chgData name="Marta" userId="eac6eb22-5f14-46b4-a4ea-a86e6e8c4acc" providerId="ADAL" clId="{936D5070-5F5B-43F3-BB98-611C2029C912}" dt="2023-02-16T12:59:16.051" v="218" actId="47"/>
        <pc:sldMasterMkLst>
          <pc:docMk/>
          <pc:sldMasterMk cId="235801889" sldId="2147483754"/>
        </pc:sldMasterMkLst>
        <pc:sldLayoutChg chg="del">
          <pc:chgData name="Marta" userId="eac6eb22-5f14-46b4-a4ea-a86e6e8c4acc" providerId="ADAL" clId="{936D5070-5F5B-43F3-BB98-611C2029C912}" dt="2023-02-16T12:59:16.051" v="218" actId="47"/>
          <pc:sldLayoutMkLst>
            <pc:docMk/>
            <pc:sldMasterMk cId="235801889" sldId="2147483754"/>
            <pc:sldLayoutMk cId="1170918171" sldId="2147483701"/>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2749013029" sldId="2147483755"/>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2401638066" sldId="2147483766"/>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799152841" sldId="2147483789"/>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202722804" sldId="2147483791"/>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2819944493" sldId="2147483793"/>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4267226339" sldId="2147483814"/>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1926973244" sldId="2147483815"/>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3607340212" sldId="2147483816"/>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163655632" sldId="2147483821"/>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3565915337" sldId="2147483850"/>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2520835976" sldId="2147483851"/>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2521565361" sldId="2147483852"/>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2136131447" sldId="2147483853"/>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1835223315" sldId="2147483854"/>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904295386" sldId="2147483855"/>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1472345967" sldId="2147483856"/>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664301614" sldId="2147483857"/>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3166177130" sldId="2147483858"/>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2700206461" sldId="2147483859"/>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2595361479" sldId="2147483860"/>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2960901844" sldId="2147483872"/>
          </pc:sldLayoutMkLst>
        </pc:sldLayoutChg>
        <pc:sldLayoutChg chg="del">
          <pc:chgData name="Marta" userId="eac6eb22-5f14-46b4-a4ea-a86e6e8c4acc" providerId="ADAL" clId="{936D5070-5F5B-43F3-BB98-611C2029C912}" dt="2023-02-16T12:59:16.051" v="218" actId="47"/>
          <pc:sldLayoutMkLst>
            <pc:docMk/>
            <pc:sldMasterMk cId="235801889" sldId="2147483754"/>
            <pc:sldLayoutMk cId="690617651" sldId="2147483873"/>
          </pc:sldLayoutMkLst>
        </pc:sldLayoutChg>
      </pc:sldMasterChg>
      <pc:sldMasterChg chg="delSldLayout">
        <pc:chgData name="Marta" userId="eac6eb22-5f14-46b4-a4ea-a86e6e8c4acc" providerId="ADAL" clId="{936D5070-5F5B-43F3-BB98-611C2029C912}" dt="2023-02-16T12:59:07.577" v="209" actId="47"/>
        <pc:sldMasterMkLst>
          <pc:docMk/>
          <pc:sldMasterMk cId="3213887996" sldId="2147483807"/>
        </pc:sldMasterMkLst>
        <pc:sldLayoutChg chg="del">
          <pc:chgData name="Marta" userId="eac6eb22-5f14-46b4-a4ea-a86e6e8c4acc" providerId="ADAL" clId="{936D5070-5F5B-43F3-BB98-611C2029C912}" dt="2023-02-16T12:59:07.577" v="209" actId="47"/>
          <pc:sldLayoutMkLst>
            <pc:docMk/>
            <pc:sldMasterMk cId="3213887996" sldId="2147483807"/>
            <pc:sldLayoutMk cId="3310183657" sldId="2147483810"/>
          </pc:sldLayoutMkLst>
        </pc:sldLayoutChg>
      </pc:sldMasterChg>
      <pc:sldMasterChg chg="modSp mod">
        <pc:chgData name="Marta" userId="eac6eb22-5f14-46b4-a4ea-a86e6e8c4acc" providerId="ADAL" clId="{936D5070-5F5B-43F3-BB98-611C2029C912}" dt="2023-02-16T13:08:06.495" v="356" actId="20577"/>
        <pc:sldMasterMkLst>
          <pc:docMk/>
          <pc:sldMasterMk cId="756595898" sldId="2147483863"/>
        </pc:sldMasterMkLst>
        <pc:spChg chg="mod">
          <ac:chgData name="Marta" userId="eac6eb22-5f14-46b4-a4ea-a86e6e8c4acc" providerId="ADAL" clId="{936D5070-5F5B-43F3-BB98-611C2029C912}" dt="2023-02-16T13:08:06.495" v="356" actId="20577"/>
          <ac:spMkLst>
            <pc:docMk/>
            <pc:sldMasterMk cId="756595898" sldId="2147483863"/>
            <ac:spMk id="8" creationId="{E33FE46D-D6E4-4921-9DC5-84AC90E975E0}"/>
          </ac:spMkLst>
        </pc:spChg>
      </pc:sldMasterChg>
    </pc:docChg>
  </pc:docChgLst>
  <pc:docChgLst>
    <pc:chgData name="Marta" userId="eac6eb22-5f14-46b4-a4ea-a86e6e8c4acc" providerId="ADAL" clId="{74097406-F23F-4933-BA70-ABAFA82FF68B}"/>
    <pc:docChg chg="custSel addSld delSld modSld sldOrd addMainMaster modMainMaster modSection">
      <pc:chgData name="Marta" userId="eac6eb22-5f14-46b4-a4ea-a86e6e8c4acc" providerId="ADAL" clId="{74097406-F23F-4933-BA70-ABAFA82FF68B}" dt="2023-05-09T11:55:10.137" v="308"/>
      <pc:docMkLst>
        <pc:docMk/>
      </pc:docMkLst>
      <pc:sldChg chg="modSp mod">
        <pc:chgData name="Marta" userId="eac6eb22-5f14-46b4-a4ea-a86e6e8c4acc" providerId="ADAL" clId="{74097406-F23F-4933-BA70-ABAFA82FF68B}" dt="2023-05-01T16:41:29.169" v="19" actId="20577"/>
        <pc:sldMkLst>
          <pc:docMk/>
          <pc:sldMk cId="573922979" sldId="256"/>
        </pc:sldMkLst>
        <pc:spChg chg="mod">
          <ac:chgData name="Marta" userId="eac6eb22-5f14-46b4-a4ea-a86e6e8c4acc" providerId="ADAL" clId="{74097406-F23F-4933-BA70-ABAFA82FF68B}" dt="2023-05-01T16:41:29.169" v="19" actId="20577"/>
          <ac:spMkLst>
            <pc:docMk/>
            <pc:sldMk cId="573922979" sldId="256"/>
            <ac:spMk id="4" creationId="{00000000-0000-0000-0000-000000000000}"/>
          </ac:spMkLst>
        </pc:spChg>
      </pc:sldChg>
      <pc:sldChg chg="modSp mod">
        <pc:chgData name="Marta" userId="eac6eb22-5f14-46b4-a4ea-a86e6e8c4acc" providerId="ADAL" clId="{74097406-F23F-4933-BA70-ABAFA82FF68B}" dt="2023-05-01T16:42:13.513" v="64" actId="20577"/>
        <pc:sldMkLst>
          <pc:docMk/>
          <pc:sldMk cId="2325718728" sldId="257"/>
        </pc:sldMkLst>
        <pc:spChg chg="mod">
          <ac:chgData name="Marta" userId="eac6eb22-5f14-46b4-a4ea-a86e6e8c4acc" providerId="ADAL" clId="{74097406-F23F-4933-BA70-ABAFA82FF68B}" dt="2023-05-01T16:42:13.513" v="64" actId="20577"/>
          <ac:spMkLst>
            <pc:docMk/>
            <pc:sldMk cId="2325718728" sldId="257"/>
            <ac:spMk id="5" creationId="{00000000-0000-0000-0000-000000000000}"/>
          </ac:spMkLst>
        </pc:spChg>
      </pc:sldChg>
      <pc:sldChg chg="addSp delSp modSp mod">
        <pc:chgData name="Marta" userId="eac6eb22-5f14-46b4-a4ea-a86e6e8c4acc" providerId="ADAL" clId="{74097406-F23F-4933-BA70-ABAFA82FF68B}" dt="2023-05-09T11:55:10.137" v="308"/>
        <pc:sldMkLst>
          <pc:docMk/>
          <pc:sldMk cId="2693195115" sldId="461"/>
        </pc:sldMkLst>
        <pc:spChg chg="mod">
          <ac:chgData name="Marta" userId="eac6eb22-5f14-46b4-a4ea-a86e6e8c4acc" providerId="ADAL" clId="{74097406-F23F-4933-BA70-ABAFA82FF68B}" dt="2023-05-01T16:43:53.734" v="98"/>
          <ac:spMkLst>
            <pc:docMk/>
            <pc:sldMk cId="2693195115" sldId="461"/>
            <ac:spMk id="11" creationId="{4B37742C-E7B3-4B6F-B7F7-41C69047103B}"/>
          </ac:spMkLst>
        </pc:spChg>
        <pc:spChg chg="mod">
          <ac:chgData name="Marta" userId="eac6eb22-5f14-46b4-a4ea-a86e6e8c4acc" providerId="ADAL" clId="{74097406-F23F-4933-BA70-ABAFA82FF68B}" dt="2023-05-09T11:55:10.137" v="308"/>
          <ac:spMkLst>
            <pc:docMk/>
            <pc:sldMk cId="2693195115" sldId="461"/>
            <ac:spMk id="16" creationId="{A188A548-96A8-4D2F-8179-7CB96D16B0F5}"/>
          </ac:spMkLst>
        </pc:spChg>
        <pc:picChg chg="add mod">
          <ac:chgData name="Marta" userId="eac6eb22-5f14-46b4-a4ea-a86e6e8c4acc" providerId="ADAL" clId="{74097406-F23F-4933-BA70-ABAFA82FF68B}" dt="2023-05-01T16:43:40.682" v="97" actId="1076"/>
          <ac:picMkLst>
            <pc:docMk/>
            <pc:sldMk cId="2693195115" sldId="461"/>
            <ac:picMk id="3" creationId="{CA602723-4E70-4B02-B8F7-8A2FA6239954}"/>
          </ac:picMkLst>
        </pc:picChg>
        <pc:picChg chg="del">
          <ac:chgData name="Marta" userId="eac6eb22-5f14-46b4-a4ea-a86e6e8c4acc" providerId="ADAL" clId="{74097406-F23F-4933-BA70-ABAFA82FF68B}" dt="2023-05-01T16:43:37.280" v="95" actId="478"/>
          <ac:picMkLst>
            <pc:docMk/>
            <pc:sldMk cId="2693195115" sldId="461"/>
            <ac:picMk id="7" creationId="{B412223A-30BE-4C39-88E4-E8183FC28FA4}"/>
          </ac:picMkLst>
        </pc:picChg>
      </pc:sldChg>
      <pc:sldChg chg="modSp mod">
        <pc:chgData name="Marta" userId="eac6eb22-5f14-46b4-a4ea-a86e6e8c4acc" providerId="ADAL" clId="{74097406-F23F-4933-BA70-ABAFA82FF68B}" dt="2023-05-01T16:45:49.593" v="171" actId="20577"/>
        <pc:sldMkLst>
          <pc:docMk/>
          <pc:sldMk cId="2932444859" sldId="756"/>
        </pc:sldMkLst>
        <pc:spChg chg="mod">
          <ac:chgData name="Marta" userId="eac6eb22-5f14-46b4-a4ea-a86e6e8c4acc" providerId="ADAL" clId="{74097406-F23F-4933-BA70-ABAFA82FF68B}" dt="2023-05-01T16:45:49.593" v="171" actId="20577"/>
          <ac:spMkLst>
            <pc:docMk/>
            <pc:sldMk cId="2932444859" sldId="756"/>
            <ac:spMk id="8" creationId="{994CAA25-984D-4484-838B-9B092E7155F2}"/>
          </ac:spMkLst>
        </pc:spChg>
      </pc:sldChg>
      <pc:sldChg chg="modSp mod">
        <pc:chgData name="Marta" userId="eac6eb22-5f14-46b4-a4ea-a86e6e8c4acc" providerId="ADAL" clId="{74097406-F23F-4933-BA70-ABAFA82FF68B}" dt="2023-05-09T11:41:25.880" v="227" actId="20577"/>
        <pc:sldMkLst>
          <pc:docMk/>
          <pc:sldMk cId="4279644075" sldId="759"/>
        </pc:sldMkLst>
        <pc:spChg chg="mod">
          <ac:chgData name="Marta" userId="eac6eb22-5f14-46b4-a4ea-a86e6e8c4acc" providerId="ADAL" clId="{74097406-F23F-4933-BA70-ABAFA82FF68B}" dt="2023-05-09T11:41:25.880" v="227" actId="20577"/>
          <ac:spMkLst>
            <pc:docMk/>
            <pc:sldMk cId="4279644075" sldId="759"/>
            <ac:spMk id="9" creationId="{5EB1A567-6EC8-4912-9C2F-000067B6D567}"/>
          </ac:spMkLst>
        </pc:spChg>
      </pc:sldChg>
      <pc:sldChg chg="addSp delSp modSp mod">
        <pc:chgData name="Marta" userId="eac6eb22-5f14-46b4-a4ea-a86e6e8c4acc" providerId="ADAL" clId="{74097406-F23F-4933-BA70-ABAFA82FF68B}" dt="2023-05-09T11:54:03.746" v="307" actId="20577"/>
        <pc:sldMkLst>
          <pc:docMk/>
          <pc:sldMk cId="644561616" sldId="901"/>
        </pc:sldMkLst>
        <pc:spChg chg="mod">
          <ac:chgData name="Marta" userId="eac6eb22-5f14-46b4-a4ea-a86e6e8c4acc" providerId="ADAL" clId="{74097406-F23F-4933-BA70-ABAFA82FF68B}" dt="2023-05-01T16:44:40.651" v="148" actId="27636"/>
          <ac:spMkLst>
            <pc:docMk/>
            <pc:sldMk cId="644561616" sldId="901"/>
            <ac:spMk id="2" creationId="{F49F4E2B-EEB0-4736-A001-E9CD8947E750}"/>
          </ac:spMkLst>
        </pc:spChg>
        <pc:spChg chg="add mod">
          <ac:chgData name="Marta" userId="eac6eb22-5f14-46b4-a4ea-a86e6e8c4acc" providerId="ADAL" clId="{74097406-F23F-4933-BA70-ABAFA82FF68B}" dt="2023-05-09T11:52:34.944" v="290" actId="1038"/>
          <ac:spMkLst>
            <pc:docMk/>
            <pc:sldMk cId="644561616" sldId="901"/>
            <ac:spMk id="3" creationId="{436C595F-2E16-4F94-A9C6-30F81D6198AD}"/>
          </ac:spMkLst>
        </pc:spChg>
        <pc:spChg chg="del mod">
          <ac:chgData name="Marta" userId="eac6eb22-5f14-46b4-a4ea-a86e6e8c4acc" providerId="ADAL" clId="{74097406-F23F-4933-BA70-ABAFA82FF68B}" dt="2023-05-09T11:52:03.351" v="265" actId="478"/>
          <ac:spMkLst>
            <pc:docMk/>
            <pc:sldMk cId="644561616" sldId="901"/>
            <ac:spMk id="4" creationId="{CB0389FB-E397-40A7-A3DE-E485F87B66D1}"/>
          </ac:spMkLst>
        </pc:spChg>
        <pc:spChg chg="add mod">
          <ac:chgData name="Marta" userId="eac6eb22-5f14-46b4-a4ea-a86e6e8c4acc" providerId="ADAL" clId="{74097406-F23F-4933-BA70-ABAFA82FF68B}" dt="2023-05-09T11:54:03.746" v="307" actId="20577"/>
          <ac:spMkLst>
            <pc:docMk/>
            <pc:sldMk cId="644561616" sldId="901"/>
            <ac:spMk id="5" creationId="{FB99C0ED-DA5F-4C36-9B0A-4723CE52A93D}"/>
          </ac:spMkLst>
        </pc:spChg>
        <pc:spChg chg="mod">
          <ac:chgData name="Marta" userId="eac6eb22-5f14-46b4-a4ea-a86e6e8c4acc" providerId="ADAL" clId="{74097406-F23F-4933-BA70-ABAFA82FF68B}" dt="2023-05-09T11:52:39.828" v="295" actId="20577"/>
          <ac:spMkLst>
            <pc:docMk/>
            <pc:sldMk cId="644561616" sldId="901"/>
            <ac:spMk id="10" creationId="{66421E13-941D-487E-9F8E-DCFA3FE9C646}"/>
          </ac:spMkLst>
        </pc:spChg>
        <pc:spChg chg="add mod">
          <ac:chgData name="Marta" userId="eac6eb22-5f14-46b4-a4ea-a86e6e8c4acc" providerId="ADAL" clId="{74097406-F23F-4933-BA70-ABAFA82FF68B}" dt="2023-05-09T11:52:42.051" v="300" actId="20577"/>
          <ac:spMkLst>
            <pc:docMk/>
            <pc:sldMk cId="644561616" sldId="901"/>
            <ac:spMk id="11" creationId="{4135F822-054C-43E5-83F5-7761E6D45034}"/>
          </ac:spMkLst>
        </pc:spChg>
        <pc:picChg chg="mod">
          <ac:chgData name="Marta" userId="eac6eb22-5f14-46b4-a4ea-a86e6e8c4acc" providerId="ADAL" clId="{74097406-F23F-4933-BA70-ABAFA82FF68B}" dt="2023-05-09T11:52:14.603" v="284" actId="1076"/>
          <ac:picMkLst>
            <pc:docMk/>
            <pc:sldMk cId="644561616" sldId="901"/>
            <ac:picMk id="9" creationId="{B8D64328-8E47-45C4-B0B5-5CD2B02F6B83}"/>
          </ac:picMkLst>
        </pc:picChg>
      </pc:sldChg>
      <pc:sldChg chg="modSp mod">
        <pc:chgData name="Marta" userId="eac6eb22-5f14-46b4-a4ea-a86e6e8c4acc" providerId="ADAL" clId="{74097406-F23F-4933-BA70-ABAFA82FF68B}" dt="2023-05-01T16:43:05.921" v="94" actId="20577"/>
        <pc:sldMkLst>
          <pc:docMk/>
          <pc:sldMk cId="198001124" sldId="940"/>
        </pc:sldMkLst>
        <pc:spChg chg="mod">
          <ac:chgData name="Marta" userId="eac6eb22-5f14-46b4-a4ea-a86e6e8c4acc" providerId="ADAL" clId="{74097406-F23F-4933-BA70-ABAFA82FF68B}" dt="2023-05-01T16:43:05.921" v="94" actId="20577"/>
          <ac:spMkLst>
            <pc:docMk/>
            <pc:sldMk cId="198001124" sldId="940"/>
            <ac:spMk id="20" creationId="{9A5B8236-1DEC-4099-8440-0120734D500C}"/>
          </ac:spMkLst>
        </pc:spChg>
      </pc:sldChg>
      <pc:sldChg chg="addSp delSp modSp del mod">
        <pc:chgData name="Marta" userId="eac6eb22-5f14-46b4-a4ea-a86e6e8c4acc" providerId="ADAL" clId="{74097406-F23F-4933-BA70-ABAFA82FF68B}" dt="2023-05-09T11:52:21.573" v="285" actId="47"/>
        <pc:sldMkLst>
          <pc:docMk/>
          <pc:sldMk cId="3432656581" sldId="943"/>
        </pc:sldMkLst>
        <pc:spChg chg="del mod">
          <ac:chgData name="Marta" userId="eac6eb22-5f14-46b4-a4ea-a86e6e8c4acc" providerId="ADAL" clId="{74097406-F23F-4933-BA70-ABAFA82FF68B}" dt="2023-05-09T11:50:23.453" v="231" actId="21"/>
          <ac:spMkLst>
            <pc:docMk/>
            <pc:sldMk cId="3432656581" sldId="943"/>
            <ac:spMk id="2" creationId="{F49F4E2B-EEB0-4736-A001-E9CD8947E750}"/>
          </ac:spMkLst>
        </pc:spChg>
        <pc:spChg chg="add mod">
          <ac:chgData name="Marta" userId="eac6eb22-5f14-46b4-a4ea-a86e6e8c4acc" providerId="ADAL" clId="{74097406-F23F-4933-BA70-ABAFA82FF68B}" dt="2023-05-09T11:50:15.314" v="228" actId="21"/>
          <ac:spMkLst>
            <pc:docMk/>
            <pc:sldMk cId="3432656581" sldId="943"/>
            <ac:spMk id="7" creationId="{076E5A86-2228-4ECB-AF16-A96981B4A21F}"/>
          </ac:spMkLst>
        </pc:spChg>
        <pc:spChg chg="del">
          <ac:chgData name="Marta" userId="eac6eb22-5f14-46b4-a4ea-a86e6e8c4acc" providerId="ADAL" clId="{74097406-F23F-4933-BA70-ABAFA82FF68B}" dt="2023-05-09T11:50:15.314" v="228" actId="21"/>
          <ac:spMkLst>
            <pc:docMk/>
            <pc:sldMk cId="3432656581" sldId="943"/>
            <ac:spMk id="10" creationId="{66421E13-941D-487E-9F8E-DCFA3FE9C646}"/>
          </ac:spMkLst>
        </pc:spChg>
        <pc:picChg chg="mod">
          <ac:chgData name="Marta" userId="eac6eb22-5f14-46b4-a4ea-a86e6e8c4acc" providerId="ADAL" clId="{74097406-F23F-4933-BA70-ABAFA82FF68B}" dt="2023-05-01T16:45:38.264" v="160" actId="1076"/>
          <ac:picMkLst>
            <pc:docMk/>
            <pc:sldMk cId="3432656581" sldId="943"/>
            <ac:picMk id="5" creationId="{A7CE0624-DE4C-4238-8618-DC619B9FF7AB}"/>
          </ac:picMkLst>
        </pc:picChg>
      </pc:sldChg>
      <pc:sldChg chg="modSp add">
        <pc:chgData name="Marta" userId="eac6eb22-5f14-46b4-a4ea-a86e6e8c4acc" providerId="ADAL" clId="{74097406-F23F-4933-BA70-ABAFA82FF68B}" dt="2023-05-08T11:11:54.374" v="173"/>
        <pc:sldMkLst>
          <pc:docMk/>
          <pc:sldMk cId="1373869356" sldId="944"/>
        </pc:sldMkLst>
        <pc:spChg chg="mod">
          <ac:chgData name="Marta" userId="eac6eb22-5f14-46b4-a4ea-a86e6e8c4acc" providerId="ADAL" clId="{74097406-F23F-4933-BA70-ABAFA82FF68B}" dt="2023-05-08T11:11:54.374" v="173"/>
          <ac:spMkLst>
            <pc:docMk/>
            <pc:sldMk cId="1373869356" sldId="944"/>
            <ac:spMk id="10" creationId="{DD652840-7A70-1B4E-DF0F-3605527934E2}"/>
          </ac:spMkLst>
        </pc:spChg>
        <pc:spChg chg="mod">
          <ac:chgData name="Marta" userId="eac6eb22-5f14-46b4-a4ea-a86e6e8c4acc" providerId="ADAL" clId="{74097406-F23F-4933-BA70-ABAFA82FF68B}" dt="2023-05-08T11:11:54.374" v="173"/>
          <ac:spMkLst>
            <pc:docMk/>
            <pc:sldMk cId="1373869356" sldId="944"/>
            <ac:spMk id="11" creationId="{FB6AFEF6-F276-4AE1-D78E-35D4A0957361}"/>
          </ac:spMkLst>
        </pc:spChg>
        <pc:spChg chg="mod">
          <ac:chgData name="Marta" userId="eac6eb22-5f14-46b4-a4ea-a86e6e8c4acc" providerId="ADAL" clId="{74097406-F23F-4933-BA70-ABAFA82FF68B}" dt="2023-05-08T11:11:54.374" v="173"/>
          <ac:spMkLst>
            <pc:docMk/>
            <pc:sldMk cId="1373869356" sldId="944"/>
            <ac:spMk id="13" creationId="{B1078FB5-5843-4729-5CB6-9F3307226EA7}"/>
          </ac:spMkLst>
        </pc:spChg>
        <pc:grpChg chg="mod">
          <ac:chgData name="Marta" userId="eac6eb22-5f14-46b4-a4ea-a86e6e8c4acc" providerId="ADAL" clId="{74097406-F23F-4933-BA70-ABAFA82FF68B}" dt="2023-05-08T11:11:54.374" v="173"/>
          <ac:grpSpMkLst>
            <pc:docMk/>
            <pc:sldMk cId="1373869356" sldId="944"/>
            <ac:grpSpMk id="1" creationId="{00000000-0000-0000-0000-000000000000}"/>
          </ac:grpSpMkLst>
        </pc:grpChg>
        <pc:graphicFrameChg chg="mod">
          <ac:chgData name="Marta" userId="eac6eb22-5f14-46b4-a4ea-a86e6e8c4acc" providerId="ADAL" clId="{74097406-F23F-4933-BA70-ABAFA82FF68B}" dt="2023-05-08T11:11:54.374" v="173"/>
          <ac:graphicFrameMkLst>
            <pc:docMk/>
            <pc:sldMk cId="1373869356" sldId="944"/>
            <ac:graphicFrameMk id="2" creationId="{00000000-0000-0000-0000-000000000000}"/>
          </ac:graphicFrameMkLst>
        </pc:graphicFrameChg>
        <pc:picChg chg="mod">
          <ac:chgData name="Marta" userId="eac6eb22-5f14-46b4-a4ea-a86e6e8c4acc" providerId="ADAL" clId="{74097406-F23F-4933-BA70-ABAFA82FF68B}" dt="2023-05-08T11:11:54.374" v="173"/>
          <ac:picMkLst>
            <pc:docMk/>
            <pc:sldMk cId="1373869356" sldId="944"/>
            <ac:picMk id="3" creationId="{8A1D6270-2229-8670-7180-1D9B8F7046C7}"/>
          </ac:picMkLst>
        </pc:picChg>
        <pc:picChg chg="mod">
          <ac:chgData name="Marta" userId="eac6eb22-5f14-46b4-a4ea-a86e6e8c4acc" providerId="ADAL" clId="{74097406-F23F-4933-BA70-ABAFA82FF68B}" dt="2023-05-08T11:11:54.374" v="173"/>
          <ac:picMkLst>
            <pc:docMk/>
            <pc:sldMk cId="1373869356" sldId="944"/>
            <ac:picMk id="12" creationId="{9BCF1EE4-2B05-60FC-8E58-3E5CC6B82525}"/>
          </ac:picMkLst>
        </pc:picChg>
      </pc:sldChg>
      <pc:sldChg chg="add">
        <pc:chgData name="Marta" userId="eac6eb22-5f14-46b4-a4ea-a86e6e8c4acc" providerId="ADAL" clId="{74097406-F23F-4933-BA70-ABAFA82FF68B}" dt="2023-05-08T11:11:54.589" v="175"/>
        <pc:sldMkLst>
          <pc:docMk/>
          <pc:sldMk cId="270197497" sldId="945"/>
        </pc:sldMkLst>
      </pc:sldChg>
      <pc:sldChg chg="modSp add">
        <pc:chgData name="Marta" userId="eac6eb22-5f14-46b4-a4ea-a86e6e8c4acc" providerId="ADAL" clId="{74097406-F23F-4933-BA70-ABAFA82FF68B}" dt="2023-05-08T11:11:54.687" v="177"/>
        <pc:sldMkLst>
          <pc:docMk/>
          <pc:sldMk cId="1596509196" sldId="946"/>
        </pc:sldMkLst>
        <pc:spChg chg="mod">
          <ac:chgData name="Marta" userId="eac6eb22-5f14-46b4-a4ea-a86e6e8c4acc" providerId="ADAL" clId="{74097406-F23F-4933-BA70-ABAFA82FF68B}" dt="2023-05-08T11:11:54.687" v="177"/>
          <ac:spMkLst>
            <pc:docMk/>
            <pc:sldMk cId="1596509196" sldId="946"/>
            <ac:spMk id="2" creationId="{00000000-0000-0000-0000-000000000000}"/>
          </ac:spMkLst>
        </pc:spChg>
        <pc:spChg chg="mod">
          <ac:chgData name="Marta" userId="eac6eb22-5f14-46b4-a4ea-a86e6e8c4acc" providerId="ADAL" clId="{74097406-F23F-4933-BA70-ABAFA82FF68B}" dt="2023-05-08T11:11:54.687" v="177"/>
          <ac:spMkLst>
            <pc:docMk/>
            <pc:sldMk cId="1596509196" sldId="946"/>
            <ac:spMk id="3" creationId="{00000000-0000-0000-0000-000000000000}"/>
          </ac:spMkLst>
        </pc:spChg>
        <pc:spChg chg="mod">
          <ac:chgData name="Marta" userId="eac6eb22-5f14-46b4-a4ea-a86e6e8c4acc" providerId="ADAL" clId="{74097406-F23F-4933-BA70-ABAFA82FF68B}" dt="2023-05-08T11:11:54.687" v="177"/>
          <ac:spMkLst>
            <pc:docMk/>
            <pc:sldMk cId="1596509196" sldId="946"/>
            <ac:spMk id="7" creationId="{25E6E619-3CF3-B211-D72D-1C01FED25DC6}"/>
          </ac:spMkLst>
        </pc:spChg>
        <pc:spChg chg="mod">
          <ac:chgData name="Marta" userId="eac6eb22-5f14-46b4-a4ea-a86e6e8c4acc" providerId="ADAL" clId="{74097406-F23F-4933-BA70-ABAFA82FF68B}" dt="2023-05-08T11:11:54.687" v="177"/>
          <ac:spMkLst>
            <pc:docMk/>
            <pc:sldMk cId="1596509196" sldId="946"/>
            <ac:spMk id="9" creationId="{6F90B317-A490-0F80-DB8E-7C992EC0B78F}"/>
          </ac:spMkLst>
        </pc:spChg>
        <pc:spChg chg="mod">
          <ac:chgData name="Marta" userId="eac6eb22-5f14-46b4-a4ea-a86e6e8c4acc" providerId="ADAL" clId="{74097406-F23F-4933-BA70-ABAFA82FF68B}" dt="2023-05-08T11:11:54.687" v="177"/>
          <ac:spMkLst>
            <pc:docMk/>
            <pc:sldMk cId="1596509196" sldId="946"/>
            <ac:spMk id="10" creationId="{037C4617-D0B8-7762-B9C7-B603307FFE69}"/>
          </ac:spMkLst>
        </pc:spChg>
        <pc:spChg chg="mod">
          <ac:chgData name="Marta" userId="eac6eb22-5f14-46b4-a4ea-a86e6e8c4acc" providerId="ADAL" clId="{74097406-F23F-4933-BA70-ABAFA82FF68B}" dt="2023-05-08T11:11:54.687" v="177"/>
          <ac:spMkLst>
            <pc:docMk/>
            <pc:sldMk cId="1596509196" sldId="946"/>
            <ac:spMk id="11" creationId="{385FD51F-849D-3DA1-BE4C-B1F322B27A3B}"/>
          </ac:spMkLst>
        </pc:spChg>
        <pc:spChg chg="mod">
          <ac:chgData name="Marta" userId="eac6eb22-5f14-46b4-a4ea-a86e6e8c4acc" providerId="ADAL" clId="{74097406-F23F-4933-BA70-ABAFA82FF68B}" dt="2023-05-08T11:11:54.687" v="177"/>
          <ac:spMkLst>
            <pc:docMk/>
            <pc:sldMk cId="1596509196" sldId="946"/>
            <ac:spMk id="12" creationId="{5522FFFC-835F-3F9C-BA29-36EDB1B52C88}"/>
          </ac:spMkLst>
        </pc:spChg>
        <pc:spChg chg="mod">
          <ac:chgData name="Marta" userId="eac6eb22-5f14-46b4-a4ea-a86e6e8c4acc" providerId="ADAL" clId="{74097406-F23F-4933-BA70-ABAFA82FF68B}" dt="2023-05-08T11:11:54.687" v="177"/>
          <ac:spMkLst>
            <pc:docMk/>
            <pc:sldMk cId="1596509196" sldId="946"/>
            <ac:spMk id="23" creationId="{00000000-0000-0000-0000-000000000000}"/>
          </ac:spMkLst>
        </pc:spChg>
        <pc:spChg chg="mod">
          <ac:chgData name="Marta" userId="eac6eb22-5f14-46b4-a4ea-a86e6e8c4acc" providerId="ADAL" clId="{74097406-F23F-4933-BA70-ABAFA82FF68B}" dt="2023-05-08T11:11:54.687" v="177"/>
          <ac:spMkLst>
            <pc:docMk/>
            <pc:sldMk cId="1596509196" sldId="946"/>
            <ac:spMk id="24" creationId="{00000000-0000-0000-0000-000000000000}"/>
          </ac:spMkLst>
        </pc:spChg>
        <pc:spChg chg="mod">
          <ac:chgData name="Marta" userId="eac6eb22-5f14-46b4-a4ea-a86e6e8c4acc" providerId="ADAL" clId="{74097406-F23F-4933-BA70-ABAFA82FF68B}" dt="2023-05-08T11:11:54.687" v="177"/>
          <ac:spMkLst>
            <pc:docMk/>
            <pc:sldMk cId="1596509196" sldId="946"/>
            <ac:spMk id="26" creationId="{00000000-0000-0000-0000-000000000000}"/>
          </ac:spMkLst>
        </pc:spChg>
        <pc:spChg chg="mod">
          <ac:chgData name="Marta" userId="eac6eb22-5f14-46b4-a4ea-a86e6e8c4acc" providerId="ADAL" clId="{74097406-F23F-4933-BA70-ABAFA82FF68B}" dt="2023-05-08T11:11:54.687" v="177"/>
          <ac:spMkLst>
            <pc:docMk/>
            <pc:sldMk cId="1596509196" sldId="946"/>
            <ac:spMk id="27" creationId="{00000000-0000-0000-0000-000000000000}"/>
          </ac:spMkLst>
        </pc:spChg>
        <pc:grpChg chg="mod">
          <ac:chgData name="Marta" userId="eac6eb22-5f14-46b4-a4ea-a86e6e8c4acc" providerId="ADAL" clId="{74097406-F23F-4933-BA70-ABAFA82FF68B}" dt="2023-05-08T11:11:54.687" v="177"/>
          <ac:grpSpMkLst>
            <pc:docMk/>
            <pc:sldMk cId="1596509196" sldId="946"/>
            <ac:grpSpMk id="1" creationId="{00000000-0000-0000-0000-000000000000}"/>
          </ac:grpSpMkLst>
        </pc:grpChg>
        <pc:grpChg chg="mod">
          <ac:chgData name="Marta" userId="eac6eb22-5f14-46b4-a4ea-a86e6e8c4acc" providerId="ADAL" clId="{74097406-F23F-4933-BA70-ABAFA82FF68B}" dt="2023-05-08T11:11:54.687" v="177"/>
          <ac:grpSpMkLst>
            <pc:docMk/>
            <pc:sldMk cId="1596509196" sldId="946"/>
            <ac:grpSpMk id="22" creationId="{00000000-0000-0000-0000-000000000000}"/>
          </ac:grpSpMkLst>
        </pc:grpChg>
        <pc:graphicFrameChg chg="mod">
          <ac:chgData name="Marta" userId="eac6eb22-5f14-46b4-a4ea-a86e6e8c4acc" providerId="ADAL" clId="{74097406-F23F-4933-BA70-ABAFA82FF68B}" dt="2023-05-08T11:11:54.687" v="177"/>
          <ac:graphicFrameMkLst>
            <pc:docMk/>
            <pc:sldMk cId="1596509196" sldId="946"/>
            <ac:graphicFrameMk id="5" creationId="{00000000-0000-0000-0000-000000000000}"/>
          </ac:graphicFrameMkLst>
        </pc:graphicFrameChg>
        <pc:graphicFrameChg chg="mod">
          <ac:chgData name="Marta" userId="eac6eb22-5f14-46b4-a4ea-a86e6e8c4acc" providerId="ADAL" clId="{74097406-F23F-4933-BA70-ABAFA82FF68B}" dt="2023-05-08T11:11:54.687" v="177"/>
          <ac:graphicFrameMkLst>
            <pc:docMk/>
            <pc:sldMk cId="1596509196" sldId="946"/>
            <ac:graphicFrameMk id="6" creationId="{00000000-0000-0000-0000-000000000000}"/>
          </ac:graphicFrameMkLst>
        </pc:graphicFrameChg>
      </pc:sldChg>
      <pc:sldChg chg="modSp add">
        <pc:chgData name="Marta" userId="eac6eb22-5f14-46b4-a4ea-a86e6e8c4acc" providerId="ADAL" clId="{74097406-F23F-4933-BA70-ABAFA82FF68B}" dt="2023-05-08T11:11:54.818" v="179"/>
        <pc:sldMkLst>
          <pc:docMk/>
          <pc:sldMk cId="1448390404" sldId="947"/>
        </pc:sldMkLst>
        <pc:spChg chg="mod">
          <ac:chgData name="Marta" userId="eac6eb22-5f14-46b4-a4ea-a86e6e8c4acc" providerId="ADAL" clId="{74097406-F23F-4933-BA70-ABAFA82FF68B}" dt="2023-05-08T11:11:54.818" v="179"/>
          <ac:spMkLst>
            <pc:docMk/>
            <pc:sldMk cId="1448390404" sldId="947"/>
            <ac:spMk id="2" creationId="{00000000-0000-0000-0000-000000000000}"/>
          </ac:spMkLst>
        </pc:spChg>
        <pc:spChg chg="mod">
          <ac:chgData name="Marta" userId="eac6eb22-5f14-46b4-a4ea-a86e6e8c4acc" providerId="ADAL" clId="{74097406-F23F-4933-BA70-ABAFA82FF68B}" dt="2023-05-08T11:11:54.818" v="179"/>
          <ac:spMkLst>
            <pc:docMk/>
            <pc:sldMk cId="1448390404" sldId="947"/>
            <ac:spMk id="3" creationId="{00000000-0000-0000-0000-000000000000}"/>
          </ac:spMkLst>
        </pc:spChg>
        <pc:spChg chg="mod">
          <ac:chgData name="Marta" userId="eac6eb22-5f14-46b4-a4ea-a86e6e8c4acc" providerId="ADAL" clId="{74097406-F23F-4933-BA70-ABAFA82FF68B}" dt="2023-05-08T11:11:54.818" v="179"/>
          <ac:spMkLst>
            <pc:docMk/>
            <pc:sldMk cId="1448390404" sldId="947"/>
            <ac:spMk id="4" creationId="{C85930CF-C48A-FE8D-0FB3-836F88C4E65F}"/>
          </ac:spMkLst>
        </pc:spChg>
        <pc:spChg chg="mod">
          <ac:chgData name="Marta" userId="eac6eb22-5f14-46b4-a4ea-a86e6e8c4acc" providerId="ADAL" clId="{74097406-F23F-4933-BA70-ABAFA82FF68B}" dt="2023-05-08T11:11:54.818" v="179"/>
          <ac:spMkLst>
            <pc:docMk/>
            <pc:sldMk cId="1448390404" sldId="947"/>
            <ac:spMk id="8" creationId="{EC427A5B-AF7C-F20E-D465-A5DFF93BA9EB}"/>
          </ac:spMkLst>
        </pc:spChg>
        <pc:spChg chg="mod">
          <ac:chgData name="Marta" userId="eac6eb22-5f14-46b4-a4ea-a86e6e8c4acc" providerId="ADAL" clId="{74097406-F23F-4933-BA70-ABAFA82FF68B}" dt="2023-05-08T11:11:54.818" v="179"/>
          <ac:spMkLst>
            <pc:docMk/>
            <pc:sldMk cId="1448390404" sldId="947"/>
            <ac:spMk id="9" creationId="{6F90B317-A490-0F80-DB8E-7C992EC0B78F}"/>
          </ac:spMkLst>
        </pc:spChg>
        <pc:spChg chg="mod">
          <ac:chgData name="Marta" userId="eac6eb22-5f14-46b4-a4ea-a86e6e8c4acc" providerId="ADAL" clId="{74097406-F23F-4933-BA70-ABAFA82FF68B}" dt="2023-05-08T11:11:54.818" v="179"/>
          <ac:spMkLst>
            <pc:docMk/>
            <pc:sldMk cId="1448390404" sldId="947"/>
            <ac:spMk id="10" creationId="{037C4617-D0B8-7762-B9C7-B603307FFE69}"/>
          </ac:spMkLst>
        </pc:spChg>
        <pc:spChg chg="mod">
          <ac:chgData name="Marta" userId="eac6eb22-5f14-46b4-a4ea-a86e6e8c4acc" providerId="ADAL" clId="{74097406-F23F-4933-BA70-ABAFA82FF68B}" dt="2023-05-08T11:11:54.818" v="179"/>
          <ac:spMkLst>
            <pc:docMk/>
            <pc:sldMk cId="1448390404" sldId="947"/>
            <ac:spMk id="11" creationId="{385FD51F-849D-3DA1-BE4C-B1F322B27A3B}"/>
          </ac:spMkLst>
        </pc:spChg>
        <pc:spChg chg="mod">
          <ac:chgData name="Marta" userId="eac6eb22-5f14-46b4-a4ea-a86e6e8c4acc" providerId="ADAL" clId="{74097406-F23F-4933-BA70-ABAFA82FF68B}" dt="2023-05-08T11:11:54.818" v="179"/>
          <ac:spMkLst>
            <pc:docMk/>
            <pc:sldMk cId="1448390404" sldId="947"/>
            <ac:spMk id="12" creationId="{5522FFFC-835F-3F9C-BA29-36EDB1B52C88}"/>
          </ac:spMkLst>
        </pc:spChg>
        <pc:spChg chg="mod">
          <ac:chgData name="Marta" userId="eac6eb22-5f14-46b4-a4ea-a86e6e8c4acc" providerId="ADAL" clId="{74097406-F23F-4933-BA70-ABAFA82FF68B}" dt="2023-05-08T11:11:54.818" v="179"/>
          <ac:spMkLst>
            <pc:docMk/>
            <pc:sldMk cId="1448390404" sldId="947"/>
            <ac:spMk id="18" creationId="{1E85FA43-3AD6-71A5-4926-2A391E5EE1F4}"/>
          </ac:spMkLst>
        </pc:spChg>
        <pc:spChg chg="mod">
          <ac:chgData name="Marta" userId="eac6eb22-5f14-46b4-a4ea-a86e6e8c4acc" providerId="ADAL" clId="{74097406-F23F-4933-BA70-ABAFA82FF68B}" dt="2023-05-08T11:11:54.818" v="179"/>
          <ac:spMkLst>
            <pc:docMk/>
            <pc:sldMk cId="1448390404" sldId="947"/>
            <ac:spMk id="19" creationId="{7489D156-1AAD-7075-C189-779D2A52306B}"/>
          </ac:spMkLst>
        </pc:spChg>
        <pc:spChg chg="mod">
          <ac:chgData name="Marta" userId="eac6eb22-5f14-46b4-a4ea-a86e6e8c4acc" providerId="ADAL" clId="{74097406-F23F-4933-BA70-ABAFA82FF68B}" dt="2023-05-08T11:11:54.818" v="179"/>
          <ac:spMkLst>
            <pc:docMk/>
            <pc:sldMk cId="1448390404" sldId="947"/>
            <ac:spMk id="20" creationId="{E8224371-34A0-4356-3CBA-06B864D0B9DC}"/>
          </ac:spMkLst>
        </pc:spChg>
        <pc:spChg chg="mod">
          <ac:chgData name="Marta" userId="eac6eb22-5f14-46b4-a4ea-a86e6e8c4acc" providerId="ADAL" clId="{74097406-F23F-4933-BA70-ABAFA82FF68B}" dt="2023-05-08T11:11:54.818" v="179"/>
          <ac:spMkLst>
            <pc:docMk/>
            <pc:sldMk cId="1448390404" sldId="947"/>
            <ac:spMk id="21" creationId="{B4E9173E-81C4-E4C7-1EA2-CE21C3DCAF52}"/>
          </ac:spMkLst>
        </pc:spChg>
        <pc:spChg chg="mod">
          <ac:chgData name="Marta" userId="eac6eb22-5f14-46b4-a4ea-a86e6e8c4acc" providerId="ADAL" clId="{74097406-F23F-4933-BA70-ABAFA82FF68B}" dt="2023-05-08T11:11:54.818" v="179"/>
          <ac:spMkLst>
            <pc:docMk/>
            <pc:sldMk cId="1448390404" sldId="947"/>
            <ac:spMk id="33" creationId="{74A89265-98E8-5F61-FA88-3A9447764A2E}"/>
          </ac:spMkLst>
        </pc:spChg>
        <pc:spChg chg="mod">
          <ac:chgData name="Marta" userId="eac6eb22-5f14-46b4-a4ea-a86e6e8c4acc" providerId="ADAL" clId="{74097406-F23F-4933-BA70-ABAFA82FF68B}" dt="2023-05-08T11:11:54.818" v="179"/>
          <ac:spMkLst>
            <pc:docMk/>
            <pc:sldMk cId="1448390404" sldId="947"/>
            <ac:spMk id="34" creationId="{6BB27B07-D196-4BCF-5DBA-0D378D2E1B83}"/>
          </ac:spMkLst>
        </pc:spChg>
        <pc:spChg chg="mod">
          <ac:chgData name="Marta" userId="eac6eb22-5f14-46b4-a4ea-a86e6e8c4acc" providerId="ADAL" clId="{74097406-F23F-4933-BA70-ABAFA82FF68B}" dt="2023-05-08T11:11:54.818" v="179"/>
          <ac:spMkLst>
            <pc:docMk/>
            <pc:sldMk cId="1448390404" sldId="947"/>
            <ac:spMk id="37" creationId="{83C943FE-BF69-9287-6071-A23FCCFB0CCB}"/>
          </ac:spMkLst>
        </pc:spChg>
        <pc:spChg chg="mod">
          <ac:chgData name="Marta" userId="eac6eb22-5f14-46b4-a4ea-a86e6e8c4acc" providerId="ADAL" clId="{74097406-F23F-4933-BA70-ABAFA82FF68B}" dt="2023-05-08T11:11:54.818" v="179"/>
          <ac:spMkLst>
            <pc:docMk/>
            <pc:sldMk cId="1448390404" sldId="947"/>
            <ac:spMk id="40" creationId="{447B84F0-EF49-E530-8D97-E6A427D712C1}"/>
          </ac:spMkLst>
        </pc:spChg>
        <pc:spChg chg="mod">
          <ac:chgData name="Marta" userId="eac6eb22-5f14-46b4-a4ea-a86e6e8c4acc" providerId="ADAL" clId="{74097406-F23F-4933-BA70-ABAFA82FF68B}" dt="2023-05-08T11:11:54.818" v="179"/>
          <ac:spMkLst>
            <pc:docMk/>
            <pc:sldMk cId="1448390404" sldId="947"/>
            <ac:spMk id="41" creationId="{2C91AAF7-2DB9-CBFE-9D29-5707E089C2AA}"/>
          </ac:spMkLst>
        </pc:spChg>
        <pc:spChg chg="mod">
          <ac:chgData name="Marta" userId="eac6eb22-5f14-46b4-a4ea-a86e6e8c4acc" providerId="ADAL" clId="{74097406-F23F-4933-BA70-ABAFA82FF68B}" dt="2023-05-08T11:11:54.818" v="179"/>
          <ac:spMkLst>
            <pc:docMk/>
            <pc:sldMk cId="1448390404" sldId="947"/>
            <ac:spMk id="43" creationId="{87747531-A7DB-E41C-2B88-570B14142C33}"/>
          </ac:spMkLst>
        </pc:spChg>
        <pc:spChg chg="mod">
          <ac:chgData name="Marta" userId="eac6eb22-5f14-46b4-a4ea-a86e6e8c4acc" providerId="ADAL" clId="{74097406-F23F-4933-BA70-ABAFA82FF68B}" dt="2023-05-08T11:11:54.818" v="179"/>
          <ac:spMkLst>
            <pc:docMk/>
            <pc:sldMk cId="1448390404" sldId="947"/>
            <ac:spMk id="46" creationId="{0E90E0FE-161D-938A-E06A-18EC1B0AF299}"/>
          </ac:spMkLst>
        </pc:spChg>
        <pc:spChg chg="mod">
          <ac:chgData name="Marta" userId="eac6eb22-5f14-46b4-a4ea-a86e6e8c4acc" providerId="ADAL" clId="{74097406-F23F-4933-BA70-ABAFA82FF68B}" dt="2023-05-08T11:11:54.818" v="179"/>
          <ac:spMkLst>
            <pc:docMk/>
            <pc:sldMk cId="1448390404" sldId="947"/>
            <ac:spMk id="47" creationId="{A9AD734B-0F9F-0FD8-5BB6-55AF274930A8}"/>
          </ac:spMkLst>
        </pc:spChg>
        <pc:spChg chg="mod">
          <ac:chgData name="Marta" userId="eac6eb22-5f14-46b4-a4ea-a86e6e8c4acc" providerId="ADAL" clId="{74097406-F23F-4933-BA70-ABAFA82FF68B}" dt="2023-05-08T11:11:54.818" v="179"/>
          <ac:spMkLst>
            <pc:docMk/>
            <pc:sldMk cId="1448390404" sldId="947"/>
            <ac:spMk id="48" creationId="{8A699CC5-E393-A118-3B95-C061C219B165}"/>
          </ac:spMkLst>
        </pc:spChg>
        <pc:spChg chg="mod">
          <ac:chgData name="Marta" userId="eac6eb22-5f14-46b4-a4ea-a86e6e8c4acc" providerId="ADAL" clId="{74097406-F23F-4933-BA70-ABAFA82FF68B}" dt="2023-05-08T11:11:54.818" v="179"/>
          <ac:spMkLst>
            <pc:docMk/>
            <pc:sldMk cId="1448390404" sldId="947"/>
            <ac:spMk id="49" creationId="{78AB6064-AF38-5A4C-29AE-980680958E5B}"/>
          </ac:spMkLst>
        </pc:spChg>
        <pc:spChg chg="mod">
          <ac:chgData name="Marta" userId="eac6eb22-5f14-46b4-a4ea-a86e6e8c4acc" providerId="ADAL" clId="{74097406-F23F-4933-BA70-ABAFA82FF68B}" dt="2023-05-08T11:11:54.818" v="179"/>
          <ac:spMkLst>
            <pc:docMk/>
            <pc:sldMk cId="1448390404" sldId="947"/>
            <ac:spMk id="50" creationId="{92D46EAC-9447-D4B4-7DAE-2981E6805480}"/>
          </ac:spMkLst>
        </pc:spChg>
        <pc:grpChg chg="mod">
          <ac:chgData name="Marta" userId="eac6eb22-5f14-46b4-a4ea-a86e6e8c4acc" providerId="ADAL" clId="{74097406-F23F-4933-BA70-ABAFA82FF68B}" dt="2023-05-08T11:11:54.818" v="179"/>
          <ac:grpSpMkLst>
            <pc:docMk/>
            <pc:sldMk cId="1448390404" sldId="947"/>
            <ac:grpSpMk id="1" creationId="{00000000-0000-0000-0000-000000000000}"/>
          </ac:grpSpMkLst>
        </pc:grpChg>
        <pc:grpChg chg="mod">
          <ac:chgData name="Marta" userId="eac6eb22-5f14-46b4-a4ea-a86e6e8c4acc" providerId="ADAL" clId="{74097406-F23F-4933-BA70-ABAFA82FF68B}" dt="2023-05-08T11:11:54.818" v="179"/>
          <ac:grpSpMkLst>
            <pc:docMk/>
            <pc:sldMk cId="1448390404" sldId="947"/>
            <ac:grpSpMk id="13" creationId="{6F2847B2-3FC9-C6D0-D457-ED520A67606A}"/>
          </ac:grpSpMkLst>
        </pc:grpChg>
        <pc:grpChg chg="mod">
          <ac:chgData name="Marta" userId="eac6eb22-5f14-46b4-a4ea-a86e6e8c4acc" providerId="ADAL" clId="{74097406-F23F-4933-BA70-ABAFA82FF68B}" dt="2023-05-08T11:11:54.818" v="179"/>
          <ac:grpSpMkLst>
            <pc:docMk/>
            <pc:sldMk cId="1448390404" sldId="947"/>
            <ac:grpSpMk id="14" creationId="{7A20E893-DA16-D05E-794A-51237FAAC296}"/>
          </ac:grpSpMkLst>
        </pc:grpChg>
        <pc:grpChg chg="mod">
          <ac:chgData name="Marta" userId="eac6eb22-5f14-46b4-a4ea-a86e6e8c4acc" providerId="ADAL" clId="{74097406-F23F-4933-BA70-ABAFA82FF68B}" dt="2023-05-08T11:11:54.818" v="179"/>
          <ac:grpSpMkLst>
            <pc:docMk/>
            <pc:sldMk cId="1448390404" sldId="947"/>
            <ac:grpSpMk id="28" creationId="{4A5F2621-F95C-0807-DCE3-FC7A8ECD6334}"/>
          </ac:grpSpMkLst>
        </pc:grpChg>
        <pc:grpChg chg="mod">
          <ac:chgData name="Marta" userId="eac6eb22-5f14-46b4-a4ea-a86e6e8c4acc" providerId="ADAL" clId="{74097406-F23F-4933-BA70-ABAFA82FF68B}" dt="2023-05-08T11:11:54.818" v="179"/>
          <ac:grpSpMkLst>
            <pc:docMk/>
            <pc:sldMk cId="1448390404" sldId="947"/>
            <ac:grpSpMk id="29" creationId="{C9B37A8D-1EA3-F1A0-E0A4-D2E8E5B5D2A3}"/>
          </ac:grpSpMkLst>
        </pc:grpChg>
        <pc:grpChg chg="mod">
          <ac:chgData name="Marta" userId="eac6eb22-5f14-46b4-a4ea-a86e6e8c4acc" providerId="ADAL" clId="{74097406-F23F-4933-BA70-ABAFA82FF68B}" dt="2023-05-08T11:11:54.818" v="179"/>
          <ac:grpSpMkLst>
            <pc:docMk/>
            <pc:sldMk cId="1448390404" sldId="947"/>
            <ac:grpSpMk id="30" creationId="{A943B1BA-62BB-AC0A-2069-4BE213ED23D3}"/>
          </ac:grpSpMkLst>
        </pc:grpChg>
        <pc:grpChg chg="mod">
          <ac:chgData name="Marta" userId="eac6eb22-5f14-46b4-a4ea-a86e6e8c4acc" providerId="ADAL" clId="{74097406-F23F-4933-BA70-ABAFA82FF68B}" dt="2023-05-08T11:11:54.818" v="179"/>
          <ac:grpSpMkLst>
            <pc:docMk/>
            <pc:sldMk cId="1448390404" sldId="947"/>
            <ac:grpSpMk id="32" creationId="{044C5FC7-69AE-A919-6BD7-1B1CCEEA7752}"/>
          </ac:grpSpMkLst>
        </pc:grpChg>
        <pc:grpChg chg="mod">
          <ac:chgData name="Marta" userId="eac6eb22-5f14-46b4-a4ea-a86e6e8c4acc" providerId="ADAL" clId="{74097406-F23F-4933-BA70-ABAFA82FF68B}" dt="2023-05-08T11:11:54.818" v="179"/>
          <ac:grpSpMkLst>
            <pc:docMk/>
            <pc:sldMk cId="1448390404" sldId="947"/>
            <ac:grpSpMk id="38" creationId="{0002F9CC-10D1-5C4C-B8E8-83C55C2CA528}"/>
          </ac:grpSpMkLst>
        </pc:grpChg>
        <pc:grpChg chg="mod">
          <ac:chgData name="Marta" userId="eac6eb22-5f14-46b4-a4ea-a86e6e8c4acc" providerId="ADAL" clId="{74097406-F23F-4933-BA70-ABAFA82FF68B}" dt="2023-05-08T11:11:54.818" v="179"/>
          <ac:grpSpMkLst>
            <pc:docMk/>
            <pc:sldMk cId="1448390404" sldId="947"/>
            <ac:grpSpMk id="45" creationId="{FEF42C2A-B2E2-A0BC-73E9-B54B46F84C3A}"/>
          </ac:grpSpMkLst>
        </pc:grpChg>
        <pc:graphicFrameChg chg="mod">
          <ac:chgData name="Marta" userId="eac6eb22-5f14-46b4-a4ea-a86e6e8c4acc" providerId="ADAL" clId="{74097406-F23F-4933-BA70-ABAFA82FF68B}" dt="2023-05-08T11:11:54.818" v="179"/>
          <ac:graphicFrameMkLst>
            <pc:docMk/>
            <pc:sldMk cId="1448390404" sldId="947"/>
            <ac:graphicFrameMk id="5" creationId="{00000000-0000-0000-0000-000000000000}"/>
          </ac:graphicFrameMkLst>
        </pc:graphicFrameChg>
        <pc:graphicFrameChg chg="mod">
          <ac:chgData name="Marta" userId="eac6eb22-5f14-46b4-a4ea-a86e6e8c4acc" providerId="ADAL" clId="{74097406-F23F-4933-BA70-ABAFA82FF68B}" dt="2023-05-08T11:11:54.818" v="179"/>
          <ac:graphicFrameMkLst>
            <pc:docMk/>
            <pc:sldMk cId="1448390404" sldId="947"/>
            <ac:graphicFrameMk id="15" creationId="{2EF70E8B-65F4-FED2-0E40-57ACF1A7A6D7}"/>
          </ac:graphicFrameMkLst>
        </pc:graphicFrameChg>
        <pc:graphicFrameChg chg="mod">
          <ac:chgData name="Marta" userId="eac6eb22-5f14-46b4-a4ea-a86e6e8c4acc" providerId="ADAL" clId="{74097406-F23F-4933-BA70-ABAFA82FF68B}" dt="2023-05-08T11:11:54.818" v="179"/>
          <ac:graphicFrameMkLst>
            <pc:docMk/>
            <pc:sldMk cId="1448390404" sldId="947"/>
            <ac:graphicFrameMk id="16" creationId="{EB1D3AFB-6873-53B4-F576-D39C5B700CB5}"/>
          </ac:graphicFrameMkLst>
        </pc:graphicFrameChg>
        <pc:cxnChg chg="mod">
          <ac:chgData name="Marta" userId="eac6eb22-5f14-46b4-a4ea-a86e6e8c4acc" providerId="ADAL" clId="{74097406-F23F-4933-BA70-ABAFA82FF68B}" dt="2023-05-08T11:11:54.818" v="179"/>
          <ac:cxnSpMkLst>
            <pc:docMk/>
            <pc:sldMk cId="1448390404" sldId="947"/>
            <ac:cxnSpMk id="17" creationId="{C38BF3F6-6751-4A89-227D-A06A785405F9}"/>
          </ac:cxnSpMkLst>
        </pc:cxnChg>
        <pc:cxnChg chg="mod">
          <ac:chgData name="Marta" userId="eac6eb22-5f14-46b4-a4ea-a86e6e8c4acc" providerId="ADAL" clId="{74097406-F23F-4933-BA70-ABAFA82FF68B}" dt="2023-05-08T11:11:54.818" v="179"/>
          <ac:cxnSpMkLst>
            <pc:docMk/>
            <pc:sldMk cId="1448390404" sldId="947"/>
            <ac:cxnSpMk id="39" creationId="{3B40F4BE-6AA0-6615-96FA-56BF0371ABED}"/>
          </ac:cxnSpMkLst>
        </pc:cxnChg>
        <pc:cxnChg chg="mod">
          <ac:chgData name="Marta" userId="eac6eb22-5f14-46b4-a4ea-a86e6e8c4acc" providerId="ADAL" clId="{74097406-F23F-4933-BA70-ABAFA82FF68B}" dt="2023-05-08T11:11:54.818" v="179"/>
          <ac:cxnSpMkLst>
            <pc:docMk/>
            <pc:sldMk cId="1448390404" sldId="947"/>
            <ac:cxnSpMk id="42" creationId="{229DF15C-9350-26F2-4DB4-5B6EF68C1177}"/>
          </ac:cxnSpMkLst>
        </pc:cxnChg>
        <pc:cxnChg chg="mod">
          <ac:chgData name="Marta" userId="eac6eb22-5f14-46b4-a4ea-a86e6e8c4acc" providerId="ADAL" clId="{74097406-F23F-4933-BA70-ABAFA82FF68B}" dt="2023-05-08T11:11:54.818" v="179"/>
          <ac:cxnSpMkLst>
            <pc:docMk/>
            <pc:sldMk cId="1448390404" sldId="947"/>
            <ac:cxnSpMk id="44" creationId="{C76FCC59-5FB7-2B4B-91A0-3A6F2DA17303}"/>
          </ac:cxnSpMkLst>
        </pc:cxnChg>
      </pc:sldChg>
      <pc:sldChg chg="modSp add">
        <pc:chgData name="Marta" userId="eac6eb22-5f14-46b4-a4ea-a86e6e8c4acc" providerId="ADAL" clId="{74097406-F23F-4933-BA70-ABAFA82FF68B}" dt="2023-05-08T11:11:55.038" v="181"/>
        <pc:sldMkLst>
          <pc:docMk/>
          <pc:sldMk cId="3604357332" sldId="948"/>
        </pc:sldMkLst>
        <pc:spChg chg="mod">
          <ac:chgData name="Marta" userId="eac6eb22-5f14-46b4-a4ea-a86e6e8c4acc" providerId="ADAL" clId="{74097406-F23F-4933-BA70-ABAFA82FF68B}" dt="2023-05-08T11:11:55.038" v="181"/>
          <ac:spMkLst>
            <pc:docMk/>
            <pc:sldMk cId="3604357332" sldId="948"/>
            <ac:spMk id="2" creationId="{00000000-0000-0000-0000-000000000000}"/>
          </ac:spMkLst>
        </pc:spChg>
        <pc:spChg chg="mod">
          <ac:chgData name="Marta" userId="eac6eb22-5f14-46b4-a4ea-a86e6e8c4acc" providerId="ADAL" clId="{74097406-F23F-4933-BA70-ABAFA82FF68B}" dt="2023-05-08T11:11:55.038" v="181"/>
          <ac:spMkLst>
            <pc:docMk/>
            <pc:sldMk cId="3604357332" sldId="948"/>
            <ac:spMk id="3" creationId="{00000000-0000-0000-0000-000000000000}"/>
          </ac:spMkLst>
        </pc:spChg>
        <pc:spChg chg="mod">
          <ac:chgData name="Marta" userId="eac6eb22-5f14-46b4-a4ea-a86e6e8c4acc" providerId="ADAL" clId="{74097406-F23F-4933-BA70-ABAFA82FF68B}" dt="2023-05-08T11:11:55.038" v="181"/>
          <ac:spMkLst>
            <pc:docMk/>
            <pc:sldMk cId="3604357332" sldId="948"/>
            <ac:spMk id="6" creationId="{A1A0658D-8DE9-3F7A-B7CD-C0C214EC6A64}"/>
          </ac:spMkLst>
        </pc:spChg>
        <pc:spChg chg="mod">
          <ac:chgData name="Marta" userId="eac6eb22-5f14-46b4-a4ea-a86e6e8c4acc" providerId="ADAL" clId="{74097406-F23F-4933-BA70-ABAFA82FF68B}" dt="2023-05-08T11:11:55.038" v="181"/>
          <ac:spMkLst>
            <pc:docMk/>
            <pc:sldMk cId="3604357332" sldId="948"/>
            <ac:spMk id="7" creationId="{00000000-0000-0000-0000-000000000000}"/>
          </ac:spMkLst>
        </pc:spChg>
        <pc:spChg chg="mod">
          <ac:chgData name="Marta" userId="eac6eb22-5f14-46b4-a4ea-a86e6e8c4acc" providerId="ADAL" clId="{74097406-F23F-4933-BA70-ABAFA82FF68B}" dt="2023-05-08T11:11:55.038" v="181"/>
          <ac:spMkLst>
            <pc:docMk/>
            <pc:sldMk cId="3604357332" sldId="948"/>
            <ac:spMk id="9" creationId="{38FEBB4B-9676-EFBC-E52C-C17B527D6997}"/>
          </ac:spMkLst>
        </pc:spChg>
        <pc:spChg chg="mod">
          <ac:chgData name="Marta" userId="eac6eb22-5f14-46b4-a4ea-a86e6e8c4acc" providerId="ADAL" clId="{74097406-F23F-4933-BA70-ABAFA82FF68B}" dt="2023-05-08T11:11:55.038" v="181"/>
          <ac:spMkLst>
            <pc:docMk/>
            <pc:sldMk cId="3604357332" sldId="948"/>
            <ac:spMk id="10" creationId="{47482487-4D77-D8CC-599A-5AD94A37C5B6}"/>
          </ac:spMkLst>
        </pc:spChg>
        <pc:spChg chg="mod">
          <ac:chgData name="Marta" userId="eac6eb22-5f14-46b4-a4ea-a86e6e8c4acc" providerId="ADAL" clId="{74097406-F23F-4933-BA70-ABAFA82FF68B}" dt="2023-05-08T11:11:55.038" v="181"/>
          <ac:spMkLst>
            <pc:docMk/>
            <pc:sldMk cId="3604357332" sldId="948"/>
            <ac:spMk id="11" creationId="{555329F9-016D-3B9F-0808-13F72E60A335}"/>
          </ac:spMkLst>
        </pc:spChg>
        <pc:spChg chg="mod">
          <ac:chgData name="Marta" userId="eac6eb22-5f14-46b4-a4ea-a86e6e8c4acc" providerId="ADAL" clId="{74097406-F23F-4933-BA70-ABAFA82FF68B}" dt="2023-05-08T11:11:55.038" v="181"/>
          <ac:spMkLst>
            <pc:docMk/>
            <pc:sldMk cId="3604357332" sldId="948"/>
            <ac:spMk id="12" creationId="{B2D6A415-FF94-37C3-F358-DAA2A769C135}"/>
          </ac:spMkLst>
        </pc:spChg>
        <pc:spChg chg="mod">
          <ac:chgData name="Marta" userId="eac6eb22-5f14-46b4-a4ea-a86e6e8c4acc" providerId="ADAL" clId="{74097406-F23F-4933-BA70-ABAFA82FF68B}" dt="2023-05-08T11:11:55.038" v="181"/>
          <ac:spMkLst>
            <pc:docMk/>
            <pc:sldMk cId="3604357332" sldId="948"/>
            <ac:spMk id="19" creationId="{00000000-0000-0000-0000-000000000000}"/>
          </ac:spMkLst>
        </pc:spChg>
        <pc:spChg chg="mod">
          <ac:chgData name="Marta" userId="eac6eb22-5f14-46b4-a4ea-a86e6e8c4acc" providerId="ADAL" clId="{74097406-F23F-4933-BA70-ABAFA82FF68B}" dt="2023-05-08T11:11:55.038" v="181"/>
          <ac:spMkLst>
            <pc:docMk/>
            <pc:sldMk cId="3604357332" sldId="948"/>
            <ac:spMk id="22" creationId="{D8FB376E-5F06-19CB-9244-061E87D47BEA}"/>
          </ac:spMkLst>
        </pc:spChg>
        <pc:spChg chg="mod">
          <ac:chgData name="Marta" userId="eac6eb22-5f14-46b4-a4ea-a86e6e8c4acc" providerId="ADAL" clId="{74097406-F23F-4933-BA70-ABAFA82FF68B}" dt="2023-05-08T11:11:55.038" v="181"/>
          <ac:spMkLst>
            <pc:docMk/>
            <pc:sldMk cId="3604357332" sldId="948"/>
            <ac:spMk id="23" creationId="{03EAA18C-0F83-D15C-2F77-9B2DB01E9703}"/>
          </ac:spMkLst>
        </pc:spChg>
        <pc:spChg chg="mod">
          <ac:chgData name="Marta" userId="eac6eb22-5f14-46b4-a4ea-a86e6e8c4acc" providerId="ADAL" clId="{74097406-F23F-4933-BA70-ABAFA82FF68B}" dt="2023-05-08T11:11:55.038" v="181"/>
          <ac:spMkLst>
            <pc:docMk/>
            <pc:sldMk cId="3604357332" sldId="948"/>
            <ac:spMk id="24" creationId="{1956710B-EEEB-5801-CF34-9D92786E43E5}"/>
          </ac:spMkLst>
        </pc:spChg>
        <pc:spChg chg="mod">
          <ac:chgData name="Marta" userId="eac6eb22-5f14-46b4-a4ea-a86e6e8c4acc" providerId="ADAL" clId="{74097406-F23F-4933-BA70-ABAFA82FF68B}" dt="2023-05-08T11:11:55.038" v="181"/>
          <ac:spMkLst>
            <pc:docMk/>
            <pc:sldMk cId="3604357332" sldId="948"/>
            <ac:spMk id="26" creationId="{A9F51669-A24F-A4CB-65C7-B12B5A16494F}"/>
          </ac:spMkLst>
        </pc:spChg>
        <pc:spChg chg="mod">
          <ac:chgData name="Marta" userId="eac6eb22-5f14-46b4-a4ea-a86e6e8c4acc" providerId="ADAL" clId="{74097406-F23F-4933-BA70-ABAFA82FF68B}" dt="2023-05-08T11:11:55.038" v="181"/>
          <ac:spMkLst>
            <pc:docMk/>
            <pc:sldMk cId="3604357332" sldId="948"/>
            <ac:spMk id="27" creationId="{819E26AF-0BA6-D48F-3C01-FB85C45D4A05}"/>
          </ac:spMkLst>
        </pc:spChg>
        <pc:grpChg chg="mod">
          <ac:chgData name="Marta" userId="eac6eb22-5f14-46b4-a4ea-a86e6e8c4acc" providerId="ADAL" clId="{74097406-F23F-4933-BA70-ABAFA82FF68B}" dt="2023-05-08T11:11:55.038" v="181"/>
          <ac:grpSpMkLst>
            <pc:docMk/>
            <pc:sldMk cId="3604357332" sldId="948"/>
            <ac:grpSpMk id="1" creationId="{00000000-0000-0000-0000-000000000000}"/>
          </ac:grpSpMkLst>
        </pc:grpChg>
        <pc:grpChg chg="mod">
          <ac:chgData name="Marta" userId="eac6eb22-5f14-46b4-a4ea-a86e6e8c4acc" providerId="ADAL" clId="{74097406-F23F-4933-BA70-ABAFA82FF68B}" dt="2023-05-08T11:11:55.038" v="181"/>
          <ac:grpSpMkLst>
            <pc:docMk/>
            <pc:sldMk cId="3604357332" sldId="948"/>
            <ac:grpSpMk id="13" creationId="{46309AF8-495A-B2FD-0296-990DE0D9A9C5}"/>
          </ac:grpSpMkLst>
        </pc:grpChg>
        <pc:graphicFrameChg chg="mod">
          <ac:chgData name="Marta" userId="eac6eb22-5f14-46b4-a4ea-a86e6e8c4acc" providerId="ADAL" clId="{74097406-F23F-4933-BA70-ABAFA82FF68B}" dt="2023-05-08T11:11:55.038" v="181"/>
          <ac:graphicFrameMkLst>
            <pc:docMk/>
            <pc:sldMk cId="3604357332" sldId="948"/>
            <ac:graphicFrameMk id="5" creationId="{00000000-0000-0000-0000-000000000000}"/>
          </ac:graphicFrameMkLst>
        </pc:graphicFrameChg>
        <pc:graphicFrameChg chg="mod">
          <ac:chgData name="Marta" userId="eac6eb22-5f14-46b4-a4ea-a86e6e8c4acc" providerId="ADAL" clId="{74097406-F23F-4933-BA70-ABAFA82FF68B}" dt="2023-05-08T11:11:55.038" v="181"/>
          <ac:graphicFrameMkLst>
            <pc:docMk/>
            <pc:sldMk cId="3604357332" sldId="948"/>
            <ac:graphicFrameMk id="18" creationId="{00000000-0000-0000-0000-000000000000}"/>
          </ac:graphicFrameMkLst>
        </pc:graphicFrameChg>
        <pc:graphicFrameChg chg="mod">
          <ac:chgData name="Marta" userId="eac6eb22-5f14-46b4-a4ea-a86e6e8c4acc" providerId="ADAL" clId="{74097406-F23F-4933-BA70-ABAFA82FF68B}" dt="2023-05-08T11:11:55.038" v="181"/>
          <ac:graphicFrameMkLst>
            <pc:docMk/>
            <pc:sldMk cId="3604357332" sldId="948"/>
            <ac:graphicFrameMk id="29" creationId="{00000000-0000-0000-0000-000000000000}"/>
          </ac:graphicFrameMkLst>
        </pc:graphicFrameChg>
      </pc:sldChg>
      <pc:sldChg chg="modSp add">
        <pc:chgData name="Marta" userId="eac6eb22-5f14-46b4-a4ea-a86e6e8c4acc" providerId="ADAL" clId="{74097406-F23F-4933-BA70-ABAFA82FF68B}" dt="2023-05-08T11:11:55.221" v="183"/>
        <pc:sldMkLst>
          <pc:docMk/>
          <pc:sldMk cId="3302105229" sldId="949"/>
        </pc:sldMkLst>
        <pc:spChg chg="mod">
          <ac:chgData name="Marta" userId="eac6eb22-5f14-46b4-a4ea-a86e6e8c4acc" providerId="ADAL" clId="{74097406-F23F-4933-BA70-ABAFA82FF68B}" dt="2023-05-08T11:11:55.221" v="183"/>
          <ac:spMkLst>
            <pc:docMk/>
            <pc:sldMk cId="3302105229" sldId="949"/>
            <ac:spMk id="2" creationId="{00000000-0000-0000-0000-000000000000}"/>
          </ac:spMkLst>
        </pc:spChg>
        <pc:spChg chg="mod">
          <ac:chgData name="Marta" userId="eac6eb22-5f14-46b4-a4ea-a86e6e8c4acc" providerId="ADAL" clId="{74097406-F23F-4933-BA70-ABAFA82FF68B}" dt="2023-05-08T11:11:55.221" v="183"/>
          <ac:spMkLst>
            <pc:docMk/>
            <pc:sldMk cId="3302105229" sldId="949"/>
            <ac:spMk id="3" creationId="{00000000-0000-0000-0000-000000000000}"/>
          </ac:spMkLst>
        </pc:spChg>
        <pc:spChg chg="mod">
          <ac:chgData name="Marta" userId="eac6eb22-5f14-46b4-a4ea-a86e6e8c4acc" providerId="ADAL" clId="{74097406-F23F-4933-BA70-ABAFA82FF68B}" dt="2023-05-08T11:11:55.221" v="183"/>
          <ac:spMkLst>
            <pc:docMk/>
            <pc:sldMk cId="3302105229" sldId="949"/>
            <ac:spMk id="9" creationId="{38FEBB4B-9676-EFBC-E52C-C17B527D6997}"/>
          </ac:spMkLst>
        </pc:spChg>
        <pc:spChg chg="mod">
          <ac:chgData name="Marta" userId="eac6eb22-5f14-46b4-a4ea-a86e6e8c4acc" providerId="ADAL" clId="{74097406-F23F-4933-BA70-ABAFA82FF68B}" dt="2023-05-08T11:11:55.221" v="183"/>
          <ac:spMkLst>
            <pc:docMk/>
            <pc:sldMk cId="3302105229" sldId="949"/>
            <ac:spMk id="10" creationId="{47482487-4D77-D8CC-599A-5AD94A37C5B6}"/>
          </ac:spMkLst>
        </pc:spChg>
        <pc:spChg chg="mod">
          <ac:chgData name="Marta" userId="eac6eb22-5f14-46b4-a4ea-a86e6e8c4acc" providerId="ADAL" clId="{74097406-F23F-4933-BA70-ABAFA82FF68B}" dt="2023-05-08T11:11:55.221" v="183"/>
          <ac:spMkLst>
            <pc:docMk/>
            <pc:sldMk cId="3302105229" sldId="949"/>
            <ac:spMk id="11" creationId="{555329F9-016D-3B9F-0808-13F72E60A335}"/>
          </ac:spMkLst>
        </pc:spChg>
        <pc:spChg chg="mod">
          <ac:chgData name="Marta" userId="eac6eb22-5f14-46b4-a4ea-a86e6e8c4acc" providerId="ADAL" clId="{74097406-F23F-4933-BA70-ABAFA82FF68B}" dt="2023-05-08T11:11:55.221" v="183"/>
          <ac:spMkLst>
            <pc:docMk/>
            <pc:sldMk cId="3302105229" sldId="949"/>
            <ac:spMk id="12" creationId="{B2D6A415-FF94-37C3-F358-DAA2A769C135}"/>
          </ac:spMkLst>
        </pc:spChg>
        <pc:spChg chg="mod">
          <ac:chgData name="Marta" userId="eac6eb22-5f14-46b4-a4ea-a86e6e8c4acc" providerId="ADAL" clId="{74097406-F23F-4933-BA70-ABAFA82FF68B}" dt="2023-05-08T11:11:55.221" v="183"/>
          <ac:spMkLst>
            <pc:docMk/>
            <pc:sldMk cId="3302105229" sldId="949"/>
            <ac:spMk id="17" creationId="{66E7EE32-3574-1334-3A94-C45E59F4315C}"/>
          </ac:spMkLst>
        </pc:spChg>
        <pc:spChg chg="mod">
          <ac:chgData name="Marta" userId="eac6eb22-5f14-46b4-a4ea-a86e6e8c4acc" providerId="ADAL" clId="{74097406-F23F-4933-BA70-ABAFA82FF68B}" dt="2023-05-08T11:11:55.221" v="183"/>
          <ac:spMkLst>
            <pc:docMk/>
            <pc:sldMk cId="3302105229" sldId="949"/>
            <ac:spMk id="20" creationId="{EEE6587D-35C4-FD4D-18CA-D5DB7E6607B6}"/>
          </ac:spMkLst>
        </pc:spChg>
        <pc:spChg chg="mod">
          <ac:chgData name="Marta" userId="eac6eb22-5f14-46b4-a4ea-a86e6e8c4acc" providerId="ADAL" clId="{74097406-F23F-4933-BA70-ABAFA82FF68B}" dt="2023-05-08T11:11:55.221" v="183"/>
          <ac:spMkLst>
            <pc:docMk/>
            <pc:sldMk cId="3302105229" sldId="949"/>
            <ac:spMk id="22" creationId="{D8FB376E-5F06-19CB-9244-061E87D47BEA}"/>
          </ac:spMkLst>
        </pc:spChg>
        <pc:spChg chg="mod">
          <ac:chgData name="Marta" userId="eac6eb22-5f14-46b4-a4ea-a86e6e8c4acc" providerId="ADAL" clId="{74097406-F23F-4933-BA70-ABAFA82FF68B}" dt="2023-05-08T11:11:55.221" v="183"/>
          <ac:spMkLst>
            <pc:docMk/>
            <pc:sldMk cId="3302105229" sldId="949"/>
            <ac:spMk id="23" creationId="{03EAA18C-0F83-D15C-2F77-9B2DB01E9703}"/>
          </ac:spMkLst>
        </pc:spChg>
        <pc:spChg chg="mod">
          <ac:chgData name="Marta" userId="eac6eb22-5f14-46b4-a4ea-a86e6e8c4acc" providerId="ADAL" clId="{74097406-F23F-4933-BA70-ABAFA82FF68B}" dt="2023-05-08T11:11:55.221" v="183"/>
          <ac:spMkLst>
            <pc:docMk/>
            <pc:sldMk cId="3302105229" sldId="949"/>
            <ac:spMk id="24" creationId="{1956710B-EEEB-5801-CF34-9D92786E43E5}"/>
          </ac:spMkLst>
        </pc:spChg>
        <pc:spChg chg="mod">
          <ac:chgData name="Marta" userId="eac6eb22-5f14-46b4-a4ea-a86e6e8c4acc" providerId="ADAL" clId="{74097406-F23F-4933-BA70-ABAFA82FF68B}" dt="2023-05-08T11:11:55.221" v="183"/>
          <ac:spMkLst>
            <pc:docMk/>
            <pc:sldMk cId="3302105229" sldId="949"/>
            <ac:spMk id="26" creationId="{A9F51669-A24F-A4CB-65C7-B12B5A16494F}"/>
          </ac:spMkLst>
        </pc:spChg>
        <pc:spChg chg="mod">
          <ac:chgData name="Marta" userId="eac6eb22-5f14-46b4-a4ea-a86e6e8c4acc" providerId="ADAL" clId="{74097406-F23F-4933-BA70-ABAFA82FF68B}" dt="2023-05-08T11:11:55.221" v="183"/>
          <ac:spMkLst>
            <pc:docMk/>
            <pc:sldMk cId="3302105229" sldId="949"/>
            <ac:spMk id="27" creationId="{819E26AF-0BA6-D48F-3C01-FB85C45D4A05}"/>
          </ac:spMkLst>
        </pc:spChg>
        <pc:grpChg chg="mod">
          <ac:chgData name="Marta" userId="eac6eb22-5f14-46b4-a4ea-a86e6e8c4acc" providerId="ADAL" clId="{74097406-F23F-4933-BA70-ABAFA82FF68B}" dt="2023-05-08T11:11:55.221" v="183"/>
          <ac:grpSpMkLst>
            <pc:docMk/>
            <pc:sldMk cId="3302105229" sldId="949"/>
            <ac:grpSpMk id="1" creationId="{00000000-0000-0000-0000-000000000000}"/>
          </ac:grpSpMkLst>
        </pc:grpChg>
        <pc:grpChg chg="mod">
          <ac:chgData name="Marta" userId="eac6eb22-5f14-46b4-a4ea-a86e6e8c4acc" providerId="ADAL" clId="{74097406-F23F-4933-BA70-ABAFA82FF68B}" dt="2023-05-08T11:11:55.221" v="183"/>
          <ac:grpSpMkLst>
            <pc:docMk/>
            <pc:sldMk cId="3302105229" sldId="949"/>
            <ac:grpSpMk id="13" creationId="{46309AF8-495A-B2FD-0296-990DE0D9A9C5}"/>
          </ac:grpSpMkLst>
        </pc:grpChg>
        <pc:graphicFrameChg chg="mod">
          <ac:chgData name="Marta" userId="eac6eb22-5f14-46b4-a4ea-a86e6e8c4acc" providerId="ADAL" clId="{74097406-F23F-4933-BA70-ABAFA82FF68B}" dt="2023-05-08T11:11:55.221" v="183"/>
          <ac:graphicFrameMkLst>
            <pc:docMk/>
            <pc:sldMk cId="3302105229" sldId="949"/>
            <ac:graphicFrameMk id="5" creationId="{00000000-0000-0000-0000-000000000000}"/>
          </ac:graphicFrameMkLst>
        </pc:graphicFrameChg>
        <pc:graphicFrameChg chg="mod">
          <ac:chgData name="Marta" userId="eac6eb22-5f14-46b4-a4ea-a86e6e8c4acc" providerId="ADAL" clId="{74097406-F23F-4933-BA70-ABAFA82FF68B}" dt="2023-05-08T11:11:55.221" v="183"/>
          <ac:graphicFrameMkLst>
            <pc:docMk/>
            <pc:sldMk cId="3302105229" sldId="949"/>
            <ac:graphicFrameMk id="15" creationId="{1E535501-DB5E-0B02-CC07-64123A36C0C1}"/>
          </ac:graphicFrameMkLst>
        </pc:graphicFrameChg>
        <pc:graphicFrameChg chg="mod">
          <ac:chgData name="Marta" userId="eac6eb22-5f14-46b4-a4ea-a86e6e8c4acc" providerId="ADAL" clId="{74097406-F23F-4933-BA70-ABAFA82FF68B}" dt="2023-05-08T11:11:55.221" v="183"/>
          <ac:graphicFrameMkLst>
            <pc:docMk/>
            <pc:sldMk cId="3302105229" sldId="949"/>
            <ac:graphicFrameMk id="16" creationId="{A6AE5B13-C542-691F-4B74-E89290DB8F0E}"/>
          </ac:graphicFrameMkLst>
        </pc:graphicFrameChg>
      </pc:sldChg>
      <pc:sldChg chg="modSp add">
        <pc:chgData name="Marta" userId="eac6eb22-5f14-46b4-a4ea-a86e6e8c4acc" providerId="ADAL" clId="{74097406-F23F-4933-BA70-ABAFA82FF68B}" dt="2023-05-08T11:11:55.429" v="185"/>
        <pc:sldMkLst>
          <pc:docMk/>
          <pc:sldMk cId="2064254892" sldId="950"/>
        </pc:sldMkLst>
        <pc:spChg chg="mod">
          <ac:chgData name="Marta" userId="eac6eb22-5f14-46b4-a4ea-a86e6e8c4acc" providerId="ADAL" clId="{74097406-F23F-4933-BA70-ABAFA82FF68B}" dt="2023-05-08T11:11:55.429" v="185"/>
          <ac:spMkLst>
            <pc:docMk/>
            <pc:sldMk cId="2064254892" sldId="950"/>
            <ac:spMk id="5" creationId="{2FA2CD8E-C1B9-7107-945E-C1968C6419FC}"/>
          </ac:spMkLst>
        </pc:spChg>
        <pc:spChg chg="mod">
          <ac:chgData name="Marta" userId="eac6eb22-5f14-46b4-a4ea-a86e6e8c4acc" providerId="ADAL" clId="{74097406-F23F-4933-BA70-ABAFA82FF68B}" dt="2023-05-08T11:11:55.429" v="185"/>
          <ac:spMkLst>
            <pc:docMk/>
            <pc:sldMk cId="2064254892" sldId="950"/>
            <ac:spMk id="6" creationId="{D18168E4-E15D-3514-7BC1-0CBB18B9C89C}"/>
          </ac:spMkLst>
        </pc:spChg>
        <pc:spChg chg="mod">
          <ac:chgData name="Marta" userId="eac6eb22-5f14-46b4-a4ea-a86e6e8c4acc" providerId="ADAL" clId="{74097406-F23F-4933-BA70-ABAFA82FF68B}" dt="2023-05-08T11:11:55.429" v="185"/>
          <ac:spMkLst>
            <pc:docMk/>
            <pc:sldMk cId="2064254892" sldId="950"/>
            <ac:spMk id="7" creationId="{0BEA9760-C115-C1BD-F313-A5E2260D294F}"/>
          </ac:spMkLst>
        </pc:spChg>
        <pc:spChg chg="mod">
          <ac:chgData name="Marta" userId="eac6eb22-5f14-46b4-a4ea-a86e6e8c4acc" providerId="ADAL" clId="{74097406-F23F-4933-BA70-ABAFA82FF68B}" dt="2023-05-08T11:11:55.429" v="185"/>
          <ac:spMkLst>
            <pc:docMk/>
            <pc:sldMk cId="2064254892" sldId="950"/>
            <ac:spMk id="8" creationId="{00000000-0000-0000-0000-000000000000}"/>
          </ac:spMkLst>
        </pc:spChg>
        <pc:spChg chg="mod">
          <ac:chgData name="Marta" userId="eac6eb22-5f14-46b4-a4ea-a86e6e8c4acc" providerId="ADAL" clId="{74097406-F23F-4933-BA70-ABAFA82FF68B}" dt="2023-05-08T11:11:55.429" v="185"/>
          <ac:spMkLst>
            <pc:docMk/>
            <pc:sldMk cId="2064254892" sldId="950"/>
            <ac:spMk id="9" creationId="{022658A1-003A-B5F2-93DA-50303F277FBD}"/>
          </ac:spMkLst>
        </pc:spChg>
        <pc:spChg chg="mod">
          <ac:chgData name="Marta" userId="eac6eb22-5f14-46b4-a4ea-a86e6e8c4acc" providerId="ADAL" clId="{74097406-F23F-4933-BA70-ABAFA82FF68B}" dt="2023-05-08T11:11:55.429" v="185"/>
          <ac:spMkLst>
            <pc:docMk/>
            <pc:sldMk cId="2064254892" sldId="950"/>
            <ac:spMk id="10" creationId="{26D502D2-3EE3-02BB-095F-8295CDE810E0}"/>
          </ac:spMkLst>
        </pc:spChg>
        <pc:spChg chg="mod">
          <ac:chgData name="Marta" userId="eac6eb22-5f14-46b4-a4ea-a86e6e8c4acc" providerId="ADAL" clId="{74097406-F23F-4933-BA70-ABAFA82FF68B}" dt="2023-05-08T11:11:55.429" v="185"/>
          <ac:spMkLst>
            <pc:docMk/>
            <pc:sldMk cId="2064254892" sldId="950"/>
            <ac:spMk id="82" creationId="{00000000-0000-0000-0000-000000000000}"/>
          </ac:spMkLst>
        </pc:spChg>
        <pc:spChg chg="mod">
          <ac:chgData name="Marta" userId="eac6eb22-5f14-46b4-a4ea-a86e6e8c4acc" providerId="ADAL" clId="{74097406-F23F-4933-BA70-ABAFA82FF68B}" dt="2023-05-08T11:11:55.429" v="185"/>
          <ac:spMkLst>
            <pc:docMk/>
            <pc:sldMk cId="2064254892" sldId="950"/>
            <ac:spMk id="84" creationId="{00000000-0000-0000-0000-000000000000}"/>
          </ac:spMkLst>
        </pc:spChg>
        <pc:spChg chg="mod">
          <ac:chgData name="Marta" userId="eac6eb22-5f14-46b4-a4ea-a86e6e8c4acc" providerId="ADAL" clId="{74097406-F23F-4933-BA70-ABAFA82FF68B}" dt="2023-05-08T11:11:55.429" v="185"/>
          <ac:spMkLst>
            <pc:docMk/>
            <pc:sldMk cId="2064254892" sldId="950"/>
            <ac:spMk id="85" creationId="{00000000-0000-0000-0000-000000000000}"/>
          </ac:spMkLst>
        </pc:spChg>
        <pc:spChg chg="mod">
          <ac:chgData name="Marta" userId="eac6eb22-5f14-46b4-a4ea-a86e6e8c4acc" providerId="ADAL" clId="{74097406-F23F-4933-BA70-ABAFA82FF68B}" dt="2023-05-08T11:11:55.429" v="185"/>
          <ac:spMkLst>
            <pc:docMk/>
            <pc:sldMk cId="2064254892" sldId="950"/>
            <ac:spMk id="86" creationId="{00000000-0000-0000-0000-000000000000}"/>
          </ac:spMkLst>
        </pc:spChg>
        <pc:spChg chg="mod">
          <ac:chgData name="Marta" userId="eac6eb22-5f14-46b4-a4ea-a86e6e8c4acc" providerId="ADAL" clId="{74097406-F23F-4933-BA70-ABAFA82FF68B}" dt="2023-05-08T11:11:55.429" v="185"/>
          <ac:spMkLst>
            <pc:docMk/>
            <pc:sldMk cId="2064254892" sldId="950"/>
            <ac:spMk id="87" creationId="{00000000-0000-0000-0000-000000000000}"/>
          </ac:spMkLst>
        </pc:spChg>
        <pc:spChg chg="mod">
          <ac:chgData name="Marta" userId="eac6eb22-5f14-46b4-a4ea-a86e6e8c4acc" providerId="ADAL" clId="{74097406-F23F-4933-BA70-ABAFA82FF68B}" dt="2023-05-08T11:11:55.429" v="185"/>
          <ac:spMkLst>
            <pc:docMk/>
            <pc:sldMk cId="2064254892" sldId="950"/>
            <ac:spMk id="88" creationId="{00000000-0000-0000-0000-000000000000}"/>
          </ac:spMkLst>
        </pc:spChg>
        <pc:spChg chg="mod">
          <ac:chgData name="Marta" userId="eac6eb22-5f14-46b4-a4ea-a86e6e8c4acc" providerId="ADAL" clId="{74097406-F23F-4933-BA70-ABAFA82FF68B}" dt="2023-05-08T11:11:55.429" v="185"/>
          <ac:spMkLst>
            <pc:docMk/>
            <pc:sldMk cId="2064254892" sldId="950"/>
            <ac:spMk id="89" creationId="{00000000-0000-0000-0000-000000000000}"/>
          </ac:spMkLst>
        </pc:spChg>
        <pc:spChg chg="mod">
          <ac:chgData name="Marta" userId="eac6eb22-5f14-46b4-a4ea-a86e6e8c4acc" providerId="ADAL" clId="{74097406-F23F-4933-BA70-ABAFA82FF68B}" dt="2023-05-08T11:11:55.429" v="185"/>
          <ac:spMkLst>
            <pc:docMk/>
            <pc:sldMk cId="2064254892" sldId="950"/>
            <ac:spMk id="90" creationId="{00000000-0000-0000-0000-000000000000}"/>
          </ac:spMkLst>
        </pc:spChg>
        <pc:spChg chg="mod">
          <ac:chgData name="Marta" userId="eac6eb22-5f14-46b4-a4ea-a86e6e8c4acc" providerId="ADAL" clId="{74097406-F23F-4933-BA70-ABAFA82FF68B}" dt="2023-05-08T11:11:55.429" v="185"/>
          <ac:spMkLst>
            <pc:docMk/>
            <pc:sldMk cId="2064254892" sldId="950"/>
            <ac:spMk id="91" creationId="{00000000-0000-0000-0000-000000000000}"/>
          </ac:spMkLst>
        </pc:spChg>
        <pc:spChg chg="mod">
          <ac:chgData name="Marta" userId="eac6eb22-5f14-46b4-a4ea-a86e6e8c4acc" providerId="ADAL" clId="{74097406-F23F-4933-BA70-ABAFA82FF68B}" dt="2023-05-08T11:11:55.429" v="185"/>
          <ac:spMkLst>
            <pc:docMk/>
            <pc:sldMk cId="2064254892" sldId="950"/>
            <ac:spMk id="92" creationId="{00000000-0000-0000-0000-000000000000}"/>
          </ac:spMkLst>
        </pc:spChg>
        <pc:spChg chg="mod">
          <ac:chgData name="Marta" userId="eac6eb22-5f14-46b4-a4ea-a86e6e8c4acc" providerId="ADAL" clId="{74097406-F23F-4933-BA70-ABAFA82FF68B}" dt="2023-05-08T11:11:55.429" v="185"/>
          <ac:spMkLst>
            <pc:docMk/>
            <pc:sldMk cId="2064254892" sldId="950"/>
            <ac:spMk id="93" creationId="{00000000-0000-0000-0000-000000000000}"/>
          </ac:spMkLst>
        </pc:spChg>
        <pc:spChg chg="mod">
          <ac:chgData name="Marta" userId="eac6eb22-5f14-46b4-a4ea-a86e6e8c4acc" providerId="ADAL" clId="{74097406-F23F-4933-BA70-ABAFA82FF68B}" dt="2023-05-08T11:11:55.429" v="185"/>
          <ac:spMkLst>
            <pc:docMk/>
            <pc:sldMk cId="2064254892" sldId="950"/>
            <ac:spMk id="94" creationId="{00000000-0000-0000-0000-000000000000}"/>
          </ac:spMkLst>
        </pc:spChg>
        <pc:spChg chg="mod">
          <ac:chgData name="Marta" userId="eac6eb22-5f14-46b4-a4ea-a86e6e8c4acc" providerId="ADAL" clId="{74097406-F23F-4933-BA70-ABAFA82FF68B}" dt="2023-05-08T11:11:55.429" v="185"/>
          <ac:spMkLst>
            <pc:docMk/>
            <pc:sldMk cId="2064254892" sldId="950"/>
            <ac:spMk id="95" creationId="{00000000-0000-0000-0000-000000000000}"/>
          </ac:spMkLst>
        </pc:spChg>
        <pc:spChg chg="mod">
          <ac:chgData name="Marta" userId="eac6eb22-5f14-46b4-a4ea-a86e6e8c4acc" providerId="ADAL" clId="{74097406-F23F-4933-BA70-ABAFA82FF68B}" dt="2023-05-08T11:11:55.429" v="185"/>
          <ac:spMkLst>
            <pc:docMk/>
            <pc:sldMk cId="2064254892" sldId="950"/>
            <ac:spMk id="96" creationId="{00000000-0000-0000-0000-000000000000}"/>
          </ac:spMkLst>
        </pc:spChg>
        <pc:spChg chg="mod">
          <ac:chgData name="Marta" userId="eac6eb22-5f14-46b4-a4ea-a86e6e8c4acc" providerId="ADAL" clId="{74097406-F23F-4933-BA70-ABAFA82FF68B}" dt="2023-05-08T11:11:55.429" v="185"/>
          <ac:spMkLst>
            <pc:docMk/>
            <pc:sldMk cId="2064254892" sldId="950"/>
            <ac:spMk id="97" creationId="{00000000-0000-0000-0000-000000000000}"/>
          </ac:spMkLst>
        </pc:spChg>
        <pc:spChg chg="mod">
          <ac:chgData name="Marta" userId="eac6eb22-5f14-46b4-a4ea-a86e6e8c4acc" providerId="ADAL" clId="{74097406-F23F-4933-BA70-ABAFA82FF68B}" dt="2023-05-08T11:11:55.429" v="185"/>
          <ac:spMkLst>
            <pc:docMk/>
            <pc:sldMk cId="2064254892" sldId="950"/>
            <ac:spMk id="98" creationId="{00000000-0000-0000-0000-000000000000}"/>
          </ac:spMkLst>
        </pc:spChg>
        <pc:spChg chg="mod">
          <ac:chgData name="Marta" userId="eac6eb22-5f14-46b4-a4ea-a86e6e8c4acc" providerId="ADAL" clId="{74097406-F23F-4933-BA70-ABAFA82FF68B}" dt="2023-05-08T11:11:55.429" v="185"/>
          <ac:spMkLst>
            <pc:docMk/>
            <pc:sldMk cId="2064254892" sldId="950"/>
            <ac:spMk id="99" creationId="{00000000-0000-0000-0000-000000000000}"/>
          </ac:spMkLst>
        </pc:spChg>
        <pc:spChg chg="mod">
          <ac:chgData name="Marta" userId="eac6eb22-5f14-46b4-a4ea-a86e6e8c4acc" providerId="ADAL" clId="{74097406-F23F-4933-BA70-ABAFA82FF68B}" dt="2023-05-08T11:11:55.429" v="185"/>
          <ac:spMkLst>
            <pc:docMk/>
            <pc:sldMk cId="2064254892" sldId="950"/>
            <ac:spMk id="100" creationId="{00000000-0000-0000-0000-000000000000}"/>
          </ac:spMkLst>
        </pc:spChg>
        <pc:spChg chg="mod">
          <ac:chgData name="Marta" userId="eac6eb22-5f14-46b4-a4ea-a86e6e8c4acc" providerId="ADAL" clId="{74097406-F23F-4933-BA70-ABAFA82FF68B}" dt="2023-05-08T11:11:55.429" v="185"/>
          <ac:spMkLst>
            <pc:docMk/>
            <pc:sldMk cId="2064254892" sldId="950"/>
            <ac:spMk id="101" creationId="{00000000-0000-0000-0000-000000000000}"/>
          </ac:spMkLst>
        </pc:spChg>
        <pc:spChg chg="mod">
          <ac:chgData name="Marta" userId="eac6eb22-5f14-46b4-a4ea-a86e6e8c4acc" providerId="ADAL" clId="{74097406-F23F-4933-BA70-ABAFA82FF68B}" dt="2023-05-08T11:11:55.429" v="185"/>
          <ac:spMkLst>
            <pc:docMk/>
            <pc:sldMk cId="2064254892" sldId="950"/>
            <ac:spMk id="102" creationId="{00000000-0000-0000-0000-000000000000}"/>
          </ac:spMkLst>
        </pc:spChg>
        <pc:spChg chg="mod">
          <ac:chgData name="Marta" userId="eac6eb22-5f14-46b4-a4ea-a86e6e8c4acc" providerId="ADAL" clId="{74097406-F23F-4933-BA70-ABAFA82FF68B}" dt="2023-05-08T11:11:55.429" v="185"/>
          <ac:spMkLst>
            <pc:docMk/>
            <pc:sldMk cId="2064254892" sldId="950"/>
            <ac:spMk id="103" creationId="{00000000-0000-0000-0000-000000000000}"/>
          </ac:spMkLst>
        </pc:spChg>
        <pc:spChg chg="mod">
          <ac:chgData name="Marta" userId="eac6eb22-5f14-46b4-a4ea-a86e6e8c4acc" providerId="ADAL" clId="{74097406-F23F-4933-BA70-ABAFA82FF68B}" dt="2023-05-08T11:11:55.429" v="185"/>
          <ac:spMkLst>
            <pc:docMk/>
            <pc:sldMk cId="2064254892" sldId="950"/>
            <ac:spMk id="104" creationId="{00000000-0000-0000-0000-000000000000}"/>
          </ac:spMkLst>
        </pc:spChg>
        <pc:spChg chg="mod">
          <ac:chgData name="Marta" userId="eac6eb22-5f14-46b4-a4ea-a86e6e8c4acc" providerId="ADAL" clId="{74097406-F23F-4933-BA70-ABAFA82FF68B}" dt="2023-05-08T11:11:55.429" v="185"/>
          <ac:spMkLst>
            <pc:docMk/>
            <pc:sldMk cId="2064254892" sldId="950"/>
            <ac:spMk id="105" creationId="{00000000-0000-0000-0000-000000000000}"/>
          </ac:spMkLst>
        </pc:spChg>
        <pc:spChg chg="mod">
          <ac:chgData name="Marta" userId="eac6eb22-5f14-46b4-a4ea-a86e6e8c4acc" providerId="ADAL" clId="{74097406-F23F-4933-BA70-ABAFA82FF68B}" dt="2023-05-08T11:11:55.429" v="185"/>
          <ac:spMkLst>
            <pc:docMk/>
            <pc:sldMk cId="2064254892" sldId="950"/>
            <ac:spMk id="106" creationId="{00000000-0000-0000-0000-000000000000}"/>
          </ac:spMkLst>
        </pc:spChg>
        <pc:spChg chg="mod">
          <ac:chgData name="Marta" userId="eac6eb22-5f14-46b4-a4ea-a86e6e8c4acc" providerId="ADAL" clId="{74097406-F23F-4933-BA70-ABAFA82FF68B}" dt="2023-05-08T11:11:55.429" v="185"/>
          <ac:spMkLst>
            <pc:docMk/>
            <pc:sldMk cId="2064254892" sldId="950"/>
            <ac:spMk id="107" creationId="{00000000-0000-0000-0000-000000000000}"/>
          </ac:spMkLst>
        </pc:spChg>
        <pc:spChg chg="mod">
          <ac:chgData name="Marta" userId="eac6eb22-5f14-46b4-a4ea-a86e6e8c4acc" providerId="ADAL" clId="{74097406-F23F-4933-BA70-ABAFA82FF68B}" dt="2023-05-08T11:11:55.429" v="185"/>
          <ac:spMkLst>
            <pc:docMk/>
            <pc:sldMk cId="2064254892" sldId="950"/>
            <ac:spMk id="108" creationId="{00000000-0000-0000-0000-000000000000}"/>
          </ac:spMkLst>
        </pc:spChg>
        <pc:spChg chg="mod">
          <ac:chgData name="Marta" userId="eac6eb22-5f14-46b4-a4ea-a86e6e8c4acc" providerId="ADAL" clId="{74097406-F23F-4933-BA70-ABAFA82FF68B}" dt="2023-05-08T11:11:55.429" v="185"/>
          <ac:spMkLst>
            <pc:docMk/>
            <pc:sldMk cId="2064254892" sldId="950"/>
            <ac:spMk id="109" creationId="{00000000-0000-0000-0000-000000000000}"/>
          </ac:spMkLst>
        </pc:spChg>
        <pc:spChg chg="mod">
          <ac:chgData name="Marta" userId="eac6eb22-5f14-46b4-a4ea-a86e6e8c4acc" providerId="ADAL" clId="{74097406-F23F-4933-BA70-ABAFA82FF68B}" dt="2023-05-08T11:11:55.429" v="185"/>
          <ac:spMkLst>
            <pc:docMk/>
            <pc:sldMk cId="2064254892" sldId="950"/>
            <ac:spMk id="110" creationId="{00000000-0000-0000-0000-000000000000}"/>
          </ac:spMkLst>
        </pc:spChg>
        <pc:spChg chg="mod">
          <ac:chgData name="Marta" userId="eac6eb22-5f14-46b4-a4ea-a86e6e8c4acc" providerId="ADAL" clId="{74097406-F23F-4933-BA70-ABAFA82FF68B}" dt="2023-05-08T11:11:55.429" v="185"/>
          <ac:spMkLst>
            <pc:docMk/>
            <pc:sldMk cId="2064254892" sldId="950"/>
            <ac:spMk id="111" creationId="{00000000-0000-0000-0000-000000000000}"/>
          </ac:spMkLst>
        </pc:spChg>
        <pc:spChg chg="mod">
          <ac:chgData name="Marta" userId="eac6eb22-5f14-46b4-a4ea-a86e6e8c4acc" providerId="ADAL" clId="{74097406-F23F-4933-BA70-ABAFA82FF68B}" dt="2023-05-08T11:11:55.429" v="185"/>
          <ac:spMkLst>
            <pc:docMk/>
            <pc:sldMk cId="2064254892" sldId="950"/>
            <ac:spMk id="112" creationId="{00000000-0000-0000-0000-000000000000}"/>
          </ac:spMkLst>
        </pc:spChg>
        <pc:spChg chg="mod">
          <ac:chgData name="Marta" userId="eac6eb22-5f14-46b4-a4ea-a86e6e8c4acc" providerId="ADAL" clId="{74097406-F23F-4933-BA70-ABAFA82FF68B}" dt="2023-05-08T11:11:55.429" v="185"/>
          <ac:spMkLst>
            <pc:docMk/>
            <pc:sldMk cId="2064254892" sldId="950"/>
            <ac:spMk id="113" creationId="{00000000-0000-0000-0000-000000000000}"/>
          </ac:spMkLst>
        </pc:spChg>
        <pc:spChg chg="mod">
          <ac:chgData name="Marta" userId="eac6eb22-5f14-46b4-a4ea-a86e6e8c4acc" providerId="ADAL" clId="{74097406-F23F-4933-BA70-ABAFA82FF68B}" dt="2023-05-08T11:11:55.429" v="185"/>
          <ac:spMkLst>
            <pc:docMk/>
            <pc:sldMk cId="2064254892" sldId="950"/>
            <ac:spMk id="114" creationId="{00000000-0000-0000-0000-000000000000}"/>
          </ac:spMkLst>
        </pc:spChg>
        <pc:spChg chg="mod">
          <ac:chgData name="Marta" userId="eac6eb22-5f14-46b4-a4ea-a86e6e8c4acc" providerId="ADAL" clId="{74097406-F23F-4933-BA70-ABAFA82FF68B}" dt="2023-05-08T11:11:55.429" v="185"/>
          <ac:spMkLst>
            <pc:docMk/>
            <pc:sldMk cId="2064254892" sldId="950"/>
            <ac:spMk id="115" creationId="{00000000-0000-0000-0000-000000000000}"/>
          </ac:spMkLst>
        </pc:spChg>
        <pc:spChg chg="mod">
          <ac:chgData name="Marta" userId="eac6eb22-5f14-46b4-a4ea-a86e6e8c4acc" providerId="ADAL" clId="{74097406-F23F-4933-BA70-ABAFA82FF68B}" dt="2023-05-08T11:11:55.429" v="185"/>
          <ac:spMkLst>
            <pc:docMk/>
            <pc:sldMk cId="2064254892" sldId="950"/>
            <ac:spMk id="116" creationId="{00000000-0000-0000-0000-000000000000}"/>
          </ac:spMkLst>
        </pc:spChg>
        <pc:spChg chg="mod">
          <ac:chgData name="Marta" userId="eac6eb22-5f14-46b4-a4ea-a86e6e8c4acc" providerId="ADAL" clId="{74097406-F23F-4933-BA70-ABAFA82FF68B}" dt="2023-05-08T11:11:55.429" v="185"/>
          <ac:spMkLst>
            <pc:docMk/>
            <pc:sldMk cId="2064254892" sldId="950"/>
            <ac:spMk id="117" creationId="{00000000-0000-0000-0000-000000000000}"/>
          </ac:spMkLst>
        </pc:spChg>
        <pc:spChg chg="mod">
          <ac:chgData name="Marta" userId="eac6eb22-5f14-46b4-a4ea-a86e6e8c4acc" providerId="ADAL" clId="{74097406-F23F-4933-BA70-ABAFA82FF68B}" dt="2023-05-08T11:11:55.429" v="185"/>
          <ac:spMkLst>
            <pc:docMk/>
            <pc:sldMk cId="2064254892" sldId="950"/>
            <ac:spMk id="118" creationId="{00000000-0000-0000-0000-000000000000}"/>
          </ac:spMkLst>
        </pc:spChg>
        <pc:spChg chg="mod">
          <ac:chgData name="Marta" userId="eac6eb22-5f14-46b4-a4ea-a86e6e8c4acc" providerId="ADAL" clId="{74097406-F23F-4933-BA70-ABAFA82FF68B}" dt="2023-05-08T11:11:55.429" v="185"/>
          <ac:spMkLst>
            <pc:docMk/>
            <pc:sldMk cId="2064254892" sldId="950"/>
            <ac:spMk id="119" creationId="{00000000-0000-0000-0000-000000000000}"/>
          </ac:spMkLst>
        </pc:spChg>
        <pc:spChg chg="mod">
          <ac:chgData name="Marta" userId="eac6eb22-5f14-46b4-a4ea-a86e6e8c4acc" providerId="ADAL" clId="{74097406-F23F-4933-BA70-ABAFA82FF68B}" dt="2023-05-08T11:11:55.429" v="185"/>
          <ac:spMkLst>
            <pc:docMk/>
            <pc:sldMk cId="2064254892" sldId="950"/>
            <ac:spMk id="120" creationId="{00000000-0000-0000-0000-000000000000}"/>
          </ac:spMkLst>
        </pc:spChg>
        <pc:spChg chg="mod">
          <ac:chgData name="Marta" userId="eac6eb22-5f14-46b4-a4ea-a86e6e8c4acc" providerId="ADAL" clId="{74097406-F23F-4933-BA70-ABAFA82FF68B}" dt="2023-05-08T11:11:55.429" v="185"/>
          <ac:spMkLst>
            <pc:docMk/>
            <pc:sldMk cId="2064254892" sldId="950"/>
            <ac:spMk id="121" creationId="{00000000-0000-0000-0000-000000000000}"/>
          </ac:spMkLst>
        </pc:spChg>
        <pc:spChg chg="mod">
          <ac:chgData name="Marta" userId="eac6eb22-5f14-46b4-a4ea-a86e6e8c4acc" providerId="ADAL" clId="{74097406-F23F-4933-BA70-ABAFA82FF68B}" dt="2023-05-08T11:11:55.429" v="185"/>
          <ac:spMkLst>
            <pc:docMk/>
            <pc:sldMk cId="2064254892" sldId="950"/>
            <ac:spMk id="122" creationId="{00000000-0000-0000-0000-000000000000}"/>
          </ac:spMkLst>
        </pc:spChg>
        <pc:spChg chg="mod">
          <ac:chgData name="Marta" userId="eac6eb22-5f14-46b4-a4ea-a86e6e8c4acc" providerId="ADAL" clId="{74097406-F23F-4933-BA70-ABAFA82FF68B}" dt="2023-05-08T11:11:55.429" v="185"/>
          <ac:spMkLst>
            <pc:docMk/>
            <pc:sldMk cId="2064254892" sldId="950"/>
            <ac:spMk id="123" creationId="{00000000-0000-0000-0000-000000000000}"/>
          </ac:spMkLst>
        </pc:spChg>
        <pc:spChg chg="mod">
          <ac:chgData name="Marta" userId="eac6eb22-5f14-46b4-a4ea-a86e6e8c4acc" providerId="ADAL" clId="{74097406-F23F-4933-BA70-ABAFA82FF68B}" dt="2023-05-08T11:11:55.429" v="185"/>
          <ac:spMkLst>
            <pc:docMk/>
            <pc:sldMk cId="2064254892" sldId="950"/>
            <ac:spMk id="124" creationId="{00000000-0000-0000-0000-000000000000}"/>
          </ac:spMkLst>
        </pc:spChg>
        <pc:spChg chg="mod">
          <ac:chgData name="Marta" userId="eac6eb22-5f14-46b4-a4ea-a86e6e8c4acc" providerId="ADAL" clId="{74097406-F23F-4933-BA70-ABAFA82FF68B}" dt="2023-05-08T11:11:55.429" v="185"/>
          <ac:spMkLst>
            <pc:docMk/>
            <pc:sldMk cId="2064254892" sldId="950"/>
            <ac:spMk id="125" creationId="{00000000-0000-0000-0000-000000000000}"/>
          </ac:spMkLst>
        </pc:spChg>
        <pc:spChg chg="mod">
          <ac:chgData name="Marta" userId="eac6eb22-5f14-46b4-a4ea-a86e6e8c4acc" providerId="ADAL" clId="{74097406-F23F-4933-BA70-ABAFA82FF68B}" dt="2023-05-08T11:11:55.429" v="185"/>
          <ac:spMkLst>
            <pc:docMk/>
            <pc:sldMk cId="2064254892" sldId="950"/>
            <ac:spMk id="126" creationId="{00000000-0000-0000-0000-000000000000}"/>
          </ac:spMkLst>
        </pc:spChg>
        <pc:spChg chg="mod">
          <ac:chgData name="Marta" userId="eac6eb22-5f14-46b4-a4ea-a86e6e8c4acc" providerId="ADAL" clId="{74097406-F23F-4933-BA70-ABAFA82FF68B}" dt="2023-05-08T11:11:55.429" v="185"/>
          <ac:spMkLst>
            <pc:docMk/>
            <pc:sldMk cId="2064254892" sldId="950"/>
            <ac:spMk id="127" creationId="{00000000-0000-0000-0000-000000000000}"/>
          </ac:spMkLst>
        </pc:spChg>
        <pc:spChg chg="mod">
          <ac:chgData name="Marta" userId="eac6eb22-5f14-46b4-a4ea-a86e6e8c4acc" providerId="ADAL" clId="{74097406-F23F-4933-BA70-ABAFA82FF68B}" dt="2023-05-08T11:11:55.429" v="185"/>
          <ac:spMkLst>
            <pc:docMk/>
            <pc:sldMk cId="2064254892" sldId="950"/>
            <ac:spMk id="128" creationId="{00000000-0000-0000-0000-000000000000}"/>
          </ac:spMkLst>
        </pc:spChg>
        <pc:spChg chg="mod">
          <ac:chgData name="Marta" userId="eac6eb22-5f14-46b4-a4ea-a86e6e8c4acc" providerId="ADAL" clId="{74097406-F23F-4933-BA70-ABAFA82FF68B}" dt="2023-05-08T11:11:55.429" v="185"/>
          <ac:spMkLst>
            <pc:docMk/>
            <pc:sldMk cId="2064254892" sldId="950"/>
            <ac:spMk id="129" creationId="{00000000-0000-0000-0000-000000000000}"/>
          </ac:spMkLst>
        </pc:spChg>
        <pc:spChg chg="mod">
          <ac:chgData name="Marta" userId="eac6eb22-5f14-46b4-a4ea-a86e6e8c4acc" providerId="ADAL" clId="{74097406-F23F-4933-BA70-ABAFA82FF68B}" dt="2023-05-08T11:11:55.429" v="185"/>
          <ac:spMkLst>
            <pc:docMk/>
            <pc:sldMk cId="2064254892" sldId="950"/>
            <ac:spMk id="130" creationId="{00000000-0000-0000-0000-000000000000}"/>
          </ac:spMkLst>
        </pc:spChg>
        <pc:spChg chg="mod">
          <ac:chgData name="Marta" userId="eac6eb22-5f14-46b4-a4ea-a86e6e8c4acc" providerId="ADAL" clId="{74097406-F23F-4933-BA70-ABAFA82FF68B}" dt="2023-05-08T11:11:55.429" v="185"/>
          <ac:spMkLst>
            <pc:docMk/>
            <pc:sldMk cId="2064254892" sldId="950"/>
            <ac:spMk id="131" creationId="{00000000-0000-0000-0000-000000000000}"/>
          </ac:spMkLst>
        </pc:spChg>
        <pc:spChg chg="mod">
          <ac:chgData name="Marta" userId="eac6eb22-5f14-46b4-a4ea-a86e6e8c4acc" providerId="ADAL" clId="{74097406-F23F-4933-BA70-ABAFA82FF68B}" dt="2023-05-08T11:11:55.429" v="185"/>
          <ac:spMkLst>
            <pc:docMk/>
            <pc:sldMk cId="2064254892" sldId="950"/>
            <ac:spMk id="132" creationId="{00000000-0000-0000-0000-000000000000}"/>
          </ac:spMkLst>
        </pc:spChg>
        <pc:spChg chg="mod">
          <ac:chgData name="Marta" userId="eac6eb22-5f14-46b4-a4ea-a86e6e8c4acc" providerId="ADAL" clId="{74097406-F23F-4933-BA70-ABAFA82FF68B}" dt="2023-05-08T11:11:55.429" v="185"/>
          <ac:spMkLst>
            <pc:docMk/>
            <pc:sldMk cId="2064254892" sldId="950"/>
            <ac:spMk id="133" creationId="{00000000-0000-0000-0000-000000000000}"/>
          </ac:spMkLst>
        </pc:spChg>
        <pc:spChg chg="mod">
          <ac:chgData name="Marta" userId="eac6eb22-5f14-46b4-a4ea-a86e6e8c4acc" providerId="ADAL" clId="{74097406-F23F-4933-BA70-ABAFA82FF68B}" dt="2023-05-08T11:11:55.429" v="185"/>
          <ac:spMkLst>
            <pc:docMk/>
            <pc:sldMk cId="2064254892" sldId="950"/>
            <ac:spMk id="134" creationId="{00000000-0000-0000-0000-000000000000}"/>
          </ac:spMkLst>
        </pc:spChg>
        <pc:spChg chg="mod">
          <ac:chgData name="Marta" userId="eac6eb22-5f14-46b4-a4ea-a86e6e8c4acc" providerId="ADAL" clId="{74097406-F23F-4933-BA70-ABAFA82FF68B}" dt="2023-05-08T11:11:55.429" v="185"/>
          <ac:spMkLst>
            <pc:docMk/>
            <pc:sldMk cId="2064254892" sldId="950"/>
            <ac:spMk id="135" creationId="{00000000-0000-0000-0000-000000000000}"/>
          </ac:spMkLst>
        </pc:spChg>
        <pc:spChg chg="mod">
          <ac:chgData name="Marta" userId="eac6eb22-5f14-46b4-a4ea-a86e6e8c4acc" providerId="ADAL" clId="{74097406-F23F-4933-BA70-ABAFA82FF68B}" dt="2023-05-08T11:11:55.429" v="185"/>
          <ac:spMkLst>
            <pc:docMk/>
            <pc:sldMk cId="2064254892" sldId="950"/>
            <ac:spMk id="136" creationId="{00000000-0000-0000-0000-000000000000}"/>
          </ac:spMkLst>
        </pc:spChg>
        <pc:spChg chg="mod">
          <ac:chgData name="Marta" userId="eac6eb22-5f14-46b4-a4ea-a86e6e8c4acc" providerId="ADAL" clId="{74097406-F23F-4933-BA70-ABAFA82FF68B}" dt="2023-05-08T11:11:55.429" v="185"/>
          <ac:spMkLst>
            <pc:docMk/>
            <pc:sldMk cId="2064254892" sldId="950"/>
            <ac:spMk id="137" creationId="{00000000-0000-0000-0000-000000000000}"/>
          </ac:spMkLst>
        </pc:spChg>
        <pc:spChg chg="mod">
          <ac:chgData name="Marta" userId="eac6eb22-5f14-46b4-a4ea-a86e6e8c4acc" providerId="ADAL" clId="{74097406-F23F-4933-BA70-ABAFA82FF68B}" dt="2023-05-08T11:11:55.429" v="185"/>
          <ac:spMkLst>
            <pc:docMk/>
            <pc:sldMk cId="2064254892" sldId="950"/>
            <ac:spMk id="138" creationId="{00000000-0000-0000-0000-000000000000}"/>
          </ac:spMkLst>
        </pc:spChg>
        <pc:spChg chg="mod">
          <ac:chgData name="Marta" userId="eac6eb22-5f14-46b4-a4ea-a86e6e8c4acc" providerId="ADAL" clId="{74097406-F23F-4933-BA70-ABAFA82FF68B}" dt="2023-05-08T11:11:55.429" v="185"/>
          <ac:spMkLst>
            <pc:docMk/>
            <pc:sldMk cId="2064254892" sldId="950"/>
            <ac:spMk id="139" creationId="{00000000-0000-0000-0000-000000000000}"/>
          </ac:spMkLst>
        </pc:spChg>
        <pc:spChg chg="mod">
          <ac:chgData name="Marta" userId="eac6eb22-5f14-46b4-a4ea-a86e6e8c4acc" providerId="ADAL" clId="{74097406-F23F-4933-BA70-ABAFA82FF68B}" dt="2023-05-08T11:11:55.429" v="185"/>
          <ac:spMkLst>
            <pc:docMk/>
            <pc:sldMk cId="2064254892" sldId="950"/>
            <ac:spMk id="140" creationId="{00000000-0000-0000-0000-000000000000}"/>
          </ac:spMkLst>
        </pc:spChg>
        <pc:spChg chg="mod">
          <ac:chgData name="Marta" userId="eac6eb22-5f14-46b4-a4ea-a86e6e8c4acc" providerId="ADAL" clId="{74097406-F23F-4933-BA70-ABAFA82FF68B}" dt="2023-05-08T11:11:55.429" v="185"/>
          <ac:spMkLst>
            <pc:docMk/>
            <pc:sldMk cId="2064254892" sldId="950"/>
            <ac:spMk id="141" creationId="{00000000-0000-0000-0000-000000000000}"/>
          </ac:spMkLst>
        </pc:spChg>
        <pc:spChg chg="mod">
          <ac:chgData name="Marta" userId="eac6eb22-5f14-46b4-a4ea-a86e6e8c4acc" providerId="ADAL" clId="{74097406-F23F-4933-BA70-ABAFA82FF68B}" dt="2023-05-08T11:11:55.429" v="185"/>
          <ac:spMkLst>
            <pc:docMk/>
            <pc:sldMk cId="2064254892" sldId="950"/>
            <ac:spMk id="142" creationId="{00000000-0000-0000-0000-000000000000}"/>
          </ac:spMkLst>
        </pc:spChg>
        <pc:spChg chg="mod">
          <ac:chgData name="Marta" userId="eac6eb22-5f14-46b4-a4ea-a86e6e8c4acc" providerId="ADAL" clId="{74097406-F23F-4933-BA70-ABAFA82FF68B}" dt="2023-05-08T11:11:55.429" v="185"/>
          <ac:spMkLst>
            <pc:docMk/>
            <pc:sldMk cId="2064254892" sldId="950"/>
            <ac:spMk id="143" creationId="{00000000-0000-0000-0000-000000000000}"/>
          </ac:spMkLst>
        </pc:spChg>
        <pc:spChg chg="mod">
          <ac:chgData name="Marta" userId="eac6eb22-5f14-46b4-a4ea-a86e6e8c4acc" providerId="ADAL" clId="{74097406-F23F-4933-BA70-ABAFA82FF68B}" dt="2023-05-08T11:11:55.429" v="185"/>
          <ac:spMkLst>
            <pc:docMk/>
            <pc:sldMk cId="2064254892" sldId="950"/>
            <ac:spMk id="144" creationId="{00000000-0000-0000-0000-000000000000}"/>
          </ac:spMkLst>
        </pc:spChg>
        <pc:spChg chg="mod">
          <ac:chgData name="Marta" userId="eac6eb22-5f14-46b4-a4ea-a86e6e8c4acc" providerId="ADAL" clId="{74097406-F23F-4933-BA70-ABAFA82FF68B}" dt="2023-05-08T11:11:55.429" v="185"/>
          <ac:spMkLst>
            <pc:docMk/>
            <pc:sldMk cId="2064254892" sldId="950"/>
            <ac:spMk id="145" creationId="{00000000-0000-0000-0000-000000000000}"/>
          </ac:spMkLst>
        </pc:spChg>
        <pc:spChg chg="mod">
          <ac:chgData name="Marta" userId="eac6eb22-5f14-46b4-a4ea-a86e6e8c4acc" providerId="ADAL" clId="{74097406-F23F-4933-BA70-ABAFA82FF68B}" dt="2023-05-08T11:11:55.429" v="185"/>
          <ac:spMkLst>
            <pc:docMk/>
            <pc:sldMk cId="2064254892" sldId="950"/>
            <ac:spMk id="146" creationId="{00000000-0000-0000-0000-000000000000}"/>
          </ac:spMkLst>
        </pc:spChg>
        <pc:spChg chg="mod">
          <ac:chgData name="Marta" userId="eac6eb22-5f14-46b4-a4ea-a86e6e8c4acc" providerId="ADAL" clId="{74097406-F23F-4933-BA70-ABAFA82FF68B}" dt="2023-05-08T11:11:55.429" v="185"/>
          <ac:spMkLst>
            <pc:docMk/>
            <pc:sldMk cId="2064254892" sldId="950"/>
            <ac:spMk id="147" creationId="{00000000-0000-0000-0000-000000000000}"/>
          </ac:spMkLst>
        </pc:spChg>
        <pc:spChg chg="mod">
          <ac:chgData name="Marta" userId="eac6eb22-5f14-46b4-a4ea-a86e6e8c4acc" providerId="ADAL" clId="{74097406-F23F-4933-BA70-ABAFA82FF68B}" dt="2023-05-08T11:11:55.429" v="185"/>
          <ac:spMkLst>
            <pc:docMk/>
            <pc:sldMk cId="2064254892" sldId="950"/>
            <ac:spMk id="148" creationId="{00000000-0000-0000-0000-000000000000}"/>
          </ac:spMkLst>
        </pc:spChg>
        <pc:spChg chg="mod">
          <ac:chgData name="Marta" userId="eac6eb22-5f14-46b4-a4ea-a86e6e8c4acc" providerId="ADAL" clId="{74097406-F23F-4933-BA70-ABAFA82FF68B}" dt="2023-05-08T11:11:55.429" v="185"/>
          <ac:spMkLst>
            <pc:docMk/>
            <pc:sldMk cId="2064254892" sldId="950"/>
            <ac:spMk id="149" creationId="{00000000-0000-0000-0000-000000000000}"/>
          </ac:spMkLst>
        </pc:spChg>
        <pc:spChg chg="mod">
          <ac:chgData name="Marta" userId="eac6eb22-5f14-46b4-a4ea-a86e6e8c4acc" providerId="ADAL" clId="{74097406-F23F-4933-BA70-ABAFA82FF68B}" dt="2023-05-08T11:11:55.429" v="185"/>
          <ac:spMkLst>
            <pc:docMk/>
            <pc:sldMk cId="2064254892" sldId="950"/>
            <ac:spMk id="150" creationId="{00000000-0000-0000-0000-000000000000}"/>
          </ac:spMkLst>
        </pc:spChg>
        <pc:spChg chg="mod">
          <ac:chgData name="Marta" userId="eac6eb22-5f14-46b4-a4ea-a86e6e8c4acc" providerId="ADAL" clId="{74097406-F23F-4933-BA70-ABAFA82FF68B}" dt="2023-05-08T11:11:55.429" v="185"/>
          <ac:spMkLst>
            <pc:docMk/>
            <pc:sldMk cId="2064254892" sldId="950"/>
            <ac:spMk id="151" creationId="{00000000-0000-0000-0000-000000000000}"/>
          </ac:spMkLst>
        </pc:spChg>
        <pc:spChg chg="mod">
          <ac:chgData name="Marta" userId="eac6eb22-5f14-46b4-a4ea-a86e6e8c4acc" providerId="ADAL" clId="{74097406-F23F-4933-BA70-ABAFA82FF68B}" dt="2023-05-08T11:11:55.429" v="185"/>
          <ac:spMkLst>
            <pc:docMk/>
            <pc:sldMk cId="2064254892" sldId="950"/>
            <ac:spMk id="152" creationId="{00000000-0000-0000-0000-000000000000}"/>
          </ac:spMkLst>
        </pc:spChg>
        <pc:spChg chg="mod">
          <ac:chgData name="Marta" userId="eac6eb22-5f14-46b4-a4ea-a86e6e8c4acc" providerId="ADAL" clId="{74097406-F23F-4933-BA70-ABAFA82FF68B}" dt="2023-05-08T11:11:55.429" v="185"/>
          <ac:spMkLst>
            <pc:docMk/>
            <pc:sldMk cId="2064254892" sldId="950"/>
            <ac:spMk id="153" creationId="{00000000-0000-0000-0000-000000000000}"/>
          </ac:spMkLst>
        </pc:spChg>
        <pc:spChg chg="mod">
          <ac:chgData name="Marta" userId="eac6eb22-5f14-46b4-a4ea-a86e6e8c4acc" providerId="ADAL" clId="{74097406-F23F-4933-BA70-ABAFA82FF68B}" dt="2023-05-08T11:11:55.429" v="185"/>
          <ac:spMkLst>
            <pc:docMk/>
            <pc:sldMk cId="2064254892" sldId="950"/>
            <ac:spMk id="154" creationId="{00000000-0000-0000-0000-000000000000}"/>
          </ac:spMkLst>
        </pc:spChg>
        <pc:spChg chg="mod">
          <ac:chgData name="Marta" userId="eac6eb22-5f14-46b4-a4ea-a86e6e8c4acc" providerId="ADAL" clId="{74097406-F23F-4933-BA70-ABAFA82FF68B}" dt="2023-05-08T11:11:55.429" v="185"/>
          <ac:spMkLst>
            <pc:docMk/>
            <pc:sldMk cId="2064254892" sldId="950"/>
            <ac:spMk id="155" creationId="{00000000-0000-0000-0000-000000000000}"/>
          </ac:spMkLst>
        </pc:spChg>
        <pc:spChg chg="mod">
          <ac:chgData name="Marta" userId="eac6eb22-5f14-46b4-a4ea-a86e6e8c4acc" providerId="ADAL" clId="{74097406-F23F-4933-BA70-ABAFA82FF68B}" dt="2023-05-08T11:11:55.429" v="185"/>
          <ac:spMkLst>
            <pc:docMk/>
            <pc:sldMk cId="2064254892" sldId="950"/>
            <ac:spMk id="156" creationId="{00000000-0000-0000-0000-000000000000}"/>
          </ac:spMkLst>
        </pc:spChg>
        <pc:spChg chg="mod">
          <ac:chgData name="Marta" userId="eac6eb22-5f14-46b4-a4ea-a86e6e8c4acc" providerId="ADAL" clId="{74097406-F23F-4933-BA70-ABAFA82FF68B}" dt="2023-05-08T11:11:55.429" v="185"/>
          <ac:spMkLst>
            <pc:docMk/>
            <pc:sldMk cId="2064254892" sldId="950"/>
            <ac:spMk id="157" creationId="{00000000-0000-0000-0000-000000000000}"/>
          </ac:spMkLst>
        </pc:spChg>
        <pc:spChg chg="mod">
          <ac:chgData name="Marta" userId="eac6eb22-5f14-46b4-a4ea-a86e6e8c4acc" providerId="ADAL" clId="{74097406-F23F-4933-BA70-ABAFA82FF68B}" dt="2023-05-08T11:11:55.429" v="185"/>
          <ac:spMkLst>
            <pc:docMk/>
            <pc:sldMk cId="2064254892" sldId="950"/>
            <ac:spMk id="158" creationId="{00000000-0000-0000-0000-000000000000}"/>
          </ac:spMkLst>
        </pc:spChg>
        <pc:spChg chg="mod">
          <ac:chgData name="Marta" userId="eac6eb22-5f14-46b4-a4ea-a86e6e8c4acc" providerId="ADAL" clId="{74097406-F23F-4933-BA70-ABAFA82FF68B}" dt="2023-05-08T11:11:55.429" v="185"/>
          <ac:spMkLst>
            <pc:docMk/>
            <pc:sldMk cId="2064254892" sldId="950"/>
            <ac:spMk id="159" creationId="{00000000-0000-0000-0000-000000000000}"/>
          </ac:spMkLst>
        </pc:spChg>
        <pc:spChg chg="mod">
          <ac:chgData name="Marta" userId="eac6eb22-5f14-46b4-a4ea-a86e6e8c4acc" providerId="ADAL" clId="{74097406-F23F-4933-BA70-ABAFA82FF68B}" dt="2023-05-08T11:11:55.429" v="185"/>
          <ac:spMkLst>
            <pc:docMk/>
            <pc:sldMk cId="2064254892" sldId="950"/>
            <ac:spMk id="160" creationId="{00000000-0000-0000-0000-000000000000}"/>
          </ac:spMkLst>
        </pc:spChg>
        <pc:spChg chg="mod">
          <ac:chgData name="Marta" userId="eac6eb22-5f14-46b4-a4ea-a86e6e8c4acc" providerId="ADAL" clId="{74097406-F23F-4933-BA70-ABAFA82FF68B}" dt="2023-05-08T11:11:55.429" v="185"/>
          <ac:spMkLst>
            <pc:docMk/>
            <pc:sldMk cId="2064254892" sldId="950"/>
            <ac:spMk id="161" creationId="{00000000-0000-0000-0000-000000000000}"/>
          </ac:spMkLst>
        </pc:spChg>
        <pc:spChg chg="mod">
          <ac:chgData name="Marta" userId="eac6eb22-5f14-46b4-a4ea-a86e6e8c4acc" providerId="ADAL" clId="{74097406-F23F-4933-BA70-ABAFA82FF68B}" dt="2023-05-08T11:11:55.429" v="185"/>
          <ac:spMkLst>
            <pc:docMk/>
            <pc:sldMk cId="2064254892" sldId="950"/>
            <ac:spMk id="162" creationId="{00000000-0000-0000-0000-000000000000}"/>
          </ac:spMkLst>
        </pc:spChg>
        <pc:spChg chg="mod">
          <ac:chgData name="Marta" userId="eac6eb22-5f14-46b4-a4ea-a86e6e8c4acc" providerId="ADAL" clId="{74097406-F23F-4933-BA70-ABAFA82FF68B}" dt="2023-05-08T11:11:55.429" v="185"/>
          <ac:spMkLst>
            <pc:docMk/>
            <pc:sldMk cId="2064254892" sldId="950"/>
            <ac:spMk id="163" creationId="{00000000-0000-0000-0000-000000000000}"/>
          </ac:spMkLst>
        </pc:spChg>
        <pc:spChg chg="mod">
          <ac:chgData name="Marta" userId="eac6eb22-5f14-46b4-a4ea-a86e6e8c4acc" providerId="ADAL" clId="{74097406-F23F-4933-BA70-ABAFA82FF68B}" dt="2023-05-08T11:11:55.429" v="185"/>
          <ac:spMkLst>
            <pc:docMk/>
            <pc:sldMk cId="2064254892" sldId="950"/>
            <ac:spMk id="164" creationId="{00000000-0000-0000-0000-000000000000}"/>
          </ac:spMkLst>
        </pc:spChg>
        <pc:spChg chg="mod">
          <ac:chgData name="Marta" userId="eac6eb22-5f14-46b4-a4ea-a86e6e8c4acc" providerId="ADAL" clId="{74097406-F23F-4933-BA70-ABAFA82FF68B}" dt="2023-05-08T11:11:55.429" v="185"/>
          <ac:spMkLst>
            <pc:docMk/>
            <pc:sldMk cId="2064254892" sldId="950"/>
            <ac:spMk id="165" creationId="{00000000-0000-0000-0000-000000000000}"/>
          </ac:spMkLst>
        </pc:spChg>
        <pc:spChg chg="mod">
          <ac:chgData name="Marta" userId="eac6eb22-5f14-46b4-a4ea-a86e6e8c4acc" providerId="ADAL" clId="{74097406-F23F-4933-BA70-ABAFA82FF68B}" dt="2023-05-08T11:11:55.429" v="185"/>
          <ac:spMkLst>
            <pc:docMk/>
            <pc:sldMk cId="2064254892" sldId="950"/>
            <ac:spMk id="166" creationId="{00000000-0000-0000-0000-000000000000}"/>
          </ac:spMkLst>
        </pc:spChg>
        <pc:spChg chg="mod">
          <ac:chgData name="Marta" userId="eac6eb22-5f14-46b4-a4ea-a86e6e8c4acc" providerId="ADAL" clId="{74097406-F23F-4933-BA70-ABAFA82FF68B}" dt="2023-05-08T11:11:55.429" v="185"/>
          <ac:spMkLst>
            <pc:docMk/>
            <pc:sldMk cId="2064254892" sldId="950"/>
            <ac:spMk id="167" creationId="{00000000-0000-0000-0000-000000000000}"/>
          </ac:spMkLst>
        </pc:spChg>
        <pc:spChg chg="mod">
          <ac:chgData name="Marta" userId="eac6eb22-5f14-46b4-a4ea-a86e6e8c4acc" providerId="ADAL" clId="{74097406-F23F-4933-BA70-ABAFA82FF68B}" dt="2023-05-08T11:11:55.429" v="185"/>
          <ac:spMkLst>
            <pc:docMk/>
            <pc:sldMk cId="2064254892" sldId="950"/>
            <ac:spMk id="168" creationId="{00000000-0000-0000-0000-000000000000}"/>
          </ac:spMkLst>
        </pc:spChg>
        <pc:spChg chg="mod">
          <ac:chgData name="Marta" userId="eac6eb22-5f14-46b4-a4ea-a86e6e8c4acc" providerId="ADAL" clId="{74097406-F23F-4933-BA70-ABAFA82FF68B}" dt="2023-05-08T11:11:55.429" v="185"/>
          <ac:spMkLst>
            <pc:docMk/>
            <pc:sldMk cId="2064254892" sldId="950"/>
            <ac:spMk id="169" creationId="{00000000-0000-0000-0000-000000000000}"/>
          </ac:spMkLst>
        </pc:spChg>
        <pc:spChg chg="mod">
          <ac:chgData name="Marta" userId="eac6eb22-5f14-46b4-a4ea-a86e6e8c4acc" providerId="ADAL" clId="{74097406-F23F-4933-BA70-ABAFA82FF68B}" dt="2023-05-08T11:11:55.429" v="185"/>
          <ac:spMkLst>
            <pc:docMk/>
            <pc:sldMk cId="2064254892" sldId="950"/>
            <ac:spMk id="170" creationId="{00000000-0000-0000-0000-000000000000}"/>
          </ac:spMkLst>
        </pc:spChg>
        <pc:spChg chg="mod">
          <ac:chgData name="Marta" userId="eac6eb22-5f14-46b4-a4ea-a86e6e8c4acc" providerId="ADAL" clId="{74097406-F23F-4933-BA70-ABAFA82FF68B}" dt="2023-05-08T11:11:55.429" v="185"/>
          <ac:spMkLst>
            <pc:docMk/>
            <pc:sldMk cId="2064254892" sldId="950"/>
            <ac:spMk id="171" creationId="{00000000-0000-0000-0000-000000000000}"/>
          </ac:spMkLst>
        </pc:spChg>
        <pc:spChg chg="mod">
          <ac:chgData name="Marta" userId="eac6eb22-5f14-46b4-a4ea-a86e6e8c4acc" providerId="ADAL" clId="{74097406-F23F-4933-BA70-ABAFA82FF68B}" dt="2023-05-08T11:11:55.429" v="185"/>
          <ac:spMkLst>
            <pc:docMk/>
            <pc:sldMk cId="2064254892" sldId="950"/>
            <ac:spMk id="172" creationId="{00000000-0000-0000-0000-000000000000}"/>
          </ac:spMkLst>
        </pc:spChg>
        <pc:spChg chg="mod">
          <ac:chgData name="Marta" userId="eac6eb22-5f14-46b4-a4ea-a86e6e8c4acc" providerId="ADAL" clId="{74097406-F23F-4933-BA70-ABAFA82FF68B}" dt="2023-05-08T11:11:55.429" v="185"/>
          <ac:spMkLst>
            <pc:docMk/>
            <pc:sldMk cId="2064254892" sldId="950"/>
            <ac:spMk id="173" creationId="{00000000-0000-0000-0000-000000000000}"/>
          </ac:spMkLst>
        </pc:spChg>
        <pc:spChg chg="mod">
          <ac:chgData name="Marta" userId="eac6eb22-5f14-46b4-a4ea-a86e6e8c4acc" providerId="ADAL" clId="{74097406-F23F-4933-BA70-ABAFA82FF68B}" dt="2023-05-08T11:11:55.429" v="185"/>
          <ac:spMkLst>
            <pc:docMk/>
            <pc:sldMk cId="2064254892" sldId="950"/>
            <ac:spMk id="174" creationId="{00000000-0000-0000-0000-000000000000}"/>
          </ac:spMkLst>
        </pc:spChg>
        <pc:spChg chg="mod">
          <ac:chgData name="Marta" userId="eac6eb22-5f14-46b4-a4ea-a86e6e8c4acc" providerId="ADAL" clId="{74097406-F23F-4933-BA70-ABAFA82FF68B}" dt="2023-05-08T11:11:55.429" v="185"/>
          <ac:spMkLst>
            <pc:docMk/>
            <pc:sldMk cId="2064254892" sldId="950"/>
            <ac:spMk id="175" creationId="{00000000-0000-0000-0000-000000000000}"/>
          </ac:spMkLst>
        </pc:spChg>
        <pc:spChg chg="mod">
          <ac:chgData name="Marta" userId="eac6eb22-5f14-46b4-a4ea-a86e6e8c4acc" providerId="ADAL" clId="{74097406-F23F-4933-BA70-ABAFA82FF68B}" dt="2023-05-08T11:11:55.429" v="185"/>
          <ac:spMkLst>
            <pc:docMk/>
            <pc:sldMk cId="2064254892" sldId="950"/>
            <ac:spMk id="176" creationId="{00000000-0000-0000-0000-000000000000}"/>
          </ac:spMkLst>
        </pc:spChg>
        <pc:spChg chg="mod">
          <ac:chgData name="Marta" userId="eac6eb22-5f14-46b4-a4ea-a86e6e8c4acc" providerId="ADAL" clId="{74097406-F23F-4933-BA70-ABAFA82FF68B}" dt="2023-05-08T11:11:55.429" v="185"/>
          <ac:spMkLst>
            <pc:docMk/>
            <pc:sldMk cId="2064254892" sldId="950"/>
            <ac:spMk id="177" creationId="{00000000-0000-0000-0000-000000000000}"/>
          </ac:spMkLst>
        </pc:spChg>
        <pc:spChg chg="mod">
          <ac:chgData name="Marta" userId="eac6eb22-5f14-46b4-a4ea-a86e6e8c4acc" providerId="ADAL" clId="{74097406-F23F-4933-BA70-ABAFA82FF68B}" dt="2023-05-08T11:11:55.429" v="185"/>
          <ac:spMkLst>
            <pc:docMk/>
            <pc:sldMk cId="2064254892" sldId="950"/>
            <ac:spMk id="178" creationId="{00000000-0000-0000-0000-000000000000}"/>
          </ac:spMkLst>
        </pc:spChg>
        <pc:spChg chg="mod">
          <ac:chgData name="Marta" userId="eac6eb22-5f14-46b4-a4ea-a86e6e8c4acc" providerId="ADAL" clId="{74097406-F23F-4933-BA70-ABAFA82FF68B}" dt="2023-05-08T11:11:55.429" v="185"/>
          <ac:spMkLst>
            <pc:docMk/>
            <pc:sldMk cId="2064254892" sldId="950"/>
            <ac:spMk id="179" creationId="{00000000-0000-0000-0000-000000000000}"/>
          </ac:spMkLst>
        </pc:spChg>
        <pc:spChg chg="mod">
          <ac:chgData name="Marta" userId="eac6eb22-5f14-46b4-a4ea-a86e6e8c4acc" providerId="ADAL" clId="{74097406-F23F-4933-BA70-ABAFA82FF68B}" dt="2023-05-08T11:11:55.429" v="185"/>
          <ac:spMkLst>
            <pc:docMk/>
            <pc:sldMk cId="2064254892" sldId="950"/>
            <ac:spMk id="180" creationId="{00000000-0000-0000-0000-000000000000}"/>
          </ac:spMkLst>
        </pc:spChg>
        <pc:spChg chg="mod">
          <ac:chgData name="Marta" userId="eac6eb22-5f14-46b4-a4ea-a86e6e8c4acc" providerId="ADAL" clId="{74097406-F23F-4933-BA70-ABAFA82FF68B}" dt="2023-05-08T11:11:55.429" v="185"/>
          <ac:spMkLst>
            <pc:docMk/>
            <pc:sldMk cId="2064254892" sldId="950"/>
            <ac:spMk id="181" creationId="{00000000-0000-0000-0000-000000000000}"/>
          </ac:spMkLst>
        </pc:spChg>
        <pc:spChg chg="mod">
          <ac:chgData name="Marta" userId="eac6eb22-5f14-46b4-a4ea-a86e6e8c4acc" providerId="ADAL" clId="{74097406-F23F-4933-BA70-ABAFA82FF68B}" dt="2023-05-08T11:11:55.429" v="185"/>
          <ac:spMkLst>
            <pc:docMk/>
            <pc:sldMk cId="2064254892" sldId="950"/>
            <ac:spMk id="182" creationId="{00000000-0000-0000-0000-000000000000}"/>
          </ac:spMkLst>
        </pc:spChg>
        <pc:spChg chg="mod">
          <ac:chgData name="Marta" userId="eac6eb22-5f14-46b4-a4ea-a86e6e8c4acc" providerId="ADAL" clId="{74097406-F23F-4933-BA70-ABAFA82FF68B}" dt="2023-05-08T11:11:55.429" v="185"/>
          <ac:spMkLst>
            <pc:docMk/>
            <pc:sldMk cId="2064254892" sldId="950"/>
            <ac:spMk id="183" creationId="{00000000-0000-0000-0000-000000000000}"/>
          </ac:spMkLst>
        </pc:spChg>
        <pc:spChg chg="mod">
          <ac:chgData name="Marta" userId="eac6eb22-5f14-46b4-a4ea-a86e6e8c4acc" providerId="ADAL" clId="{74097406-F23F-4933-BA70-ABAFA82FF68B}" dt="2023-05-08T11:11:55.429" v="185"/>
          <ac:spMkLst>
            <pc:docMk/>
            <pc:sldMk cId="2064254892" sldId="950"/>
            <ac:spMk id="184" creationId="{00000000-0000-0000-0000-000000000000}"/>
          </ac:spMkLst>
        </pc:spChg>
        <pc:spChg chg="mod">
          <ac:chgData name="Marta" userId="eac6eb22-5f14-46b4-a4ea-a86e6e8c4acc" providerId="ADAL" clId="{74097406-F23F-4933-BA70-ABAFA82FF68B}" dt="2023-05-08T11:11:55.429" v="185"/>
          <ac:spMkLst>
            <pc:docMk/>
            <pc:sldMk cId="2064254892" sldId="950"/>
            <ac:spMk id="185" creationId="{00000000-0000-0000-0000-000000000000}"/>
          </ac:spMkLst>
        </pc:spChg>
        <pc:spChg chg="mod">
          <ac:chgData name="Marta" userId="eac6eb22-5f14-46b4-a4ea-a86e6e8c4acc" providerId="ADAL" clId="{74097406-F23F-4933-BA70-ABAFA82FF68B}" dt="2023-05-08T11:11:55.429" v="185"/>
          <ac:spMkLst>
            <pc:docMk/>
            <pc:sldMk cId="2064254892" sldId="950"/>
            <ac:spMk id="186" creationId="{00000000-0000-0000-0000-000000000000}"/>
          </ac:spMkLst>
        </pc:spChg>
        <pc:spChg chg="mod">
          <ac:chgData name="Marta" userId="eac6eb22-5f14-46b4-a4ea-a86e6e8c4acc" providerId="ADAL" clId="{74097406-F23F-4933-BA70-ABAFA82FF68B}" dt="2023-05-08T11:11:55.429" v="185"/>
          <ac:spMkLst>
            <pc:docMk/>
            <pc:sldMk cId="2064254892" sldId="950"/>
            <ac:spMk id="187" creationId="{00000000-0000-0000-0000-000000000000}"/>
          </ac:spMkLst>
        </pc:spChg>
        <pc:spChg chg="mod">
          <ac:chgData name="Marta" userId="eac6eb22-5f14-46b4-a4ea-a86e6e8c4acc" providerId="ADAL" clId="{74097406-F23F-4933-BA70-ABAFA82FF68B}" dt="2023-05-08T11:11:55.429" v="185"/>
          <ac:spMkLst>
            <pc:docMk/>
            <pc:sldMk cId="2064254892" sldId="950"/>
            <ac:spMk id="188" creationId="{00000000-0000-0000-0000-000000000000}"/>
          </ac:spMkLst>
        </pc:spChg>
        <pc:spChg chg="mod">
          <ac:chgData name="Marta" userId="eac6eb22-5f14-46b4-a4ea-a86e6e8c4acc" providerId="ADAL" clId="{74097406-F23F-4933-BA70-ABAFA82FF68B}" dt="2023-05-08T11:11:55.429" v="185"/>
          <ac:spMkLst>
            <pc:docMk/>
            <pc:sldMk cId="2064254892" sldId="950"/>
            <ac:spMk id="189" creationId="{00000000-0000-0000-0000-000000000000}"/>
          </ac:spMkLst>
        </pc:spChg>
        <pc:spChg chg="mod">
          <ac:chgData name="Marta" userId="eac6eb22-5f14-46b4-a4ea-a86e6e8c4acc" providerId="ADAL" clId="{74097406-F23F-4933-BA70-ABAFA82FF68B}" dt="2023-05-08T11:11:55.429" v="185"/>
          <ac:spMkLst>
            <pc:docMk/>
            <pc:sldMk cId="2064254892" sldId="950"/>
            <ac:spMk id="190" creationId="{00000000-0000-0000-0000-000000000000}"/>
          </ac:spMkLst>
        </pc:spChg>
        <pc:spChg chg="mod">
          <ac:chgData name="Marta" userId="eac6eb22-5f14-46b4-a4ea-a86e6e8c4acc" providerId="ADAL" clId="{74097406-F23F-4933-BA70-ABAFA82FF68B}" dt="2023-05-08T11:11:55.429" v="185"/>
          <ac:spMkLst>
            <pc:docMk/>
            <pc:sldMk cId="2064254892" sldId="950"/>
            <ac:spMk id="191" creationId="{00000000-0000-0000-0000-000000000000}"/>
          </ac:spMkLst>
        </pc:spChg>
        <pc:spChg chg="mod">
          <ac:chgData name="Marta" userId="eac6eb22-5f14-46b4-a4ea-a86e6e8c4acc" providerId="ADAL" clId="{74097406-F23F-4933-BA70-ABAFA82FF68B}" dt="2023-05-08T11:11:55.429" v="185"/>
          <ac:spMkLst>
            <pc:docMk/>
            <pc:sldMk cId="2064254892" sldId="950"/>
            <ac:spMk id="192" creationId="{00000000-0000-0000-0000-000000000000}"/>
          </ac:spMkLst>
        </pc:spChg>
        <pc:spChg chg="mod">
          <ac:chgData name="Marta" userId="eac6eb22-5f14-46b4-a4ea-a86e6e8c4acc" providerId="ADAL" clId="{74097406-F23F-4933-BA70-ABAFA82FF68B}" dt="2023-05-08T11:11:55.429" v="185"/>
          <ac:spMkLst>
            <pc:docMk/>
            <pc:sldMk cId="2064254892" sldId="950"/>
            <ac:spMk id="193" creationId="{00000000-0000-0000-0000-000000000000}"/>
          </ac:spMkLst>
        </pc:spChg>
        <pc:spChg chg="mod">
          <ac:chgData name="Marta" userId="eac6eb22-5f14-46b4-a4ea-a86e6e8c4acc" providerId="ADAL" clId="{74097406-F23F-4933-BA70-ABAFA82FF68B}" dt="2023-05-08T11:11:55.429" v="185"/>
          <ac:spMkLst>
            <pc:docMk/>
            <pc:sldMk cId="2064254892" sldId="950"/>
            <ac:spMk id="194" creationId="{00000000-0000-0000-0000-000000000000}"/>
          </ac:spMkLst>
        </pc:spChg>
        <pc:spChg chg="mod">
          <ac:chgData name="Marta" userId="eac6eb22-5f14-46b4-a4ea-a86e6e8c4acc" providerId="ADAL" clId="{74097406-F23F-4933-BA70-ABAFA82FF68B}" dt="2023-05-08T11:11:55.429" v="185"/>
          <ac:spMkLst>
            <pc:docMk/>
            <pc:sldMk cId="2064254892" sldId="950"/>
            <ac:spMk id="195" creationId="{00000000-0000-0000-0000-000000000000}"/>
          </ac:spMkLst>
        </pc:spChg>
        <pc:spChg chg="mod">
          <ac:chgData name="Marta" userId="eac6eb22-5f14-46b4-a4ea-a86e6e8c4acc" providerId="ADAL" clId="{74097406-F23F-4933-BA70-ABAFA82FF68B}" dt="2023-05-08T11:11:55.429" v="185"/>
          <ac:spMkLst>
            <pc:docMk/>
            <pc:sldMk cId="2064254892" sldId="950"/>
            <ac:spMk id="196" creationId="{00000000-0000-0000-0000-000000000000}"/>
          </ac:spMkLst>
        </pc:spChg>
        <pc:spChg chg="mod">
          <ac:chgData name="Marta" userId="eac6eb22-5f14-46b4-a4ea-a86e6e8c4acc" providerId="ADAL" clId="{74097406-F23F-4933-BA70-ABAFA82FF68B}" dt="2023-05-08T11:11:55.429" v="185"/>
          <ac:spMkLst>
            <pc:docMk/>
            <pc:sldMk cId="2064254892" sldId="950"/>
            <ac:spMk id="197" creationId="{00000000-0000-0000-0000-000000000000}"/>
          </ac:spMkLst>
        </pc:spChg>
        <pc:spChg chg="mod">
          <ac:chgData name="Marta" userId="eac6eb22-5f14-46b4-a4ea-a86e6e8c4acc" providerId="ADAL" clId="{74097406-F23F-4933-BA70-ABAFA82FF68B}" dt="2023-05-08T11:11:55.429" v="185"/>
          <ac:spMkLst>
            <pc:docMk/>
            <pc:sldMk cId="2064254892" sldId="950"/>
            <ac:spMk id="198" creationId="{00000000-0000-0000-0000-000000000000}"/>
          </ac:spMkLst>
        </pc:spChg>
        <pc:spChg chg="mod">
          <ac:chgData name="Marta" userId="eac6eb22-5f14-46b4-a4ea-a86e6e8c4acc" providerId="ADAL" clId="{74097406-F23F-4933-BA70-ABAFA82FF68B}" dt="2023-05-08T11:11:55.429" v="185"/>
          <ac:spMkLst>
            <pc:docMk/>
            <pc:sldMk cId="2064254892" sldId="950"/>
            <ac:spMk id="199" creationId="{00000000-0000-0000-0000-000000000000}"/>
          </ac:spMkLst>
        </pc:spChg>
        <pc:spChg chg="mod">
          <ac:chgData name="Marta" userId="eac6eb22-5f14-46b4-a4ea-a86e6e8c4acc" providerId="ADAL" clId="{74097406-F23F-4933-BA70-ABAFA82FF68B}" dt="2023-05-08T11:11:55.429" v="185"/>
          <ac:spMkLst>
            <pc:docMk/>
            <pc:sldMk cId="2064254892" sldId="950"/>
            <ac:spMk id="200" creationId="{00000000-0000-0000-0000-000000000000}"/>
          </ac:spMkLst>
        </pc:spChg>
        <pc:spChg chg="mod">
          <ac:chgData name="Marta" userId="eac6eb22-5f14-46b4-a4ea-a86e6e8c4acc" providerId="ADAL" clId="{74097406-F23F-4933-BA70-ABAFA82FF68B}" dt="2023-05-08T11:11:55.429" v="185"/>
          <ac:spMkLst>
            <pc:docMk/>
            <pc:sldMk cId="2064254892" sldId="950"/>
            <ac:spMk id="201" creationId="{00000000-0000-0000-0000-000000000000}"/>
          </ac:spMkLst>
        </pc:spChg>
        <pc:spChg chg="mod">
          <ac:chgData name="Marta" userId="eac6eb22-5f14-46b4-a4ea-a86e6e8c4acc" providerId="ADAL" clId="{74097406-F23F-4933-BA70-ABAFA82FF68B}" dt="2023-05-08T11:11:55.429" v="185"/>
          <ac:spMkLst>
            <pc:docMk/>
            <pc:sldMk cId="2064254892" sldId="950"/>
            <ac:spMk id="202" creationId="{00000000-0000-0000-0000-000000000000}"/>
          </ac:spMkLst>
        </pc:spChg>
        <pc:spChg chg="mod">
          <ac:chgData name="Marta" userId="eac6eb22-5f14-46b4-a4ea-a86e6e8c4acc" providerId="ADAL" clId="{74097406-F23F-4933-BA70-ABAFA82FF68B}" dt="2023-05-08T11:11:55.429" v="185"/>
          <ac:spMkLst>
            <pc:docMk/>
            <pc:sldMk cId="2064254892" sldId="950"/>
            <ac:spMk id="203" creationId="{00000000-0000-0000-0000-000000000000}"/>
          </ac:spMkLst>
        </pc:spChg>
        <pc:spChg chg="mod">
          <ac:chgData name="Marta" userId="eac6eb22-5f14-46b4-a4ea-a86e6e8c4acc" providerId="ADAL" clId="{74097406-F23F-4933-BA70-ABAFA82FF68B}" dt="2023-05-08T11:11:55.429" v="185"/>
          <ac:spMkLst>
            <pc:docMk/>
            <pc:sldMk cId="2064254892" sldId="950"/>
            <ac:spMk id="204" creationId="{00000000-0000-0000-0000-000000000000}"/>
          </ac:spMkLst>
        </pc:spChg>
        <pc:spChg chg="mod">
          <ac:chgData name="Marta" userId="eac6eb22-5f14-46b4-a4ea-a86e6e8c4acc" providerId="ADAL" clId="{74097406-F23F-4933-BA70-ABAFA82FF68B}" dt="2023-05-08T11:11:55.429" v="185"/>
          <ac:spMkLst>
            <pc:docMk/>
            <pc:sldMk cId="2064254892" sldId="950"/>
            <ac:spMk id="205" creationId="{00000000-0000-0000-0000-000000000000}"/>
          </ac:spMkLst>
        </pc:spChg>
        <pc:spChg chg="mod">
          <ac:chgData name="Marta" userId="eac6eb22-5f14-46b4-a4ea-a86e6e8c4acc" providerId="ADAL" clId="{74097406-F23F-4933-BA70-ABAFA82FF68B}" dt="2023-05-08T11:11:55.429" v="185"/>
          <ac:spMkLst>
            <pc:docMk/>
            <pc:sldMk cId="2064254892" sldId="950"/>
            <ac:spMk id="206" creationId="{00000000-0000-0000-0000-000000000000}"/>
          </ac:spMkLst>
        </pc:spChg>
        <pc:spChg chg="mod">
          <ac:chgData name="Marta" userId="eac6eb22-5f14-46b4-a4ea-a86e6e8c4acc" providerId="ADAL" clId="{74097406-F23F-4933-BA70-ABAFA82FF68B}" dt="2023-05-08T11:11:55.429" v="185"/>
          <ac:spMkLst>
            <pc:docMk/>
            <pc:sldMk cId="2064254892" sldId="950"/>
            <ac:spMk id="207" creationId="{00000000-0000-0000-0000-000000000000}"/>
          </ac:spMkLst>
        </pc:spChg>
        <pc:spChg chg="mod">
          <ac:chgData name="Marta" userId="eac6eb22-5f14-46b4-a4ea-a86e6e8c4acc" providerId="ADAL" clId="{74097406-F23F-4933-BA70-ABAFA82FF68B}" dt="2023-05-08T11:11:55.429" v="185"/>
          <ac:spMkLst>
            <pc:docMk/>
            <pc:sldMk cId="2064254892" sldId="950"/>
            <ac:spMk id="208" creationId="{00000000-0000-0000-0000-000000000000}"/>
          </ac:spMkLst>
        </pc:spChg>
        <pc:spChg chg="mod">
          <ac:chgData name="Marta" userId="eac6eb22-5f14-46b4-a4ea-a86e6e8c4acc" providerId="ADAL" clId="{74097406-F23F-4933-BA70-ABAFA82FF68B}" dt="2023-05-08T11:11:55.429" v="185"/>
          <ac:spMkLst>
            <pc:docMk/>
            <pc:sldMk cId="2064254892" sldId="950"/>
            <ac:spMk id="209" creationId="{00000000-0000-0000-0000-000000000000}"/>
          </ac:spMkLst>
        </pc:spChg>
        <pc:spChg chg="mod">
          <ac:chgData name="Marta" userId="eac6eb22-5f14-46b4-a4ea-a86e6e8c4acc" providerId="ADAL" clId="{74097406-F23F-4933-BA70-ABAFA82FF68B}" dt="2023-05-08T11:11:55.429" v="185"/>
          <ac:spMkLst>
            <pc:docMk/>
            <pc:sldMk cId="2064254892" sldId="950"/>
            <ac:spMk id="210" creationId="{00000000-0000-0000-0000-000000000000}"/>
          </ac:spMkLst>
        </pc:spChg>
        <pc:spChg chg="mod">
          <ac:chgData name="Marta" userId="eac6eb22-5f14-46b4-a4ea-a86e6e8c4acc" providerId="ADAL" clId="{74097406-F23F-4933-BA70-ABAFA82FF68B}" dt="2023-05-08T11:11:55.429" v="185"/>
          <ac:spMkLst>
            <pc:docMk/>
            <pc:sldMk cId="2064254892" sldId="950"/>
            <ac:spMk id="211" creationId="{00000000-0000-0000-0000-000000000000}"/>
          </ac:spMkLst>
        </pc:spChg>
        <pc:spChg chg="mod">
          <ac:chgData name="Marta" userId="eac6eb22-5f14-46b4-a4ea-a86e6e8c4acc" providerId="ADAL" clId="{74097406-F23F-4933-BA70-ABAFA82FF68B}" dt="2023-05-08T11:11:55.429" v="185"/>
          <ac:spMkLst>
            <pc:docMk/>
            <pc:sldMk cId="2064254892" sldId="950"/>
            <ac:spMk id="212" creationId="{00000000-0000-0000-0000-000000000000}"/>
          </ac:spMkLst>
        </pc:spChg>
        <pc:spChg chg="mod">
          <ac:chgData name="Marta" userId="eac6eb22-5f14-46b4-a4ea-a86e6e8c4acc" providerId="ADAL" clId="{74097406-F23F-4933-BA70-ABAFA82FF68B}" dt="2023-05-08T11:11:55.429" v="185"/>
          <ac:spMkLst>
            <pc:docMk/>
            <pc:sldMk cId="2064254892" sldId="950"/>
            <ac:spMk id="213" creationId="{00000000-0000-0000-0000-000000000000}"/>
          </ac:spMkLst>
        </pc:spChg>
        <pc:spChg chg="mod">
          <ac:chgData name="Marta" userId="eac6eb22-5f14-46b4-a4ea-a86e6e8c4acc" providerId="ADAL" clId="{74097406-F23F-4933-BA70-ABAFA82FF68B}" dt="2023-05-08T11:11:55.429" v="185"/>
          <ac:spMkLst>
            <pc:docMk/>
            <pc:sldMk cId="2064254892" sldId="950"/>
            <ac:spMk id="214" creationId="{00000000-0000-0000-0000-000000000000}"/>
          </ac:spMkLst>
        </pc:spChg>
        <pc:spChg chg="mod">
          <ac:chgData name="Marta" userId="eac6eb22-5f14-46b4-a4ea-a86e6e8c4acc" providerId="ADAL" clId="{74097406-F23F-4933-BA70-ABAFA82FF68B}" dt="2023-05-08T11:11:55.429" v="185"/>
          <ac:spMkLst>
            <pc:docMk/>
            <pc:sldMk cId="2064254892" sldId="950"/>
            <ac:spMk id="215" creationId="{00000000-0000-0000-0000-000000000000}"/>
          </ac:spMkLst>
        </pc:spChg>
        <pc:spChg chg="mod">
          <ac:chgData name="Marta" userId="eac6eb22-5f14-46b4-a4ea-a86e6e8c4acc" providerId="ADAL" clId="{74097406-F23F-4933-BA70-ABAFA82FF68B}" dt="2023-05-08T11:11:55.429" v="185"/>
          <ac:spMkLst>
            <pc:docMk/>
            <pc:sldMk cId="2064254892" sldId="950"/>
            <ac:spMk id="216" creationId="{00000000-0000-0000-0000-000000000000}"/>
          </ac:spMkLst>
        </pc:spChg>
        <pc:spChg chg="mod">
          <ac:chgData name="Marta" userId="eac6eb22-5f14-46b4-a4ea-a86e6e8c4acc" providerId="ADAL" clId="{74097406-F23F-4933-BA70-ABAFA82FF68B}" dt="2023-05-08T11:11:55.429" v="185"/>
          <ac:spMkLst>
            <pc:docMk/>
            <pc:sldMk cId="2064254892" sldId="950"/>
            <ac:spMk id="217" creationId="{00000000-0000-0000-0000-000000000000}"/>
          </ac:spMkLst>
        </pc:spChg>
        <pc:spChg chg="mod">
          <ac:chgData name="Marta" userId="eac6eb22-5f14-46b4-a4ea-a86e6e8c4acc" providerId="ADAL" clId="{74097406-F23F-4933-BA70-ABAFA82FF68B}" dt="2023-05-08T11:11:55.429" v="185"/>
          <ac:spMkLst>
            <pc:docMk/>
            <pc:sldMk cId="2064254892" sldId="950"/>
            <ac:spMk id="218" creationId="{00000000-0000-0000-0000-000000000000}"/>
          </ac:spMkLst>
        </pc:spChg>
        <pc:spChg chg="mod">
          <ac:chgData name="Marta" userId="eac6eb22-5f14-46b4-a4ea-a86e6e8c4acc" providerId="ADAL" clId="{74097406-F23F-4933-BA70-ABAFA82FF68B}" dt="2023-05-08T11:11:55.429" v="185"/>
          <ac:spMkLst>
            <pc:docMk/>
            <pc:sldMk cId="2064254892" sldId="950"/>
            <ac:spMk id="219" creationId="{00000000-0000-0000-0000-000000000000}"/>
          </ac:spMkLst>
        </pc:spChg>
        <pc:spChg chg="mod">
          <ac:chgData name="Marta" userId="eac6eb22-5f14-46b4-a4ea-a86e6e8c4acc" providerId="ADAL" clId="{74097406-F23F-4933-BA70-ABAFA82FF68B}" dt="2023-05-08T11:11:55.429" v="185"/>
          <ac:spMkLst>
            <pc:docMk/>
            <pc:sldMk cId="2064254892" sldId="950"/>
            <ac:spMk id="220" creationId="{00000000-0000-0000-0000-000000000000}"/>
          </ac:spMkLst>
        </pc:spChg>
        <pc:spChg chg="mod">
          <ac:chgData name="Marta" userId="eac6eb22-5f14-46b4-a4ea-a86e6e8c4acc" providerId="ADAL" clId="{74097406-F23F-4933-BA70-ABAFA82FF68B}" dt="2023-05-08T11:11:55.429" v="185"/>
          <ac:spMkLst>
            <pc:docMk/>
            <pc:sldMk cId="2064254892" sldId="950"/>
            <ac:spMk id="221" creationId="{00000000-0000-0000-0000-000000000000}"/>
          </ac:spMkLst>
        </pc:spChg>
        <pc:spChg chg="mod">
          <ac:chgData name="Marta" userId="eac6eb22-5f14-46b4-a4ea-a86e6e8c4acc" providerId="ADAL" clId="{74097406-F23F-4933-BA70-ABAFA82FF68B}" dt="2023-05-08T11:11:55.429" v="185"/>
          <ac:spMkLst>
            <pc:docMk/>
            <pc:sldMk cId="2064254892" sldId="950"/>
            <ac:spMk id="222" creationId="{00000000-0000-0000-0000-000000000000}"/>
          </ac:spMkLst>
        </pc:spChg>
        <pc:spChg chg="mod">
          <ac:chgData name="Marta" userId="eac6eb22-5f14-46b4-a4ea-a86e6e8c4acc" providerId="ADAL" clId="{74097406-F23F-4933-BA70-ABAFA82FF68B}" dt="2023-05-08T11:11:55.429" v="185"/>
          <ac:spMkLst>
            <pc:docMk/>
            <pc:sldMk cId="2064254892" sldId="950"/>
            <ac:spMk id="223" creationId="{00000000-0000-0000-0000-000000000000}"/>
          </ac:spMkLst>
        </pc:spChg>
        <pc:spChg chg="mod">
          <ac:chgData name="Marta" userId="eac6eb22-5f14-46b4-a4ea-a86e6e8c4acc" providerId="ADAL" clId="{74097406-F23F-4933-BA70-ABAFA82FF68B}" dt="2023-05-08T11:11:55.429" v="185"/>
          <ac:spMkLst>
            <pc:docMk/>
            <pc:sldMk cId="2064254892" sldId="950"/>
            <ac:spMk id="224" creationId="{00000000-0000-0000-0000-000000000000}"/>
          </ac:spMkLst>
        </pc:spChg>
        <pc:spChg chg="mod">
          <ac:chgData name="Marta" userId="eac6eb22-5f14-46b4-a4ea-a86e6e8c4acc" providerId="ADAL" clId="{74097406-F23F-4933-BA70-ABAFA82FF68B}" dt="2023-05-08T11:11:55.429" v="185"/>
          <ac:spMkLst>
            <pc:docMk/>
            <pc:sldMk cId="2064254892" sldId="950"/>
            <ac:spMk id="225" creationId="{00000000-0000-0000-0000-000000000000}"/>
          </ac:spMkLst>
        </pc:spChg>
        <pc:spChg chg="mod">
          <ac:chgData name="Marta" userId="eac6eb22-5f14-46b4-a4ea-a86e6e8c4acc" providerId="ADAL" clId="{74097406-F23F-4933-BA70-ABAFA82FF68B}" dt="2023-05-08T11:11:55.429" v="185"/>
          <ac:spMkLst>
            <pc:docMk/>
            <pc:sldMk cId="2064254892" sldId="950"/>
            <ac:spMk id="226" creationId="{00000000-0000-0000-0000-000000000000}"/>
          </ac:spMkLst>
        </pc:spChg>
        <pc:spChg chg="mod">
          <ac:chgData name="Marta" userId="eac6eb22-5f14-46b4-a4ea-a86e6e8c4acc" providerId="ADAL" clId="{74097406-F23F-4933-BA70-ABAFA82FF68B}" dt="2023-05-08T11:11:55.429" v="185"/>
          <ac:spMkLst>
            <pc:docMk/>
            <pc:sldMk cId="2064254892" sldId="950"/>
            <ac:spMk id="227" creationId="{00000000-0000-0000-0000-000000000000}"/>
          </ac:spMkLst>
        </pc:spChg>
        <pc:spChg chg="mod">
          <ac:chgData name="Marta" userId="eac6eb22-5f14-46b4-a4ea-a86e6e8c4acc" providerId="ADAL" clId="{74097406-F23F-4933-BA70-ABAFA82FF68B}" dt="2023-05-08T11:11:55.429" v="185"/>
          <ac:spMkLst>
            <pc:docMk/>
            <pc:sldMk cId="2064254892" sldId="950"/>
            <ac:spMk id="228" creationId="{00000000-0000-0000-0000-000000000000}"/>
          </ac:spMkLst>
        </pc:spChg>
        <pc:spChg chg="mod">
          <ac:chgData name="Marta" userId="eac6eb22-5f14-46b4-a4ea-a86e6e8c4acc" providerId="ADAL" clId="{74097406-F23F-4933-BA70-ABAFA82FF68B}" dt="2023-05-08T11:11:55.429" v="185"/>
          <ac:spMkLst>
            <pc:docMk/>
            <pc:sldMk cId="2064254892" sldId="950"/>
            <ac:spMk id="229" creationId="{00000000-0000-0000-0000-000000000000}"/>
          </ac:spMkLst>
        </pc:spChg>
        <pc:spChg chg="mod">
          <ac:chgData name="Marta" userId="eac6eb22-5f14-46b4-a4ea-a86e6e8c4acc" providerId="ADAL" clId="{74097406-F23F-4933-BA70-ABAFA82FF68B}" dt="2023-05-08T11:11:55.429" v="185"/>
          <ac:spMkLst>
            <pc:docMk/>
            <pc:sldMk cId="2064254892" sldId="950"/>
            <ac:spMk id="230" creationId="{00000000-0000-0000-0000-000000000000}"/>
          </ac:spMkLst>
        </pc:spChg>
        <pc:spChg chg="mod">
          <ac:chgData name="Marta" userId="eac6eb22-5f14-46b4-a4ea-a86e6e8c4acc" providerId="ADAL" clId="{74097406-F23F-4933-BA70-ABAFA82FF68B}" dt="2023-05-08T11:11:55.429" v="185"/>
          <ac:spMkLst>
            <pc:docMk/>
            <pc:sldMk cId="2064254892" sldId="950"/>
            <ac:spMk id="231" creationId="{00000000-0000-0000-0000-000000000000}"/>
          </ac:spMkLst>
        </pc:spChg>
        <pc:spChg chg="mod">
          <ac:chgData name="Marta" userId="eac6eb22-5f14-46b4-a4ea-a86e6e8c4acc" providerId="ADAL" clId="{74097406-F23F-4933-BA70-ABAFA82FF68B}" dt="2023-05-08T11:11:55.429" v="185"/>
          <ac:spMkLst>
            <pc:docMk/>
            <pc:sldMk cId="2064254892" sldId="950"/>
            <ac:spMk id="232" creationId="{00000000-0000-0000-0000-000000000000}"/>
          </ac:spMkLst>
        </pc:spChg>
        <pc:spChg chg="mod">
          <ac:chgData name="Marta" userId="eac6eb22-5f14-46b4-a4ea-a86e6e8c4acc" providerId="ADAL" clId="{74097406-F23F-4933-BA70-ABAFA82FF68B}" dt="2023-05-08T11:11:55.429" v="185"/>
          <ac:spMkLst>
            <pc:docMk/>
            <pc:sldMk cId="2064254892" sldId="950"/>
            <ac:spMk id="233" creationId="{00000000-0000-0000-0000-000000000000}"/>
          </ac:spMkLst>
        </pc:spChg>
        <pc:spChg chg="mod">
          <ac:chgData name="Marta" userId="eac6eb22-5f14-46b4-a4ea-a86e6e8c4acc" providerId="ADAL" clId="{74097406-F23F-4933-BA70-ABAFA82FF68B}" dt="2023-05-08T11:11:55.429" v="185"/>
          <ac:spMkLst>
            <pc:docMk/>
            <pc:sldMk cId="2064254892" sldId="950"/>
            <ac:spMk id="234" creationId="{00000000-0000-0000-0000-000000000000}"/>
          </ac:spMkLst>
        </pc:spChg>
        <pc:spChg chg="mod">
          <ac:chgData name="Marta" userId="eac6eb22-5f14-46b4-a4ea-a86e6e8c4acc" providerId="ADAL" clId="{74097406-F23F-4933-BA70-ABAFA82FF68B}" dt="2023-05-08T11:11:55.429" v="185"/>
          <ac:spMkLst>
            <pc:docMk/>
            <pc:sldMk cId="2064254892" sldId="950"/>
            <ac:spMk id="235" creationId="{00000000-0000-0000-0000-000000000000}"/>
          </ac:spMkLst>
        </pc:spChg>
        <pc:spChg chg="mod">
          <ac:chgData name="Marta" userId="eac6eb22-5f14-46b4-a4ea-a86e6e8c4acc" providerId="ADAL" clId="{74097406-F23F-4933-BA70-ABAFA82FF68B}" dt="2023-05-08T11:11:55.429" v="185"/>
          <ac:spMkLst>
            <pc:docMk/>
            <pc:sldMk cId="2064254892" sldId="950"/>
            <ac:spMk id="236" creationId="{00000000-0000-0000-0000-000000000000}"/>
          </ac:spMkLst>
        </pc:spChg>
        <pc:spChg chg="mod">
          <ac:chgData name="Marta" userId="eac6eb22-5f14-46b4-a4ea-a86e6e8c4acc" providerId="ADAL" clId="{74097406-F23F-4933-BA70-ABAFA82FF68B}" dt="2023-05-08T11:11:55.429" v="185"/>
          <ac:spMkLst>
            <pc:docMk/>
            <pc:sldMk cId="2064254892" sldId="950"/>
            <ac:spMk id="237" creationId="{00000000-0000-0000-0000-000000000000}"/>
          </ac:spMkLst>
        </pc:spChg>
        <pc:spChg chg="mod">
          <ac:chgData name="Marta" userId="eac6eb22-5f14-46b4-a4ea-a86e6e8c4acc" providerId="ADAL" clId="{74097406-F23F-4933-BA70-ABAFA82FF68B}" dt="2023-05-08T11:11:55.429" v="185"/>
          <ac:spMkLst>
            <pc:docMk/>
            <pc:sldMk cId="2064254892" sldId="950"/>
            <ac:spMk id="238" creationId="{00000000-0000-0000-0000-000000000000}"/>
          </ac:spMkLst>
        </pc:spChg>
        <pc:spChg chg="mod">
          <ac:chgData name="Marta" userId="eac6eb22-5f14-46b4-a4ea-a86e6e8c4acc" providerId="ADAL" clId="{74097406-F23F-4933-BA70-ABAFA82FF68B}" dt="2023-05-08T11:11:55.429" v="185"/>
          <ac:spMkLst>
            <pc:docMk/>
            <pc:sldMk cId="2064254892" sldId="950"/>
            <ac:spMk id="239" creationId="{00000000-0000-0000-0000-000000000000}"/>
          </ac:spMkLst>
        </pc:spChg>
        <pc:spChg chg="mod">
          <ac:chgData name="Marta" userId="eac6eb22-5f14-46b4-a4ea-a86e6e8c4acc" providerId="ADAL" clId="{74097406-F23F-4933-BA70-ABAFA82FF68B}" dt="2023-05-08T11:11:55.429" v="185"/>
          <ac:spMkLst>
            <pc:docMk/>
            <pc:sldMk cId="2064254892" sldId="950"/>
            <ac:spMk id="240" creationId="{00000000-0000-0000-0000-000000000000}"/>
          </ac:spMkLst>
        </pc:spChg>
        <pc:spChg chg="mod">
          <ac:chgData name="Marta" userId="eac6eb22-5f14-46b4-a4ea-a86e6e8c4acc" providerId="ADAL" clId="{74097406-F23F-4933-BA70-ABAFA82FF68B}" dt="2023-05-08T11:11:55.429" v="185"/>
          <ac:spMkLst>
            <pc:docMk/>
            <pc:sldMk cId="2064254892" sldId="950"/>
            <ac:spMk id="241" creationId="{00000000-0000-0000-0000-000000000000}"/>
          </ac:spMkLst>
        </pc:spChg>
        <pc:spChg chg="mod">
          <ac:chgData name="Marta" userId="eac6eb22-5f14-46b4-a4ea-a86e6e8c4acc" providerId="ADAL" clId="{74097406-F23F-4933-BA70-ABAFA82FF68B}" dt="2023-05-08T11:11:55.429" v="185"/>
          <ac:spMkLst>
            <pc:docMk/>
            <pc:sldMk cId="2064254892" sldId="950"/>
            <ac:spMk id="242" creationId="{00000000-0000-0000-0000-000000000000}"/>
          </ac:spMkLst>
        </pc:spChg>
        <pc:spChg chg="mod">
          <ac:chgData name="Marta" userId="eac6eb22-5f14-46b4-a4ea-a86e6e8c4acc" providerId="ADAL" clId="{74097406-F23F-4933-BA70-ABAFA82FF68B}" dt="2023-05-08T11:11:55.429" v="185"/>
          <ac:spMkLst>
            <pc:docMk/>
            <pc:sldMk cId="2064254892" sldId="950"/>
            <ac:spMk id="243" creationId="{00000000-0000-0000-0000-000000000000}"/>
          </ac:spMkLst>
        </pc:spChg>
        <pc:spChg chg="mod">
          <ac:chgData name="Marta" userId="eac6eb22-5f14-46b4-a4ea-a86e6e8c4acc" providerId="ADAL" clId="{74097406-F23F-4933-BA70-ABAFA82FF68B}" dt="2023-05-08T11:11:55.429" v="185"/>
          <ac:spMkLst>
            <pc:docMk/>
            <pc:sldMk cId="2064254892" sldId="950"/>
            <ac:spMk id="244" creationId="{00000000-0000-0000-0000-000000000000}"/>
          </ac:spMkLst>
        </pc:spChg>
        <pc:spChg chg="mod">
          <ac:chgData name="Marta" userId="eac6eb22-5f14-46b4-a4ea-a86e6e8c4acc" providerId="ADAL" clId="{74097406-F23F-4933-BA70-ABAFA82FF68B}" dt="2023-05-08T11:11:55.429" v="185"/>
          <ac:spMkLst>
            <pc:docMk/>
            <pc:sldMk cId="2064254892" sldId="950"/>
            <ac:spMk id="245" creationId="{00000000-0000-0000-0000-000000000000}"/>
          </ac:spMkLst>
        </pc:spChg>
        <pc:spChg chg="mod">
          <ac:chgData name="Marta" userId="eac6eb22-5f14-46b4-a4ea-a86e6e8c4acc" providerId="ADAL" clId="{74097406-F23F-4933-BA70-ABAFA82FF68B}" dt="2023-05-08T11:11:55.429" v="185"/>
          <ac:spMkLst>
            <pc:docMk/>
            <pc:sldMk cId="2064254892" sldId="950"/>
            <ac:spMk id="246" creationId="{00000000-0000-0000-0000-000000000000}"/>
          </ac:spMkLst>
        </pc:spChg>
        <pc:spChg chg="mod">
          <ac:chgData name="Marta" userId="eac6eb22-5f14-46b4-a4ea-a86e6e8c4acc" providerId="ADAL" clId="{74097406-F23F-4933-BA70-ABAFA82FF68B}" dt="2023-05-08T11:11:55.429" v="185"/>
          <ac:spMkLst>
            <pc:docMk/>
            <pc:sldMk cId="2064254892" sldId="950"/>
            <ac:spMk id="247" creationId="{00000000-0000-0000-0000-000000000000}"/>
          </ac:spMkLst>
        </pc:spChg>
        <pc:spChg chg="mod">
          <ac:chgData name="Marta" userId="eac6eb22-5f14-46b4-a4ea-a86e6e8c4acc" providerId="ADAL" clId="{74097406-F23F-4933-BA70-ABAFA82FF68B}" dt="2023-05-08T11:11:55.429" v="185"/>
          <ac:spMkLst>
            <pc:docMk/>
            <pc:sldMk cId="2064254892" sldId="950"/>
            <ac:spMk id="248" creationId="{00000000-0000-0000-0000-000000000000}"/>
          </ac:spMkLst>
        </pc:spChg>
        <pc:spChg chg="mod">
          <ac:chgData name="Marta" userId="eac6eb22-5f14-46b4-a4ea-a86e6e8c4acc" providerId="ADAL" clId="{74097406-F23F-4933-BA70-ABAFA82FF68B}" dt="2023-05-08T11:11:55.429" v="185"/>
          <ac:spMkLst>
            <pc:docMk/>
            <pc:sldMk cId="2064254892" sldId="950"/>
            <ac:spMk id="249" creationId="{00000000-0000-0000-0000-000000000000}"/>
          </ac:spMkLst>
        </pc:spChg>
        <pc:spChg chg="mod">
          <ac:chgData name="Marta" userId="eac6eb22-5f14-46b4-a4ea-a86e6e8c4acc" providerId="ADAL" clId="{74097406-F23F-4933-BA70-ABAFA82FF68B}" dt="2023-05-08T11:11:55.429" v="185"/>
          <ac:spMkLst>
            <pc:docMk/>
            <pc:sldMk cId="2064254892" sldId="950"/>
            <ac:spMk id="250" creationId="{00000000-0000-0000-0000-000000000000}"/>
          </ac:spMkLst>
        </pc:spChg>
        <pc:spChg chg="mod">
          <ac:chgData name="Marta" userId="eac6eb22-5f14-46b4-a4ea-a86e6e8c4acc" providerId="ADAL" clId="{74097406-F23F-4933-BA70-ABAFA82FF68B}" dt="2023-05-08T11:11:55.429" v="185"/>
          <ac:spMkLst>
            <pc:docMk/>
            <pc:sldMk cId="2064254892" sldId="950"/>
            <ac:spMk id="251" creationId="{00000000-0000-0000-0000-000000000000}"/>
          </ac:spMkLst>
        </pc:spChg>
        <pc:spChg chg="mod">
          <ac:chgData name="Marta" userId="eac6eb22-5f14-46b4-a4ea-a86e6e8c4acc" providerId="ADAL" clId="{74097406-F23F-4933-BA70-ABAFA82FF68B}" dt="2023-05-08T11:11:55.429" v="185"/>
          <ac:spMkLst>
            <pc:docMk/>
            <pc:sldMk cId="2064254892" sldId="950"/>
            <ac:spMk id="252" creationId="{00000000-0000-0000-0000-000000000000}"/>
          </ac:spMkLst>
        </pc:spChg>
        <pc:spChg chg="mod">
          <ac:chgData name="Marta" userId="eac6eb22-5f14-46b4-a4ea-a86e6e8c4acc" providerId="ADAL" clId="{74097406-F23F-4933-BA70-ABAFA82FF68B}" dt="2023-05-08T11:11:55.429" v="185"/>
          <ac:spMkLst>
            <pc:docMk/>
            <pc:sldMk cId="2064254892" sldId="950"/>
            <ac:spMk id="253" creationId="{00000000-0000-0000-0000-000000000000}"/>
          </ac:spMkLst>
        </pc:spChg>
        <pc:spChg chg="mod">
          <ac:chgData name="Marta" userId="eac6eb22-5f14-46b4-a4ea-a86e6e8c4acc" providerId="ADAL" clId="{74097406-F23F-4933-BA70-ABAFA82FF68B}" dt="2023-05-08T11:11:55.429" v="185"/>
          <ac:spMkLst>
            <pc:docMk/>
            <pc:sldMk cId="2064254892" sldId="950"/>
            <ac:spMk id="254" creationId="{00000000-0000-0000-0000-000000000000}"/>
          </ac:spMkLst>
        </pc:spChg>
        <pc:spChg chg="mod">
          <ac:chgData name="Marta" userId="eac6eb22-5f14-46b4-a4ea-a86e6e8c4acc" providerId="ADAL" clId="{74097406-F23F-4933-BA70-ABAFA82FF68B}" dt="2023-05-08T11:11:55.429" v="185"/>
          <ac:spMkLst>
            <pc:docMk/>
            <pc:sldMk cId="2064254892" sldId="950"/>
            <ac:spMk id="255" creationId="{00000000-0000-0000-0000-000000000000}"/>
          </ac:spMkLst>
        </pc:spChg>
        <pc:spChg chg="mod">
          <ac:chgData name="Marta" userId="eac6eb22-5f14-46b4-a4ea-a86e6e8c4acc" providerId="ADAL" clId="{74097406-F23F-4933-BA70-ABAFA82FF68B}" dt="2023-05-08T11:11:55.429" v="185"/>
          <ac:spMkLst>
            <pc:docMk/>
            <pc:sldMk cId="2064254892" sldId="950"/>
            <ac:spMk id="256" creationId="{00000000-0000-0000-0000-000000000000}"/>
          </ac:spMkLst>
        </pc:spChg>
        <pc:spChg chg="mod">
          <ac:chgData name="Marta" userId="eac6eb22-5f14-46b4-a4ea-a86e6e8c4acc" providerId="ADAL" clId="{74097406-F23F-4933-BA70-ABAFA82FF68B}" dt="2023-05-08T11:11:55.429" v="185"/>
          <ac:spMkLst>
            <pc:docMk/>
            <pc:sldMk cId="2064254892" sldId="950"/>
            <ac:spMk id="257" creationId="{00000000-0000-0000-0000-000000000000}"/>
          </ac:spMkLst>
        </pc:spChg>
        <pc:spChg chg="mod">
          <ac:chgData name="Marta" userId="eac6eb22-5f14-46b4-a4ea-a86e6e8c4acc" providerId="ADAL" clId="{74097406-F23F-4933-BA70-ABAFA82FF68B}" dt="2023-05-08T11:11:55.429" v="185"/>
          <ac:spMkLst>
            <pc:docMk/>
            <pc:sldMk cId="2064254892" sldId="950"/>
            <ac:spMk id="258" creationId="{00000000-0000-0000-0000-000000000000}"/>
          </ac:spMkLst>
        </pc:spChg>
        <pc:spChg chg="mod">
          <ac:chgData name="Marta" userId="eac6eb22-5f14-46b4-a4ea-a86e6e8c4acc" providerId="ADAL" clId="{74097406-F23F-4933-BA70-ABAFA82FF68B}" dt="2023-05-08T11:11:55.429" v="185"/>
          <ac:spMkLst>
            <pc:docMk/>
            <pc:sldMk cId="2064254892" sldId="950"/>
            <ac:spMk id="259" creationId="{00000000-0000-0000-0000-000000000000}"/>
          </ac:spMkLst>
        </pc:spChg>
        <pc:spChg chg="mod">
          <ac:chgData name="Marta" userId="eac6eb22-5f14-46b4-a4ea-a86e6e8c4acc" providerId="ADAL" clId="{74097406-F23F-4933-BA70-ABAFA82FF68B}" dt="2023-05-08T11:11:55.429" v="185"/>
          <ac:spMkLst>
            <pc:docMk/>
            <pc:sldMk cId="2064254892" sldId="950"/>
            <ac:spMk id="260" creationId="{00000000-0000-0000-0000-000000000000}"/>
          </ac:spMkLst>
        </pc:spChg>
        <pc:spChg chg="mod">
          <ac:chgData name="Marta" userId="eac6eb22-5f14-46b4-a4ea-a86e6e8c4acc" providerId="ADAL" clId="{74097406-F23F-4933-BA70-ABAFA82FF68B}" dt="2023-05-08T11:11:55.429" v="185"/>
          <ac:spMkLst>
            <pc:docMk/>
            <pc:sldMk cId="2064254892" sldId="950"/>
            <ac:spMk id="261" creationId="{00000000-0000-0000-0000-000000000000}"/>
          </ac:spMkLst>
        </pc:spChg>
        <pc:spChg chg="mod">
          <ac:chgData name="Marta" userId="eac6eb22-5f14-46b4-a4ea-a86e6e8c4acc" providerId="ADAL" clId="{74097406-F23F-4933-BA70-ABAFA82FF68B}" dt="2023-05-08T11:11:55.429" v="185"/>
          <ac:spMkLst>
            <pc:docMk/>
            <pc:sldMk cId="2064254892" sldId="950"/>
            <ac:spMk id="262" creationId="{00000000-0000-0000-0000-000000000000}"/>
          </ac:spMkLst>
        </pc:spChg>
        <pc:spChg chg="mod">
          <ac:chgData name="Marta" userId="eac6eb22-5f14-46b4-a4ea-a86e6e8c4acc" providerId="ADAL" clId="{74097406-F23F-4933-BA70-ABAFA82FF68B}" dt="2023-05-08T11:11:55.429" v="185"/>
          <ac:spMkLst>
            <pc:docMk/>
            <pc:sldMk cId="2064254892" sldId="950"/>
            <ac:spMk id="263" creationId="{00000000-0000-0000-0000-000000000000}"/>
          </ac:spMkLst>
        </pc:spChg>
        <pc:spChg chg="mod">
          <ac:chgData name="Marta" userId="eac6eb22-5f14-46b4-a4ea-a86e6e8c4acc" providerId="ADAL" clId="{74097406-F23F-4933-BA70-ABAFA82FF68B}" dt="2023-05-08T11:11:55.429" v="185"/>
          <ac:spMkLst>
            <pc:docMk/>
            <pc:sldMk cId="2064254892" sldId="950"/>
            <ac:spMk id="264" creationId="{00000000-0000-0000-0000-000000000000}"/>
          </ac:spMkLst>
        </pc:spChg>
        <pc:spChg chg="mod">
          <ac:chgData name="Marta" userId="eac6eb22-5f14-46b4-a4ea-a86e6e8c4acc" providerId="ADAL" clId="{74097406-F23F-4933-BA70-ABAFA82FF68B}" dt="2023-05-08T11:11:55.429" v="185"/>
          <ac:spMkLst>
            <pc:docMk/>
            <pc:sldMk cId="2064254892" sldId="950"/>
            <ac:spMk id="265" creationId="{00000000-0000-0000-0000-000000000000}"/>
          </ac:spMkLst>
        </pc:spChg>
        <pc:spChg chg="mod">
          <ac:chgData name="Marta" userId="eac6eb22-5f14-46b4-a4ea-a86e6e8c4acc" providerId="ADAL" clId="{74097406-F23F-4933-BA70-ABAFA82FF68B}" dt="2023-05-08T11:11:55.429" v="185"/>
          <ac:spMkLst>
            <pc:docMk/>
            <pc:sldMk cId="2064254892" sldId="950"/>
            <ac:spMk id="266" creationId="{00000000-0000-0000-0000-000000000000}"/>
          </ac:spMkLst>
        </pc:spChg>
        <pc:spChg chg="mod">
          <ac:chgData name="Marta" userId="eac6eb22-5f14-46b4-a4ea-a86e6e8c4acc" providerId="ADAL" clId="{74097406-F23F-4933-BA70-ABAFA82FF68B}" dt="2023-05-08T11:11:55.429" v="185"/>
          <ac:spMkLst>
            <pc:docMk/>
            <pc:sldMk cId="2064254892" sldId="950"/>
            <ac:spMk id="267" creationId="{00000000-0000-0000-0000-000000000000}"/>
          </ac:spMkLst>
        </pc:spChg>
        <pc:spChg chg="mod">
          <ac:chgData name="Marta" userId="eac6eb22-5f14-46b4-a4ea-a86e6e8c4acc" providerId="ADAL" clId="{74097406-F23F-4933-BA70-ABAFA82FF68B}" dt="2023-05-08T11:11:55.429" v="185"/>
          <ac:spMkLst>
            <pc:docMk/>
            <pc:sldMk cId="2064254892" sldId="950"/>
            <ac:spMk id="268" creationId="{00000000-0000-0000-0000-000000000000}"/>
          </ac:spMkLst>
        </pc:spChg>
        <pc:spChg chg="mod">
          <ac:chgData name="Marta" userId="eac6eb22-5f14-46b4-a4ea-a86e6e8c4acc" providerId="ADAL" clId="{74097406-F23F-4933-BA70-ABAFA82FF68B}" dt="2023-05-08T11:11:55.429" v="185"/>
          <ac:spMkLst>
            <pc:docMk/>
            <pc:sldMk cId="2064254892" sldId="950"/>
            <ac:spMk id="269" creationId="{00000000-0000-0000-0000-000000000000}"/>
          </ac:spMkLst>
        </pc:spChg>
        <pc:spChg chg="mod">
          <ac:chgData name="Marta" userId="eac6eb22-5f14-46b4-a4ea-a86e6e8c4acc" providerId="ADAL" clId="{74097406-F23F-4933-BA70-ABAFA82FF68B}" dt="2023-05-08T11:11:55.429" v="185"/>
          <ac:spMkLst>
            <pc:docMk/>
            <pc:sldMk cId="2064254892" sldId="950"/>
            <ac:spMk id="270" creationId="{00000000-0000-0000-0000-000000000000}"/>
          </ac:spMkLst>
        </pc:spChg>
        <pc:spChg chg="mod">
          <ac:chgData name="Marta" userId="eac6eb22-5f14-46b4-a4ea-a86e6e8c4acc" providerId="ADAL" clId="{74097406-F23F-4933-BA70-ABAFA82FF68B}" dt="2023-05-08T11:11:55.429" v="185"/>
          <ac:spMkLst>
            <pc:docMk/>
            <pc:sldMk cId="2064254892" sldId="950"/>
            <ac:spMk id="271" creationId="{00000000-0000-0000-0000-000000000000}"/>
          </ac:spMkLst>
        </pc:spChg>
        <pc:spChg chg="mod">
          <ac:chgData name="Marta" userId="eac6eb22-5f14-46b4-a4ea-a86e6e8c4acc" providerId="ADAL" clId="{74097406-F23F-4933-BA70-ABAFA82FF68B}" dt="2023-05-08T11:11:55.429" v="185"/>
          <ac:spMkLst>
            <pc:docMk/>
            <pc:sldMk cId="2064254892" sldId="950"/>
            <ac:spMk id="272" creationId="{00000000-0000-0000-0000-000000000000}"/>
          </ac:spMkLst>
        </pc:spChg>
        <pc:spChg chg="mod">
          <ac:chgData name="Marta" userId="eac6eb22-5f14-46b4-a4ea-a86e6e8c4acc" providerId="ADAL" clId="{74097406-F23F-4933-BA70-ABAFA82FF68B}" dt="2023-05-08T11:11:55.429" v="185"/>
          <ac:spMkLst>
            <pc:docMk/>
            <pc:sldMk cId="2064254892" sldId="950"/>
            <ac:spMk id="273" creationId="{00000000-0000-0000-0000-000000000000}"/>
          </ac:spMkLst>
        </pc:spChg>
        <pc:spChg chg="mod">
          <ac:chgData name="Marta" userId="eac6eb22-5f14-46b4-a4ea-a86e6e8c4acc" providerId="ADAL" clId="{74097406-F23F-4933-BA70-ABAFA82FF68B}" dt="2023-05-08T11:11:55.429" v="185"/>
          <ac:spMkLst>
            <pc:docMk/>
            <pc:sldMk cId="2064254892" sldId="950"/>
            <ac:spMk id="274" creationId="{00000000-0000-0000-0000-000000000000}"/>
          </ac:spMkLst>
        </pc:spChg>
        <pc:spChg chg="mod">
          <ac:chgData name="Marta" userId="eac6eb22-5f14-46b4-a4ea-a86e6e8c4acc" providerId="ADAL" clId="{74097406-F23F-4933-BA70-ABAFA82FF68B}" dt="2023-05-08T11:11:55.429" v="185"/>
          <ac:spMkLst>
            <pc:docMk/>
            <pc:sldMk cId="2064254892" sldId="950"/>
            <ac:spMk id="275" creationId="{00000000-0000-0000-0000-000000000000}"/>
          </ac:spMkLst>
        </pc:spChg>
        <pc:spChg chg="mod">
          <ac:chgData name="Marta" userId="eac6eb22-5f14-46b4-a4ea-a86e6e8c4acc" providerId="ADAL" clId="{74097406-F23F-4933-BA70-ABAFA82FF68B}" dt="2023-05-08T11:11:55.429" v="185"/>
          <ac:spMkLst>
            <pc:docMk/>
            <pc:sldMk cId="2064254892" sldId="950"/>
            <ac:spMk id="276" creationId="{00000000-0000-0000-0000-000000000000}"/>
          </ac:spMkLst>
        </pc:spChg>
        <pc:spChg chg="mod">
          <ac:chgData name="Marta" userId="eac6eb22-5f14-46b4-a4ea-a86e6e8c4acc" providerId="ADAL" clId="{74097406-F23F-4933-BA70-ABAFA82FF68B}" dt="2023-05-08T11:11:55.429" v="185"/>
          <ac:spMkLst>
            <pc:docMk/>
            <pc:sldMk cId="2064254892" sldId="950"/>
            <ac:spMk id="277" creationId="{00000000-0000-0000-0000-000000000000}"/>
          </ac:spMkLst>
        </pc:spChg>
        <pc:spChg chg="mod">
          <ac:chgData name="Marta" userId="eac6eb22-5f14-46b4-a4ea-a86e6e8c4acc" providerId="ADAL" clId="{74097406-F23F-4933-BA70-ABAFA82FF68B}" dt="2023-05-08T11:11:55.429" v="185"/>
          <ac:spMkLst>
            <pc:docMk/>
            <pc:sldMk cId="2064254892" sldId="950"/>
            <ac:spMk id="278" creationId="{00000000-0000-0000-0000-000000000000}"/>
          </ac:spMkLst>
        </pc:spChg>
        <pc:spChg chg="mod">
          <ac:chgData name="Marta" userId="eac6eb22-5f14-46b4-a4ea-a86e6e8c4acc" providerId="ADAL" clId="{74097406-F23F-4933-BA70-ABAFA82FF68B}" dt="2023-05-08T11:11:55.429" v="185"/>
          <ac:spMkLst>
            <pc:docMk/>
            <pc:sldMk cId="2064254892" sldId="950"/>
            <ac:spMk id="279" creationId="{00000000-0000-0000-0000-000000000000}"/>
          </ac:spMkLst>
        </pc:spChg>
        <pc:spChg chg="mod">
          <ac:chgData name="Marta" userId="eac6eb22-5f14-46b4-a4ea-a86e6e8c4acc" providerId="ADAL" clId="{74097406-F23F-4933-BA70-ABAFA82FF68B}" dt="2023-05-08T11:11:55.429" v="185"/>
          <ac:spMkLst>
            <pc:docMk/>
            <pc:sldMk cId="2064254892" sldId="950"/>
            <ac:spMk id="280" creationId="{00000000-0000-0000-0000-000000000000}"/>
          </ac:spMkLst>
        </pc:spChg>
        <pc:spChg chg="mod">
          <ac:chgData name="Marta" userId="eac6eb22-5f14-46b4-a4ea-a86e6e8c4acc" providerId="ADAL" clId="{74097406-F23F-4933-BA70-ABAFA82FF68B}" dt="2023-05-08T11:11:55.429" v="185"/>
          <ac:spMkLst>
            <pc:docMk/>
            <pc:sldMk cId="2064254892" sldId="950"/>
            <ac:spMk id="281" creationId="{00000000-0000-0000-0000-000000000000}"/>
          </ac:spMkLst>
        </pc:spChg>
        <pc:spChg chg="mod">
          <ac:chgData name="Marta" userId="eac6eb22-5f14-46b4-a4ea-a86e6e8c4acc" providerId="ADAL" clId="{74097406-F23F-4933-BA70-ABAFA82FF68B}" dt="2023-05-08T11:11:55.429" v="185"/>
          <ac:spMkLst>
            <pc:docMk/>
            <pc:sldMk cId="2064254892" sldId="950"/>
            <ac:spMk id="282" creationId="{00000000-0000-0000-0000-000000000000}"/>
          </ac:spMkLst>
        </pc:spChg>
        <pc:spChg chg="mod">
          <ac:chgData name="Marta" userId="eac6eb22-5f14-46b4-a4ea-a86e6e8c4acc" providerId="ADAL" clId="{74097406-F23F-4933-BA70-ABAFA82FF68B}" dt="2023-05-08T11:11:55.429" v="185"/>
          <ac:spMkLst>
            <pc:docMk/>
            <pc:sldMk cId="2064254892" sldId="950"/>
            <ac:spMk id="283" creationId="{00000000-0000-0000-0000-000000000000}"/>
          </ac:spMkLst>
        </pc:spChg>
        <pc:spChg chg="mod">
          <ac:chgData name="Marta" userId="eac6eb22-5f14-46b4-a4ea-a86e6e8c4acc" providerId="ADAL" clId="{74097406-F23F-4933-BA70-ABAFA82FF68B}" dt="2023-05-08T11:11:55.429" v="185"/>
          <ac:spMkLst>
            <pc:docMk/>
            <pc:sldMk cId="2064254892" sldId="950"/>
            <ac:spMk id="284" creationId="{00000000-0000-0000-0000-000000000000}"/>
          </ac:spMkLst>
        </pc:spChg>
        <pc:spChg chg="mod">
          <ac:chgData name="Marta" userId="eac6eb22-5f14-46b4-a4ea-a86e6e8c4acc" providerId="ADAL" clId="{74097406-F23F-4933-BA70-ABAFA82FF68B}" dt="2023-05-08T11:11:55.429" v="185"/>
          <ac:spMkLst>
            <pc:docMk/>
            <pc:sldMk cId="2064254892" sldId="950"/>
            <ac:spMk id="285" creationId="{00000000-0000-0000-0000-000000000000}"/>
          </ac:spMkLst>
        </pc:spChg>
        <pc:spChg chg="mod">
          <ac:chgData name="Marta" userId="eac6eb22-5f14-46b4-a4ea-a86e6e8c4acc" providerId="ADAL" clId="{74097406-F23F-4933-BA70-ABAFA82FF68B}" dt="2023-05-08T11:11:55.429" v="185"/>
          <ac:spMkLst>
            <pc:docMk/>
            <pc:sldMk cId="2064254892" sldId="950"/>
            <ac:spMk id="286" creationId="{00000000-0000-0000-0000-000000000000}"/>
          </ac:spMkLst>
        </pc:spChg>
        <pc:spChg chg="mod">
          <ac:chgData name="Marta" userId="eac6eb22-5f14-46b4-a4ea-a86e6e8c4acc" providerId="ADAL" clId="{74097406-F23F-4933-BA70-ABAFA82FF68B}" dt="2023-05-08T11:11:55.429" v="185"/>
          <ac:spMkLst>
            <pc:docMk/>
            <pc:sldMk cId="2064254892" sldId="950"/>
            <ac:spMk id="287" creationId="{00000000-0000-0000-0000-000000000000}"/>
          </ac:spMkLst>
        </pc:spChg>
        <pc:spChg chg="mod">
          <ac:chgData name="Marta" userId="eac6eb22-5f14-46b4-a4ea-a86e6e8c4acc" providerId="ADAL" clId="{74097406-F23F-4933-BA70-ABAFA82FF68B}" dt="2023-05-08T11:11:55.429" v="185"/>
          <ac:spMkLst>
            <pc:docMk/>
            <pc:sldMk cId="2064254892" sldId="950"/>
            <ac:spMk id="288" creationId="{00000000-0000-0000-0000-000000000000}"/>
          </ac:spMkLst>
        </pc:spChg>
        <pc:spChg chg="mod">
          <ac:chgData name="Marta" userId="eac6eb22-5f14-46b4-a4ea-a86e6e8c4acc" providerId="ADAL" clId="{74097406-F23F-4933-BA70-ABAFA82FF68B}" dt="2023-05-08T11:11:55.429" v="185"/>
          <ac:spMkLst>
            <pc:docMk/>
            <pc:sldMk cId="2064254892" sldId="950"/>
            <ac:spMk id="289" creationId="{00000000-0000-0000-0000-000000000000}"/>
          </ac:spMkLst>
        </pc:spChg>
        <pc:spChg chg="mod">
          <ac:chgData name="Marta" userId="eac6eb22-5f14-46b4-a4ea-a86e6e8c4acc" providerId="ADAL" clId="{74097406-F23F-4933-BA70-ABAFA82FF68B}" dt="2023-05-08T11:11:55.429" v="185"/>
          <ac:spMkLst>
            <pc:docMk/>
            <pc:sldMk cId="2064254892" sldId="950"/>
            <ac:spMk id="290" creationId="{00000000-0000-0000-0000-000000000000}"/>
          </ac:spMkLst>
        </pc:spChg>
        <pc:spChg chg="mod">
          <ac:chgData name="Marta" userId="eac6eb22-5f14-46b4-a4ea-a86e6e8c4acc" providerId="ADAL" clId="{74097406-F23F-4933-BA70-ABAFA82FF68B}" dt="2023-05-08T11:11:55.429" v="185"/>
          <ac:spMkLst>
            <pc:docMk/>
            <pc:sldMk cId="2064254892" sldId="950"/>
            <ac:spMk id="291" creationId="{00000000-0000-0000-0000-000000000000}"/>
          </ac:spMkLst>
        </pc:spChg>
        <pc:spChg chg="mod">
          <ac:chgData name="Marta" userId="eac6eb22-5f14-46b4-a4ea-a86e6e8c4acc" providerId="ADAL" clId="{74097406-F23F-4933-BA70-ABAFA82FF68B}" dt="2023-05-08T11:11:55.429" v="185"/>
          <ac:spMkLst>
            <pc:docMk/>
            <pc:sldMk cId="2064254892" sldId="950"/>
            <ac:spMk id="292" creationId="{00000000-0000-0000-0000-000000000000}"/>
          </ac:spMkLst>
        </pc:spChg>
        <pc:spChg chg="mod">
          <ac:chgData name="Marta" userId="eac6eb22-5f14-46b4-a4ea-a86e6e8c4acc" providerId="ADAL" clId="{74097406-F23F-4933-BA70-ABAFA82FF68B}" dt="2023-05-08T11:11:55.429" v="185"/>
          <ac:spMkLst>
            <pc:docMk/>
            <pc:sldMk cId="2064254892" sldId="950"/>
            <ac:spMk id="293" creationId="{00000000-0000-0000-0000-000000000000}"/>
          </ac:spMkLst>
        </pc:spChg>
        <pc:spChg chg="mod">
          <ac:chgData name="Marta" userId="eac6eb22-5f14-46b4-a4ea-a86e6e8c4acc" providerId="ADAL" clId="{74097406-F23F-4933-BA70-ABAFA82FF68B}" dt="2023-05-08T11:11:55.429" v="185"/>
          <ac:spMkLst>
            <pc:docMk/>
            <pc:sldMk cId="2064254892" sldId="950"/>
            <ac:spMk id="294" creationId="{00000000-0000-0000-0000-000000000000}"/>
          </ac:spMkLst>
        </pc:spChg>
        <pc:spChg chg="mod">
          <ac:chgData name="Marta" userId="eac6eb22-5f14-46b4-a4ea-a86e6e8c4acc" providerId="ADAL" clId="{74097406-F23F-4933-BA70-ABAFA82FF68B}" dt="2023-05-08T11:11:55.429" v="185"/>
          <ac:spMkLst>
            <pc:docMk/>
            <pc:sldMk cId="2064254892" sldId="950"/>
            <ac:spMk id="295" creationId="{00000000-0000-0000-0000-000000000000}"/>
          </ac:spMkLst>
        </pc:spChg>
        <pc:spChg chg="mod">
          <ac:chgData name="Marta" userId="eac6eb22-5f14-46b4-a4ea-a86e6e8c4acc" providerId="ADAL" clId="{74097406-F23F-4933-BA70-ABAFA82FF68B}" dt="2023-05-08T11:11:55.429" v="185"/>
          <ac:spMkLst>
            <pc:docMk/>
            <pc:sldMk cId="2064254892" sldId="950"/>
            <ac:spMk id="296" creationId="{00000000-0000-0000-0000-000000000000}"/>
          </ac:spMkLst>
        </pc:spChg>
        <pc:spChg chg="mod">
          <ac:chgData name="Marta" userId="eac6eb22-5f14-46b4-a4ea-a86e6e8c4acc" providerId="ADAL" clId="{74097406-F23F-4933-BA70-ABAFA82FF68B}" dt="2023-05-08T11:11:55.429" v="185"/>
          <ac:spMkLst>
            <pc:docMk/>
            <pc:sldMk cId="2064254892" sldId="950"/>
            <ac:spMk id="297" creationId="{00000000-0000-0000-0000-000000000000}"/>
          </ac:spMkLst>
        </pc:spChg>
        <pc:spChg chg="mod">
          <ac:chgData name="Marta" userId="eac6eb22-5f14-46b4-a4ea-a86e6e8c4acc" providerId="ADAL" clId="{74097406-F23F-4933-BA70-ABAFA82FF68B}" dt="2023-05-08T11:11:55.429" v="185"/>
          <ac:spMkLst>
            <pc:docMk/>
            <pc:sldMk cId="2064254892" sldId="950"/>
            <ac:spMk id="298" creationId="{00000000-0000-0000-0000-000000000000}"/>
          </ac:spMkLst>
        </pc:spChg>
        <pc:spChg chg="mod">
          <ac:chgData name="Marta" userId="eac6eb22-5f14-46b4-a4ea-a86e6e8c4acc" providerId="ADAL" clId="{74097406-F23F-4933-BA70-ABAFA82FF68B}" dt="2023-05-08T11:11:55.429" v="185"/>
          <ac:spMkLst>
            <pc:docMk/>
            <pc:sldMk cId="2064254892" sldId="950"/>
            <ac:spMk id="299" creationId="{00000000-0000-0000-0000-000000000000}"/>
          </ac:spMkLst>
        </pc:spChg>
        <pc:spChg chg="mod">
          <ac:chgData name="Marta" userId="eac6eb22-5f14-46b4-a4ea-a86e6e8c4acc" providerId="ADAL" clId="{74097406-F23F-4933-BA70-ABAFA82FF68B}" dt="2023-05-08T11:11:55.429" v="185"/>
          <ac:spMkLst>
            <pc:docMk/>
            <pc:sldMk cId="2064254892" sldId="950"/>
            <ac:spMk id="300" creationId="{00000000-0000-0000-0000-000000000000}"/>
          </ac:spMkLst>
        </pc:spChg>
        <pc:spChg chg="mod">
          <ac:chgData name="Marta" userId="eac6eb22-5f14-46b4-a4ea-a86e6e8c4acc" providerId="ADAL" clId="{74097406-F23F-4933-BA70-ABAFA82FF68B}" dt="2023-05-08T11:11:55.429" v="185"/>
          <ac:spMkLst>
            <pc:docMk/>
            <pc:sldMk cId="2064254892" sldId="950"/>
            <ac:spMk id="301" creationId="{00000000-0000-0000-0000-000000000000}"/>
          </ac:spMkLst>
        </pc:spChg>
        <pc:spChg chg="mod">
          <ac:chgData name="Marta" userId="eac6eb22-5f14-46b4-a4ea-a86e6e8c4acc" providerId="ADAL" clId="{74097406-F23F-4933-BA70-ABAFA82FF68B}" dt="2023-05-08T11:11:55.429" v="185"/>
          <ac:spMkLst>
            <pc:docMk/>
            <pc:sldMk cId="2064254892" sldId="950"/>
            <ac:spMk id="302" creationId="{00000000-0000-0000-0000-000000000000}"/>
          </ac:spMkLst>
        </pc:spChg>
        <pc:spChg chg="mod">
          <ac:chgData name="Marta" userId="eac6eb22-5f14-46b4-a4ea-a86e6e8c4acc" providerId="ADAL" clId="{74097406-F23F-4933-BA70-ABAFA82FF68B}" dt="2023-05-08T11:11:55.429" v="185"/>
          <ac:spMkLst>
            <pc:docMk/>
            <pc:sldMk cId="2064254892" sldId="950"/>
            <ac:spMk id="303" creationId="{00000000-0000-0000-0000-000000000000}"/>
          </ac:spMkLst>
        </pc:spChg>
        <pc:spChg chg="mod">
          <ac:chgData name="Marta" userId="eac6eb22-5f14-46b4-a4ea-a86e6e8c4acc" providerId="ADAL" clId="{74097406-F23F-4933-BA70-ABAFA82FF68B}" dt="2023-05-08T11:11:55.429" v="185"/>
          <ac:spMkLst>
            <pc:docMk/>
            <pc:sldMk cId="2064254892" sldId="950"/>
            <ac:spMk id="304" creationId="{00000000-0000-0000-0000-000000000000}"/>
          </ac:spMkLst>
        </pc:spChg>
        <pc:spChg chg="mod">
          <ac:chgData name="Marta" userId="eac6eb22-5f14-46b4-a4ea-a86e6e8c4acc" providerId="ADAL" clId="{74097406-F23F-4933-BA70-ABAFA82FF68B}" dt="2023-05-08T11:11:55.429" v="185"/>
          <ac:spMkLst>
            <pc:docMk/>
            <pc:sldMk cId="2064254892" sldId="950"/>
            <ac:spMk id="305" creationId="{00000000-0000-0000-0000-000000000000}"/>
          </ac:spMkLst>
        </pc:spChg>
        <pc:spChg chg="mod">
          <ac:chgData name="Marta" userId="eac6eb22-5f14-46b4-a4ea-a86e6e8c4acc" providerId="ADAL" clId="{74097406-F23F-4933-BA70-ABAFA82FF68B}" dt="2023-05-08T11:11:55.429" v="185"/>
          <ac:spMkLst>
            <pc:docMk/>
            <pc:sldMk cId="2064254892" sldId="950"/>
            <ac:spMk id="306" creationId="{00000000-0000-0000-0000-000000000000}"/>
          </ac:spMkLst>
        </pc:spChg>
        <pc:spChg chg="mod">
          <ac:chgData name="Marta" userId="eac6eb22-5f14-46b4-a4ea-a86e6e8c4acc" providerId="ADAL" clId="{74097406-F23F-4933-BA70-ABAFA82FF68B}" dt="2023-05-08T11:11:55.429" v="185"/>
          <ac:spMkLst>
            <pc:docMk/>
            <pc:sldMk cId="2064254892" sldId="950"/>
            <ac:spMk id="307" creationId="{00000000-0000-0000-0000-000000000000}"/>
          </ac:spMkLst>
        </pc:spChg>
        <pc:spChg chg="mod">
          <ac:chgData name="Marta" userId="eac6eb22-5f14-46b4-a4ea-a86e6e8c4acc" providerId="ADAL" clId="{74097406-F23F-4933-BA70-ABAFA82FF68B}" dt="2023-05-08T11:11:55.429" v="185"/>
          <ac:spMkLst>
            <pc:docMk/>
            <pc:sldMk cId="2064254892" sldId="950"/>
            <ac:spMk id="308" creationId="{00000000-0000-0000-0000-000000000000}"/>
          </ac:spMkLst>
        </pc:spChg>
        <pc:spChg chg="mod">
          <ac:chgData name="Marta" userId="eac6eb22-5f14-46b4-a4ea-a86e6e8c4acc" providerId="ADAL" clId="{74097406-F23F-4933-BA70-ABAFA82FF68B}" dt="2023-05-08T11:11:55.429" v="185"/>
          <ac:spMkLst>
            <pc:docMk/>
            <pc:sldMk cId="2064254892" sldId="950"/>
            <ac:spMk id="309" creationId="{00000000-0000-0000-0000-000000000000}"/>
          </ac:spMkLst>
        </pc:spChg>
        <pc:spChg chg="mod">
          <ac:chgData name="Marta" userId="eac6eb22-5f14-46b4-a4ea-a86e6e8c4acc" providerId="ADAL" clId="{74097406-F23F-4933-BA70-ABAFA82FF68B}" dt="2023-05-08T11:11:55.429" v="185"/>
          <ac:spMkLst>
            <pc:docMk/>
            <pc:sldMk cId="2064254892" sldId="950"/>
            <ac:spMk id="310" creationId="{00000000-0000-0000-0000-000000000000}"/>
          </ac:spMkLst>
        </pc:spChg>
        <pc:spChg chg="mod">
          <ac:chgData name="Marta" userId="eac6eb22-5f14-46b4-a4ea-a86e6e8c4acc" providerId="ADAL" clId="{74097406-F23F-4933-BA70-ABAFA82FF68B}" dt="2023-05-08T11:11:55.429" v="185"/>
          <ac:spMkLst>
            <pc:docMk/>
            <pc:sldMk cId="2064254892" sldId="950"/>
            <ac:spMk id="311" creationId="{00000000-0000-0000-0000-000000000000}"/>
          </ac:spMkLst>
        </pc:spChg>
        <pc:spChg chg="mod">
          <ac:chgData name="Marta" userId="eac6eb22-5f14-46b4-a4ea-a86e6e8c4acc" providerId="ADAL" clId="{74097406-F23F-4933-BA70-ABAFA82FF68B}" dt="2023-05-08T11:11:55.429" v="185"/>
          <ac:spMkLst>
            <pc:docMk/>
            <pc:sldMk cId="2064254892" sldId="950"/>
            <ac:spMk id="312" creationId="{00000000-0000-0000-0000-000000000000}"/>
          </ac:spMkLst>
        </pc:spChg>
        <pc:spChg chg="mod">
          <ac:chgData name="Marta" userId="eac6eb22-5f14-46b4-a4ea-a86e6e8c4acc" providerId="ADAL" clId="{74097406-F23F-4933-BA70-ABAFA82FF68B}" dt="2023-05-08T11:11:55.429" v="185"/>
          <ac:spMkLst>
            <pc:docMk/>
            <pc:sldMk cId="2064254892" sldId="950"/>
            <ac:spMk id="313" creationId="{00000000-0000-0000-0000-000000000000}"/>
          </ac:spMkLst>
        </pc:spChg>
        <pc:spChg chg="mod">
          <ac:chgData name="Marta" userId="eac6eb22-5f14-46b4-a4ea-a86e6e8c4acc" providerId="ADAL" clId="{74097406-F23F-4933-BA70-ABAFA82FF68B}" dt="2023-05-08T11:11:55.429" v="185"/>
          <ac:spMkLst>
            <pc:docMk/>
            <pc:sldMk cId="2064254892" sldId="950"/>
            <ac:spMk id="314" creationId="{00000000-0000-0000-0000-000000000000}"/>
          </ac:spMkLst>
        </pc:spChg>
        <pc:spChg chg="mod">
          <ac:chgData name="Marta" userId="eac6eb22-5f14-46b4-a4ea-a86e6e8c4acc" providerId="ADAL" clId="{74097406-F23F-4933-BA70-ABAFA82FF68B}" dt="2023-05-08T11:11:55.429" v="185"/>
          <ac:spMkLst>
            <pc:docMk/>
            <pc:sldMk cId="2064254892" sldId="950"/>
            <ac:spMk id="315" creationId="{00000000-0000-0000-0000-000000000000}"/>
          </ac:spMkLst>
        </pc:spChg>
        <pc:spChg chg="mod">
          <ac:chgData name="Marta" userId="eac6eb22-5f14-46b4-a4ea-a86e6e8c4acc" providerId="ADAL" clId="{74097406-F23F-4933-BA70-ABAFA82FF68B}" dt="2023-05-08T11:11:55.429" v="185"/>
          <ac:spMkLst>
            <pc:docMk/>
            <pc:sldMk cId="2064254892" sldId="950"/>
            <ac:spMk id="316" creationId="{00000000-0000-0000-0000-000000000000}"/>
          </ac:spMkLst>
        </pc:spChg>
        <pc:spChg chg="mod">
          <ac:chgData name="Marta" userId="eac6eb22-5f14-46b4-a4ea-a86e6e8c4acc" providerId="ADAL" clId="{74097406-F23F-4933-BA70-ABAFA82FF68B}" dt="2023-05-08T11:11:55.429" v="185"/>
          <ac:spMkLst>
            <pc:docMk/>
            <pc:sldMk cId="2064254892" sldId="950"/>
            <ac:spMk id="317" creationId="{00000000-0000-0000-0000-000000000000}"/>
          </ac:spMkLst>
        </pc:spChg>
        <pc:spChg chg="mod">
          <ac:chgData name="Marta" userId="eac6eb22-5f14-46b4-a4ea-a86e6e8c4acc" providerId="ADAL" clId="{74097406-F23F-4933-BA70-ABAFA82FF68B}" dt="2023-05-08T11:11:55.429" v="185"/>
          <ac:spMkLst>
            <pc:docMk/>
            <pc:sldMk cId="2064254892" sldId="950"/>
            <ac:spMk id="318" creationId="{00000000-0000-0000-0000-000000000000}"/>
          </ac:spMkLst>
        </pc:spChg>
        <pc:spChg chg="mod">
          <ac:chgData name="Marta" userId="eac6eb22-5f14-46b4-a4ea-a86e6e8c4acc" providerId="ADAL" clId="{74097406-F23F-4933-BA70-ABAFA82FF68B}" dt="2023-05-08T11:11:55.429" v="185"/>
          <ac:spMkLst>
            <pc:docMk/>
            <pc:sldMk cId="2064254892" sldId="950"/>
            <ac:spMk id="319" creationId="{00000000-0000-0000-0000-000000000000}"/>
          </ac:spMkLst>
        </pc:spChg>
        <pc:spChg chg="mod">
          <ac:chgData name="Marta" userId="eac6eb22-5f14-46b4-a4ea-a86e6e8c4acc" providerId="ADAL" clId="{74097406-F23F-4933-BA70-ABAFA82FF68B}" dt="2023-05-08T11:11:55.429" v="185"/>
          <ac:spMkLst>
            <pc:docMk/>
            <pc:sldMk cId="2064254892" sldId="950"/>
            <ac:spMk id="320" creationId="{00000000-0000-0000-0000-000000000000}"/>
          </ac:spMkLst>
        </pc:spChg>
        <pc:spChg chg="mod">
          <ac:chgData name="Marta" userId="eac6eb22-5f14-46b4-a4ea-a86e6e8c4acc" providerId="ADAL" clId="{74097406-F23F-4933-BA70-ABAFA82FF68B}" dt="2023-05-08T11:11:55.429" v="185"/>
          <ac:spMkLst>
            <pc:docMk/>
            <pc:sldMk cId="2064254892" sldId="950"/>
            <ac:spMk id="321" creationId="{00000000-0000-0000-0000-000000000000}"/>
          </ac:spMkLst>
        </pc:spChg>
        <pc:spChg chg="mod">
          <ac:chgData name="Marta" userId="eac6eb22-5f14-46b4-a4ea-a86e6e8c4acc" providerId="ADAL" clId="{74097406-F23F-4933-BA70-ABAFA82FF68B}" dt="2023-05-08T11:11:55.429" v="185"/>
          <ac:spMkLst>
            <pc:docMk/>
            <pc:sldMk cId="2064254892" sldId="950"/>
            <ac:spMk id="322" creationId="{00000000-0000-0000-0000-000000000000}"/>
          </ac:spMkLst>
        </pc:spChg>
        <pc:spChg chg="mod">
          <ac:chgData name="Marta" userId="eac6eb22-5f14-46b4-a4ea-a86e6e8c4acc" providerId="ADAL" clId="{74097406-F23F-4933-BA70-ABAFA82FF68B}" dt="2023-05-08T11:11:55.429" v="185"/>
          <ac:spMkLst>
            <pc:docMk/>
            <pc:sldMk cId="2064254892" sldId="950"/>
            <ac:spMk id="323" creationId="{00000000-0000-0000-0000-000000000000}"/>
          </ac:spMkLst>
        </pc:spChg>
        <pc:spChg chg="mod">
          <ac:chgData name="Marta" userId="eac6eb22-5f14-46b4-a4ea-a86e6e8c4acc" providerId="ADAL" clId="{74097406-F23F-4933-BA70-ABAFA82FF68B}" dt="2023-05-08T11:11:55.429" v="185"/>
          <ac:spMkLst>
            <pc:docMk/>
            <pc:sldMk cId="2064254892" sldId="950"/>
            <ac:spMk id="324" creationId="{00000000-0000-0000-0000-000000000000}"/>
          </ac:spMkLst>
        </pc:spChg>
        <pc:spChg chg="mod">
          <ac:chgData name="Marta" userId="eac6eb22-5f14-46b4-a4ea-a86e6e8c4acc" providerId="ADAL" clId="{74097406-F23F-4933-BA70-ABAFA82FF68B}" dt="2023-05-08T11:11:55.429" v="185"/>
          <ac:spMkLst>
            <pc:docMk/>
            <pc:sldMk cId="2064254892" sldId="950"/>
            <ac:spMk id="325" creationId="{00000000-0000-0000-0000-000000000000}"/>
          </ac:spMkLst>
        </pc:spChg>
        <pc:spChg chg="mod">
          <ac:chgData name="Marta" userId="eac6eb22-5f14-46b4-a4ea-a86e6e8c4acc" providerId="ADAL" clId="{74097406-F23F-4933-BA70-ABAFA82FF68B}" dt="2023-05-08T11:11:55.429" v="185"/>
          <ac:spMkLst>
            <pc:docMk/>
            <pc:sldMk cId="2064254892" sldId="950"/>
            <ac:spMk id="326" creationId="{00000000-0000-0000-0000-000000000000}"/>
          </ac:spMkLst>
        </pc:spChg>
        <pc:spChg chg="mod">
          <ac:chgData name="Marta" userId="eac6eb22-5f14-46b4-a4ea-a86e6e8c4acc" providerId="ADAL" clId="{74097406-F23F-4933-BA70-ABAFA82FF68B}" dt="2023-05-08T11:11:55.429" v="185"/>
          <ac:spMkLst>
            <pc:docMk/>
            <pc:sldMk cId="2064254892" sldId="950"/>
            <ac:spMk id="327" creationId="{00000000-0000-0000-0000-000000000000}"/>
          </ac:spMkLst>
        </pc:spChg>
        <pc:spChg chg="mod">
          <ac:chgData name="Marta" userId="eac6eb22-5f14-46b4-a4ea-a86e6e8c4acc" providerId="ADAL" clId="{74097406-F23F-4933-BA70-ABAFA82FF68B}" dt="2023-05-08T11:11:55.429" v="185"/>
          <ac:spMkLst>
            <pc:docMk/>
            <pc:sldMk cId="2064254892" sldId="950"/>
            <ac:spMk id="328" creationId="{00000000-0000-0000-0000-000000000000}"/>
          </ac:spMkLst>
        </pc:spChg>
        <pc:spChg chg="mod">
          <ac:chgData name="Marta" userId="eac6eb22-5f14-46b4-a4ea-a86e6e8c4acc" providerId="ADAL" clId="{74097406-F23F-4933-BA70-ABAFA82FF68B}" dt="2023-05-08T11:11:55.429" v="185"/>
          <ac:spMkLst>
            <pc:docMk/>
            <pc:sldMk cId="2064254892" sldId="950"/>
            <ac:spMk id="330" creationId="{00000000-0000-0000-0000-000000000000}"/>
          </ac:spMkLst>
        </pc:spChg>
        <pc:spChg chg="mod">
          <ac:chgData name="Marta" userId="eac6eb22-5f14-46b4-a4ea-a86e6e8c4acc" providerId="ADAL" clId="{74097406-F23F-4933-BA70-ABAFA82FF68B}" dt="2023-05-08T11:11:55.429" v="185"/>
          <ac:spMkLst>
            <pc:docMk/>
            <pc:sldMk cId="2064254892" sldId="950"/>
            <ac:spMk id="332" creationId="{00000000-0000-0000-0000-000000000000}"/>
          </ac:spMkLst>
        </pc:spChg>
        <pc:spChg chg="mod">
          <ac:chgData name="Marta" userId="eac6eb22-5f14-46b4-a4ea-a86e6e8c4acc" providerId="ADAL" clId="{74097406-F23F-4933-BA70-ABAFA82FF68B}" dt="2023-05-08T11:11:55.429" v="185"/>
          <ac:spMkLst>
            <pc:docMk/>
            <pc:sldMk cId="2064254892" sldId="950"/>
            <ac:spMk id="334" creationId="{00000000-0000-0000-0000-000000000000}"/>
          </ac:spMkLst>
        </pc:spChg>
        <pc:spChg chg="mod">
          <ac:chgData name="Marta" userId="eac6eb22-5f14-46b4-a4ea-a86e6e8c4acc" providerId="ADAL" clId="{74097406-F23F-4933-BA70-ABAFA82FF68B}" dt="2023-05-08T11:11:55.429" v="185"/>
          <ac:spMkLst>
            <pc:docMk/>
            <pc:sldMk cId="2064254892" sldId="950"/>
            <ac:spMk id="336" creationId="{00000000-0000-0000-0000-000000000000}"/>
          </ac:spMkLst>
        </pc:spChg>
        <pc:spChg chg="mod">
          <ac:chgData name="Marta" userId="eac6eb22-5f14-46b4-a4ea-a86e6e8c4acc" providerId="ADAL" clId="{74097406-F23F-4933-BA70-ABAFA82FF68B}" dt="2023-05-08T11:11:55.429" v="185"/>
          <ac:spMkLst>
            <pc:docMk/>
            <pc:sldMk cId="2064254892" sldId="950"/>
            <ac:spMk id="337" creationId="{00000000-0000-0000-0000-000000000000}"/>
          </ac:spMkLst>
        </pc:spChg>
        <pc:spChg chg="mod">
          <ac:chgData name="Marta" userId="eac6eb22-5f14-46b4-a4ea-a86e6e8c4acc" providerId="ADAL" clId="{74097406-F23F-4933-BA70-ABAFA82FF68B}" dt="2023-05-08T11:11:55.429" v="185"/>
          <ac:spMkLst>
            <pc:docMk/>
            <pc:sldMk cId="2064254892" sldId="950"/>
            <ac:spMk id="339" creationId="{00000000-0000-0000-0000-000000000000}"/>
          </ac:spMkLst>
        </pc:spChg>
        <pc:spChg chg="mod">
          <ac:chgData name="Marta" userId="eac6eb22-5f14-46b4-a4ea-a86e6e8c4acc" providerId="ADAL" clId="{74097406-F23F-4933-BA70-ABAFA82FF68B}" dt="2023-05-08T11:11:55.429" v="185"/>
          <ac:spMkLst>
            <pc:docMk/>
            <pc:sldMk cId="2064254892" sldId="950"/>
            <ac:spMk id="353" creationId="{00000000-0000-0000-0000-000000000000}"/>
          </ac:spMkLst>
        </pc:spChg>
        <pc:spChg chg="mod">
          <ac:chgData name="Marta" userId="eac6eb22-5f14-46b4-a4ea-a86e6e8c4acc" providerId="ADAL" clId="{74097406-F23F-4933-BA70-ABAFA82FF68B}" dt="2023-05-08T11:11:55.429" v="185"/>
          <ac:spMkLst>
            <pc:docMk/>
            <pc:sldMk cId="2064254892" sldId="950"/>
            <ac:spMk id="354" creationId="{00000000-0000-0000-0000-000000000000}"/>
          </ac:spMkLst>
        </pc:spChg>
        <pc:spChg chg="mod">
          <ac:chgData name="Marta" userId="eac6eb22-5f14-46b4-a4ea-a86e6e8c4acc" providerId="ADAL" clId="{74097406-F23F-4933-BA70-ABAFA82FF68B}" dt="2023-05-08T11:11:55.429" v="185"/>
          <ac:spMkLst>
            <pc:docMk/>
            <pc:sldMk cId="2064254892" sldId="950"/>
            <ac:spMk id="355" creationId="{00000000-0000-0000-0000-000000000000}"/>
          </ac:spMkLst>
        </pc:spChg>
        <pc:spChg chg="mod">
          <ac:chgData name="Marta" userId="eac6eb22-5f14-46b4-a4ea-a86e6e8c4acc" providerId="ADAL" clId="{74097406-F23F-4933-BA70-ABAFA82FF68B}" dt="2023-05-08T11:11:55.429" v="185"/>
          <ac:spMkLst>
            <pc:docMk/>
            <pc:sldMk cId="2064254892" sldId="950"/>
            <ac:spMk id="356" creationId="{00000000-0000-0000-0000-000000000000}"/>
          </ac:spMkLst>
        </pc:spChg>
        <pc:spChg chg="mod">
          <ac:chgData name="Marta" userId="eac6eb22-5f14-46b4-a4ea-a86e6e8c4acc" providerId="ADAL" clId="{74097406-F23F-4933-BA70-ABAFA82FF68B}" dt="2023-05-08T11:11:55.429" v="185"/>
          <ac:spMkLst>
            <pc:docMk/>
            <pc:sldMk cId="2064254892" sldId="950"/>
            <ac:spMk id="357" creationId="{00000000-0000-0000-0000-000000000000}"/>
          </ac:spMkLst>
        </pc:spChg>
        <pc:spChg chg="mod">
          <ac:chgData name="Marta" userId="eac6eb22-5f14-46b4-a4ea-a86e6e8c4acc" providerId="ADAL" clId="{74097406-F23F-4933-BA70-ABAFA82FF68B}" dt="2023-05-08T11:11:55.429" v="185"/>
          <ac:spMkLst>
            <pc:docMk/>
            <pc:sldMk cId="2064254892" sldId="950"/>
            <ac:spMk id="358" creationId="{00000000-0000-0000-0000-000000000000}"/>
          </ac:spMkLst>
        </pc:spChg>
        <pc:spChg chg="mod">
          <ac:chgData name="Marta" userId="eac6eb22-5f14-46b4-a4ea-a86e6e8c4acc" providerId="ADAL" clId="{74097406-F23F-4933-BA70-ABAFA82FF68B}" dt="2023-05-08T11:11:55.429" v="185"/>
          <ac:spMkLst>
            <pc:docMk/>
            <pc:sldMk cId="2064254892" sldId="950"/>
            <ac:spMk id="359" creationId="{00000000-0000-0000-0000-000000000000}"/>
          </ac:spMkLst>
        </pc:spChg>
        <pc:spChg chg="mod">
          <ac:chgData name="Marta" userId="eac6eb22-5f14-46b4-a4ea-a86e6e8c4acc" providerId="ADAL" clId="{74097406-F23F-4933-BA70-ABAFA82FF68B}" dt="2023-05-08T11:11:55.429" v="185"/>
          <ac:spMkLst>
            <pc:docMk/>
            <pc:sldMk cId="2064254892" sldId="950"/>
            <ac:spMk id="360" creationId="{00000000-0000-0000-0000-000000000000}"/>
          </ac:spMkLst>
        </pc:spChg>
        <pc:spChg chg="mod">
          <ac:chgData name="Marta" userId="eac6eb22-5f14-46b4-a4ea-a86e6e8c4acc" providerId="ADAL" clId="{74097406-F23F-4933-BA70-ABAFA82FF68B}" dt="2023-05-08T11:11:55.429" v="185"/>
          <ac:spMkLst>
            <pc:docMk/>
            <pc:sldMk cId="2064254892" sldId="950"/>
            <ac:spMk id="361" creationId="{00000000-0000-0000-0000-000000000000}"/>
          </ac:spMkLst>
        </pc:spChg>
        <pc:spChg chg="mod">
          <ac:chgData name="Marta" userId="eac6eb22-5f14-46b4-a4ea-a86e6e8c4acc" providerId="ADAL" clId="{74097406-F23F-4933-BA70-ABAFA82FF68B}" dt="2023-05-08T11:11:55.429" v="185"/>
          <ac:spMkLst>
            <pc:docMk/>
            <pc:sldMk cId="2064254892" sldId="950"/>
            <ac:spMk id="362" creationId="{00000000-0000-0000-0000-000000000000}"/>
          </ac:spMkLst>
        </pc:spChg>
        <pc:spChg chg="mod">
          <ac:chgData name="Marta" userId="eac6eb22-5f14-46b4-a4ea-a86e6e8c4acc" providerId="ADAL" clId="{74097406-F23F-4933-BA70-ABAFA82FF68B}" dt="2023-05-08T11:11:55.429" v="185"/>
          <ac:spMkLst>
            <pc:docMk/>
            <pc:sldMk cId="2064254892" sldId="950"/>
            <ac:spMk id="363" creationId="{00000000-0000-0000-0000-000000000000}"/>
          </ac:spMkLst>
        </pc:spChg>
        <pc:grpChg chg="mod">
          <ac:chgData name="Marta" userId="eac6eb22-5f14-46b4-a4ea-a86e6e8c4acc" providerId="ADAL" clId="{74097406-F23F-4933-BA70-ABAFA82FF68B}" dt="2023-05-08T11:11:55.429" v="185"/>
          <ac:grpSpMkLst>
            <pc:docMk/>
            <pc:sldMk cId="2064254892" sldId="950"/>
            <ac:grpSpMk id="1" creationId="{00000000-0000-0000-0000-000000000000}"/>
          </ac:grpSpMkLst>
        </pc:grpChg>
        <pc:grpChg chg="mod">
          <ac:chgData name="Marta" userId="eac6eb22-5f14-46b4-a4ea-a86e6e8c4acc" providerId="ADAL" clId="{74097406-F23F-4933-BA70-ABAFA82FF68B}" dt="2023-05-08T11:11:55.429" v="185"/>
          <ac:grpSpMkLst>
            <pc:docMk/>
            <pc:sldMk cId="2064254892" sldId="950"/>
            <ac:grpSpMk id="352" creationId="{00000000-0000-0000-0000-000000000000}"/>
          </ac:grpSpMkLst>
        </pc:grpChg>
        <pc:graphicFrameChg chg="mod">
          <ac:chgData name="Marta" userId="eac6eb22-5f14-46b4-a4ea-a86e6e8c4acc" providerId="ADAL" clId="{74097406-F23F-4933-BA70-ABAFA82FF68B}" dt="2023-05-08T11:11:55.429" v="185"/>
          <ac:graphicFrameMkLst>
            <pc:docMk/>
            <pc:sldMk cId="2064254892" sldId="950"/>
            <ac:graphicFrameMk id="3" creationId="{00000000-0000-0000-0000-000000000000}"/>
          </ac:graphicFrameMkLst>
        </pc:graphicFrameChg>
        <pc:cxnChg chg="mod">
          <ac:chgData name="Marta" userId="eac6eb22-5f14-46b4-a4ea-a86e6e8c4acc" providerId="ADAL" clId="{74097406-F23F-4933-BA70-ABAFA82FF68B}" dt="2023-05-08T11:11:55.429" v="185"/>
          <ac:cxnSpMkLst>
            <pc:docMk/>
            <pc:sldMk cId="2064254892" sldId="950"/>
            <ac:cxnSpMk id="329" creationId="{00000000-0000-0000-0000-000000000000}"/>
          </ac:cxnSpMkLst>
        </pc:cxnChg>
        <pc:cxnChg chg="mod">
          <ac:chgData name="Marta" userId="eac6eb22-5f14-46b4-a4ea-a86e6e8c4acc" providerId="ADAL" clId="{74097406-F23F-4933-BA70-ABAFA82FF68B}" dt="2023-05-08T11:11:55.429" v="185"/>
          <ac:cxnSpMkLst>
            <pc:docMk/>
            <pc:sldMk cId="2064254892" sldId="950"/>
            <ac:cxnSpMk id="331" creationId="{00000000-0000-0000-0000-000000000000}"/>
          </ac:cxnSpMkLst>
        </pc:cxnChg>
        <pc:cxnChg chg="mod">
          <ac:chgData name="Marta" userId="eac6eb22-5f14-46b4-a4ea-a86e6e8c4acc" providerId="ADAL" clId="{74097406-F23F-4933-BA70-ABAFA82FF68B}" dt="2023-05-08T11:11:55.429" v="185"/>
          <ac:cxnSpMkLst>
            <pc:docMk/>
            <pc:sldMk cId="2064254892" sldId="950"/>
            <ac:cxnSpMk id="333" creationId="{00000000-0000-0000-0000-000000000000}"/>
          </ac:cxnSpMkLst>
        </pc:cxnChg>
        <pc:cxnChg chg="mod">
          <ac:chgData name="Marta" userId="eac6eb22-5f14-46b4-a4ea-a86e6e8c4acc" providerId="ADAL" clId="{74097406-F23F-4933-BA70-ABAFA82FF68B}" dt="2023-05-08T11:11:55.429" v="185"/>
          <ac:cxnSpMkLst>
            <pc:docMk/>
            <pc:sldMk cId="2064254892" sldId="950"/>
            <ac:cxnSpMk id="335" creationId="{00000000-0000-0000-0000-000000000000}"/>
          </ac:cxnSpMkLst>
        </pc:cxnChg>
        <pc:cxnChg chg="mod">
          <ac:chgData name="Marta" userId="eac6eb22-5f14-46b4-a4ea-a86e6e8c4acc" providerId="ADAL" clId="{74097406-F23F-4933-BA70-ABAFA82FF68B}" dt="2023-05-08T11:11:55.429" v="185"/>
          <ac:cxnSpMkLst>
            <pc:docMk/>
            <pc:sldMk cId="2064254892" sldId="950"/>
            <ac:cxnSpMk id="338" creationId="{00000000-0000-0000-0000-000000000000}"/>
          </ac:cxnSpMkLst>
        </pc:cxnChg>
      </pc:sldChg>
      <pc:sldChg chg="add">
        <pc:chgData name="Marta" userId="eac6eb22-5f14-46b4-a4ea-a86e6e8c4acc" providerId="ADAL" clId="{74097406-F23F-4933-BA70-ABAFA82FF68B}" dt="2023-05-08T11:11:55.497" v="187"/>
        <pc:sldMkLst>
          <pc:docMk/>
          <pc:sldMk cId="3039952592" sldId="951"/>
        </pc:sldMkLst>
      </pc:sldChg>
      <pc:sldChg chg="add">
        <pc:chgData name="Marta" userId="eac6eb22-5f14-46b4-a4ea-a86e6e8c4acc" providerId="ADAL" clId="{74097406-F23F-4933-BA70-ABAFA82FF68B}" dt="2023-05-08T11:11:55.570" v="189"/>
        <pc:sldMkLst>
          <pc:docMk/>
          <pc:sldMk cId="3786838006" sldId="952"/>
        </pc:sldMkLst>
      </pc:sldChg>
      <pc:sldChg chg="add">
        <pc:chgData name="Marta" userId="eac6eb22-5f14-46b4-a4ea-a86e6e8c4acc" providerId="ADAL" clId="{74097406-F23F-4933-BA70-ABAFA82FF68B}" dt="2023-05-08T11:11:55.635" v="191"/>
        <pc:sldMkLst>
          <pc:docMk/>
          <pc:sldMk cId="2708058289" sldId="953"/>
        </pc:sldMkLst>
      </pc:sldChg>
      <pc:sldChg chg="add">
        <pc:chgData name="Marta" userId="eac6eb22-5f14-46b4-a4ea-a86e6e8c4acc" providerId="ADAL" clId="{74097406-F23F-4933-BA70-ABAFA82FF68B}" dt="2023-05-08T11:11:56.051" v="193"/>
        <pc:sldMkLst>
          <pc:docMk/>
          <pc:sldMk cId="1991617333" sldId="954"/>
        </pc:sldMkLst>
      </pc:sldChg>
      <pc:sldChg chg="add">
        <pc:chgData name="Marta" userId="eac6eb22-5f14-46b4-a4ea-a86e6e8c4acc" providerId="ADAL" clId="{74097406-F23F-4933-BA70-ABAFA82FF68B}" dt="2023-05-08T11:11:56.127" v="195"/>
        <pc:sldMkLst>
          <pc:docMk/>
          <pc:sldMk cId="2258485276" sldId="955"/>
        </pc:sldMkLst>
      </pc:sldChg>
      <pc:sldChg chg="add ord">
        <pc:chgData name="Marta" userId="eac6eb22-5f14-46b4-a4ea-a86e6e8c4acc" providerId="ADAL" clId="{74097406-F23F-4933-BA70-ABAFA82FF68B}" dt="2023-05-08T11:13:36.098" v="205"/>
        <pc:sldMkLst>
          <pc:docMk/>
          <pc:sldMk cId="2600036999" sldId="956"/>
        </pc:sldMkLst>
      </pc:sldChg>
      <pc:sldChg chg="add">
        <pc:chgData name="Marta" userId="eac6eb22-5f14-46b4-a4ea-a86e6e8c4acc" providerId="ADAL" clId="{74097406-F23F-4933-BA70-ABAFA82FF68B}" dt="2023-05-08T11:11:56.275" v="199"/>
        <pc:sldMkLst>
          <pc:docMk/>
          <pc:sldMk cId="1567630724" sldId="957"/>
        </pc:sldMkLst>
      </pc:sldChg>
      <pc:sldChg chg="modSp add">
        <pc:chgData name="Marta" userId="eac6eb22-5f14-46b4-a4ea-a86e6e8c4acc" providerId="ADAL" clId="{74097406-F23F-4933-BA70-ABAFA82FF68B}" dt="2023-05-08T11:11:56.407" v="201"/>
        <pc:sldMkLst>
          <pc:docMk/>
          <pc:sldMk cId="2940565315" sldId="958"/>
        </pc:sldMkLst>
        <pc:spChg chg="mod">
          <ac:chgData name="Marta" userId="eac6eb22-5f14-46b4-a4ea-a86e6e8c4acc" providerId="ADAL" clId="{74097406-F23F-4933-BA70-ABAFA82FF68B}" dt="2023-05-08T11:11:56.407" v="201"/>
          <ac:spMkLst>
            <pc:docMk/>
            <pc:sldMk cId="2940565315" sldId="958"/>
            <ac:spMk id="4" creationId="{F6513E49-BD0E-62FC-74D1-B2B56E4F3159}"/>
          </ac:spMkLst>
        </pc:spChg>
        <pc:spChg chg="mod">
          <ac:chgData name="Marta" userId="eac6eb22-5f14-46b4-a4ea-a86e6e8c4acc" providerId="ADAL" clId="{74097406-F23F-4933-BA70-ABAFA82FF68B}" dt="2023-05-08T11:11:56.407" v="201"/>
          <ac:spMkLst>
            <pc:docMk/>
            <pc:sldMk cId="2940565315" sldId="958"/>
            <ac:spMk id="6" creationId="{6079703F-2FC7-C10D-569E-EED21C83804A}"/>
          </ac:spMkLst>
        </pc:spChg>
        <pc:spChg chg="mod">
          <ac:chgData name="Marta" userId="eac6eb22-5f14-46b4-a4ea-a86e6e8c4acc" providerId="ADAL" clId="{74097406-F23F-4933-BA70-ABAFA82FF68B}" dt="2023-05-08T11:11:56.407" v="201"/>
          <ac:spMkLst>
            <pc:docMk/>
            <pc:sldMk cId="2940565315" sldId="958"/>
            <ac:spMk id="7" creationId="{F1899E1E-77B5-3392-6E68-3DABE6AC04BC}"/>
          </ac:spMkLst>
        </pc:spChg>
        <pc:spChg chg="mod">
          <ac:chgData name="Marta" userId="eac6eb22-5f14-46b4-a4ea-a86e6e8c4acc" providerId="ADAL" clId="{74097406-F23F-4933-BA70-ABAFA82FF68B}" dt="2023-05-08T11:11:56.407" v="201"/>
          <ac:spMkLst>
            <pc:docMk/>
            <pc:sldMk cId="2940565315" sldId="958"/>
            <ac:spMk id="8" creationId="{00000000-0000-0000-0000-000000000000}"/>
          </ac:spMkLst>
        </pc:spChg>
        <pc:spChg chg="mod">
          <ac:chgData name="Marta" userId="eac6eb22-5f14-46b4-a4ea-a86e6e8c4acc" providerId="ADAL" clId="{74097406-F23F-4933-BA70-ABAFA82FF68B}" dt="2023-05-08T11:11:56.407" v="201"/>
          <ac:spMkLst>
            <pc:docMk/>
            <pc:sldMk cId="2940565315" sldId="958"/>
            <ac:spMk id="9" creationId="{4282E26F-4FD5-09A1-2C54-2E508067D322}"/>
          </ac:spMkLst>
        </pc:spChg>
        <pc:spChg chg="mod">
          <ac:chgData name="Marta" userId="eac6eb22-5f14-46b4-a4ea-a86e6e8c4acc" providerId="ADAL" clId="{74097406-F23F-4933-BA70-ABAFA82FF68B}" dt="2023-05-08T11:11:56.407" v="201"/>
          <ac:spMkLst>
            <pc:docMk/>
            <pc:sldMk cId="2940565315" sldId="958"/>
            <ac:spMk id="10" creationId="{4DB9CFB4-4FB9-4C4A-676C-F66F985BEDA2}"/>
          </ac:spMkLst>
        </pc:spChg>
        <pc:spChg chg="mod">
          <ac:chgData name="Marta" userId="eac6eb22-5f14-46b4-a4ea-a86e6e8c4acc" providerId="ADAL" clId="{74097406-F23F-4933-BA70-ABAFA82FF68B}" dt="2023-05-08T11:11:56.407" v="201"/>
          <ac:spMkLst>
            <pc:docMk/>
            <pc:sldMk cId="2940565315" sldId="958"/>
            <ac:spMk id="346" creationId="{00000000-0000-0000-0000-000000000000}"/>
          </ac:spMkLst>
        </pc:spChg>
        <pc:spChg chg="mod">
          <ac:chgData name="Marta" userId="eac6eb22-5f14-46b4-a4ea-a86e6e8c4acc" providerId="ADAL" clId="{74097406-F23F-4933-BA70-ABAFA82FF68B}" dt="2023-05-08T11:11:56.407" v="201"/>
          <ac:spMkLst>
            <pc:docMk/>
            <pc:sldMk cId="2940565315" sldId="958"/>
            <ac:spMk id="347" creationId="{832C96DE-56FC-B6B2-9271-31BB4DAAD5A6}"/>
          </ac:spMkLst>
        </pc:spChg>
        <pc:spChg chg="mod">
          <ac:chgData name="Marta" userId="eac6eb22-5f14-46b4-a4ea-a86e6e8c4acc" providerId="ADAL" clId="{74097406-F23F-4933-BA70-ABAFA82FF68B}" dt="2023-05-08T11:11:56.407" v="201"/>
          <ac:spMkLst>
            <pc:docMk/>
            <pc:sldMk cId="2940565315" sldId="958"/>
            <ac:spMk id="451" creationId="{CC32DB18-8463-4D2E-20BF-24E6828DBE6F}"/>
          </ac:spMkLst>
        </pc:spChg>
        <pc:spChg chg="mod">
          <ac:chgData name="Marta" userId="eac6eb22-5f14-46b4-a4ea-a86e6e8c4acc" providerId="ADAL" clId="{74097406-F23F-4933-BA70-ABAFA82FF68B}" dt="2023-05-08T11:11:56.407" v="201"/>
          <ac:spMkLst>
            <pc:docMk/>
            <pc:sldMk cId="2940565315" sldId="958"/>
            <ac:spMk id="473" creationId="{80DF0089-A546-D3DC-CA3B-87747AEAA5D9}"/>
          </ac:spMkLst>
        </pc:spChg>
        <pc:spChg chg="mod">
          <ac:chgData name="Marta" userId="eac6eb22-5f14-46b4-a4ea-a86e6e8c4acc" providerId="ADAL" clId="{74097406-F23F-4933-BA70-ABAFA82FF68B}" dt="2023-05-08T11:11:56.407" v="201"/>
          <ac:spMkLst>
            <pc:docMk/>
            <pc:sldMk cId="2940565315" sldId="958"/>
            <ac:spMk id="474" creationId="{EC9B6679-B67B-B2BA-FA64-0344460B3BDA}"/>
          </ac:spMkLst>
        </pc:spChg>
        <pc:spChg chg="mod">
          <ac:chgData name="Marta" userId="eac6eb22-5f14-46b4-a4ea-a86e6e8c4acc" providerId="ADAL" clId="{74097406-F23F-4933-BA70-ABAFA82FF68B}" dt="2023-05-08T11:11:56.407" v="201"/>
          <ac:spMkLst>
            <pc:docMk/>
            <pc:sldMk cId="2940565315" sldId="958"/>
            <ac:spMk id="475" creationId="{4135062E-5EE2-7015-562B-8873C447071A}"/>
          </ac:spMkLst>
        </pc:spChg>
        <pc:spChg chg="mod">
          <ac:chgData name="Marta" userId="eac6eb22-5f14-46b4-a4ea-a86e6e8c4acc" providerId="ADAL" clId="{74097406-F23F-4933-BA70-ABAFA82FF68B}" dt="2023-05-08T11:11:56.407" v="201"/>
          <ac:spMkLst>
            <pc:docMk/>
            <pc:sldMk cId="2940565315" sldId="958"/>
            <ac:spMk id="476" creationId="{B4F7877B-0834-AC75-754F-62B0D70386D4}"/>
          </ac:spMkLst>
        </pc:spChg>
        <pc:spChg chg="mod">
          <ac:chgData name="Marta" userId="eac6eb22-5f14-46b4-a4ea-a86e6e8c4acc" providerId="ADAL" clId="{74097406-F23F-4933-BA70-ABAFA82FF68B}" dt="2023-05-08T11:11:56.407" v="201"/>
          <ac:spMkLst>
            <pc:docMk/>
            <pc:sldMk cId="2940565315" sldId="958"/>
            <ac:spMk id="477" creationId="{9A92F12F-5EAB-64B1-1D47-06C213D541B5}"/>
          </ac:spMkLst>
        </pc:spChg>
        <pc:spChg chg="mod">
          <ac:chgData name="Marta" userId="eac6eb22-5f14-46b4-a4ea-a86e6e8c4acc" providerId="ADAL" clId="{74097406-F23F-4933-BA70-ABAFA82FF68B}" dt="2023-05-08T11:11:56.407" v="201"/>
          <ac:spMkLst>
            <pc:docMk/>
            <pc:sldMk cId="2940565315" sldId="958"/>
            <ac:spMk id="478" creationId="{CC08B3FC-D9C2-9F52-89EA-832221424B05}"/>
          </ac:spMkLst>
        </pc:spChg>
        <pc:spChg chg="mod">
          <ac:chgData name="Marta" userId="eac6eb22-5f14-46b4-a4ea-a86e6e8c4acc" providerId="ADAL" clId="{74097406-F23F-4933-BA70-ABAFA82FF68B}" dt="2023-05-08T11:11:56.407" v="201"/>
          <ac:spMkLst>
            <pc:docMk/>
            <pc:sldMk cId="2940565315" sldId="958"/>
            <ac:spMk id="479" creationId="{D6856662-FDE8-1515-CCDF-137DC823F191}"/>
          </ac:spMkLst>
        </pc:spChg>
        <pc:spChg chg="mod">
          <ac:chgData name="Marta" userId="eac6eb22-5f14-46b4-a4ea-a86e6e8c4acc" providerId="ADAL" clId="{74097406-F23F-4933-BA70-ABAFA82FF68B}" dt="2023-05-08T11:11:56.407" v="201"/>
          <ac:spMkLst>
            <pc:docMk/>
            <pc:sldMk cId="2940565315" sldId="958"/>
            <ac:spMk id="480" creationId="{2FF803E1-7B44-924C-FDE6-B8FA9B89EE69}"/>
          </ac:spMkLst>
        </pc:spChg>
        <pc:spChg chg="mod">
          <ac:chgData name="Marta" userId="eac6eb22-5f14-46b4-a4ea-a86e6e8c4acc" providerId="ADAL" clId="{74097406-F23F-4933-BA70-ABAFA82FF68B}" dt="2023-05-08T11:11:56.407" v="201"/>
          <ac:spMkLst>
            <pc:docMk/>
            <pc:sldMk cId="2940565315" sldId="958"/>
            <ac:spMk id="481" creationId="{D40D8693-E712-31B0-C860-27D73534389A}"/>
          </ac:spMkLst>
        </pc:spChg>
        <pc:spChg chg="mod">
          <ac:chgData name="Marta" userId="eac6eb22-5f14-46b4-a4ea-a86e6e8c4acc" providerId="ADAL" clId="{74097406-F23F-4933-BA70-ABAFA82FF68B}" dt="2023-05-08T11:11:56.407" v="201"/>
          <ac:spMkLst>
            <pc:docMk/>
            <pc:sldMk cId="2940565315" sldId="958"/>
            <ac:spMk id="482" creationId="{820B5F71-3F6E-EE72-9925-D54C122C999C}"/>
          </ac:spMkLst>
        </pc:spChg>
        <pc:spChg chg="mod">
          <ac:chgData name="Marta" userId="eac6eb22-5f14-46b4-a4ea-a86e6e8c4acc" providerId="ADAL" clId="{74097406-F23F-4933-BA70-ABAFA82FF68B}" dt="2023-05-08T11:11:56.407" v="201"/>
          <ac:spMkLst>
            <pc:docMk/>
            <pc:sldMk cId="2940565315" sldId="958"/>
            <ac:spMk id="483" creationId="{2D986A25-0DF0-293C-7833-16B8FDC7717A}"/>
          </ac:spMkLst>
        </pc:spChg>
        <pc:spChg chg="mod">
          <ac:chgData name="Marta" userId="eac6eb22-5f14-46b4-a4ea-a86e6e8c4acc" providerId="ADAL" clId="{74097406-F23F-4933-BA70-ABAFA82FF68B}" dt="2023-05-08T11:11:56.407" v="201"/>
          <ac:spMkLst>
            <pc:docMk/>
            <pc:sldMk cId="2940565315" sldId="958"/>
            <ac:spMk id="484" creationId="{410A65A2-32BB-B949-5DB6-1BD6BCC79733}"/>
          </ac:spMkLst>
        </pc:spChg>
        <pc:spChg chg="mod">
          <ac:chgData name="Marta" userId="eac6eb22-5f14-46b4-a4ea-a86e6e8c4acc" providerId="ADAL" clId="{74097406-F23F-4933-BA70-ABAFA82FF68B}" dt="2023-05-08T11:11:56.407" v="201"/>
          <ac:spMkLst>
            <pc:docMk/>
            <pc:sldMk cId="2940565315" sldId="958"/>
            <ac:spMk id="485" creationId="{51F2A97D-6065-A17C-CD4B-F177F5BF0F3F}"/>
          </ac:spMkLst>
        </pc:spChg>
        <pc:spChg chg="mod">
          <ac:chgData name="Marta" userId="eac6eb22-5f14-46b4-a4ea-a86e6e8c4acc" providerId="ADAL" clId="{74097406-F23F-4933-BA70-ABAFA82FF68B}" dt="2023-05-08T11:11:56.407" v="201"/>
          <ac:spMkLst>
            <pc:docMk/>
            <pc:sldMk cId="2940565315" sldId="958"/>
            <ac:spMk id="488" creationId="{2CBC0D1F-4954-23D0-11E6-B8F8F3A61AD1}"/>
          </ac:spMkLst>
        </pc:spChg>
        <pc:spChg chg="mod">
          <ac:chgData name="Marta" userId="eac6eb22-5f14-46b4-a4ea-a86e6e8c4acc" providerId="ADAL" clId="{74097406-F23F-4933-BA70-ABAFA82FF68B}" dt="2023-05-08T11:11:56.407" v="201"/>
          <ac:spMkLst>
            <pc:docMk/>
            <pc:sldMk cId="2940565315" sldId="958"/>
            <ac:spMk id="499" creationId="{A30A91A0-3BF6-6281-8CA1-5DA9A7FD2EAC}"/>
          </ac:spMkLst>
        </pc:spChg>
        <pc:spChg chg="mod">
          <ac:chgData name="Marta" userId="eac6eb22-5f14-46b4-a4ea-a86e6e8c4acc" providerId="ADAL" clId="{74097406-F23F-4933-BA70-ABAFA82FF68B}" dt="2023-05-08T11:11:56.407" v="201"/>
          <ac:spMkLst>
            <pc:docMk/>
            <pc:sldMk cId="2940565315" sldId="958"/>
            <ac:spMk id="500" creationId="{6D92C6CD-1309-46F4-C4EE-B374D7440C3A}"/>
          </ac:spMkLst>
        </pc:spChg>
        <pc:grpChg chg="mod">
          <ac:chgData name="Marta" userId="eac6eb22-5f14-46b4-a4ea-a86e6e8c4acc" providerId="ADAL" clId="{74097406-F23F-4933-BA70-ABAFA82FF68B}" dt="2023-05-08T11:11:56.407" v="201"/>
          <ac:grpSpMkLst>
            <pc:docMk/>
            <pc:sldMk cId="2940565315" sldId="958"/>
            <ac:grpSpMk id="1" creationId="{00000000-0000-0000-0000-000000000000}"/>
          </ac:grpSpMkLst>
        </pc:grpChg>
        <pc:grpChg chg="mod">
          <ac:chgData name="Marta" userId="eac6eb22-5f14-46b4-a4ea-a86e6e8c4acc" providerId="ADAL" clId="{74097406-F23F-4933-BA70-ABAFA82FF68B}" dt="2023-05-08T11:11:56.407" v="201"/>
          <ac:grpSpMkLst>
            <pc:docMk/>
            <pc:sldMk cId="2940565315" sldId="958"/>
            <ac:grpSpMk id="466" creationId="{8FEC5F22-DC8D-D497-C760-F1A12EB4F14D}"/>
          </ac:grpSpMkLst>
        </pc:grpChg>
        <pc:grpChg chg="mod">
          <ac:chgData name="Marta" userId="eac6eb22-5f14-46b4-a4ea-a86e6e8c4acc" providerId="ADAL" clId="{74097406-F23F-4933-BA70-ABAFA82FF68B}" dt="2023-05-08T11:11:56.407" v="201"/>
          <ac:grpSpMkLst>
            <pc:docMk/>
            <pc:sldMk cId="2940565315" sldId="958"/>
            <ac:grpSpMk id="501" creationId="{13797C26-0286-BB8F-CC35-7A8BBF610807}"/>
          </ac:grpSpMkLst>
        </pc:grpChg>
        <pc:graphicFrameChg chg="mod">
          <ac:chgData name="Marta" userId="eac6eb22-5f14-46b4-a4ea-a86e6e8c4acc" providerId="ADAL" clId="{74097406-F23F-4933-BA70-ABAFA82FF68B}" dt="2023-05-08T11:11:56.407" v="201"/>
          <ac:graphicFrameMkLst>
            <pc:docMk/>
            <pc:sldMk cId="2940565315" sldId="958"/>
            <ac:graphicFrameMk id="3" creationId="{00000000-0000-0000-0000-000000000000}"/>
          </ac:graphicFrameMkLst>
        </pc:graphicFrameChg>
        <pc:picChg chg="mod">
          <ac:chgData name="Marta" userId="eac6eb22-5f14-46b4-a4ea-a86e6e8c4acc" providerId="ADAL" clId="{74097406-F23F-4933-BA70-ABAFA82FF68B}" dt="2023-05-08T11:11:56.407" v="201"/>
          <ac:picMkLst>
            <pc:docMk/>
            <pc:sldMk cId="2940565315" sldId="958"/>
            <ac:picMk id="349" creationId="{2F971BFC-BE66-4673-9416-4B1606B23962}"/>
          </ac:picMkLst>
        </pc:picChg>
        <pc:picChg chg="mod">
          <ac:chgData name="Marta" userId="eac6eb22-5f14-46b4-a4ea-a86e6e8c4acc" providerId="ADAL" clId="{74097406-F23F-4933-BA70-ABAFA82FF68B}" dt="2023-05-08T11:11:56.407" v="201"/>
          <ac:picMkLst>
            <pc:docMk/>
            <pc:sldMk cId="2940565315" sldId="958"/>
            <ac:picMk id="350" creationId="{2EB85F96-4AD6-B3EA-97C6-0328D409961E}"/>
          </ac:picMkLst>
        </pc:picChg>
        <pc:picChg chg="mod">
          <ac:chgData name="Marta" userId="eac6eb22-5f14-46b4-a4ea-a86e6e8c4acc" providerId="ADAL" clId="{74097406-F23F-4933-BA70-ABAFA82FF68B}" dt="2023-05-08T11:11:56.407" v="201"/>
          <ac:picMkLst>
            <pc:docMk/>
            <pc:sldMk cId="2940565315" sldId="958"/>
            <ac:picMk id="352" creationId="{56DD2BD8-8DB3-CAB2-B8D8-45066CE8FAFA}"/>
          </ac:picMkLst>
        </pc:picChg>
        <pc:picChg chg="mod">
          <ac:chgData name="Marta" userId="eac6eb22-5f14-46b4-a4ea-a86e6e8c4acc" providerId="ADAL" clId="{74097406-F23F-4933-BA70-ABAFA82FF68B}" dt="2023-05-08T11:11:56.407" v="201"/>
          <ac:picMkLst>
            <pc:docMk/>
            <pc:sldMk cId="2940565315" sldId="958"/>
            <ac:picMk id="353" creationId="{545A0F52-5F39-B822-D246-125F6A52DE52}"/>
          </ac:picMkLst>
        </pc:picChg>
        <pc:picChg chg="mod">
          <ac:chgData name="Marta" userId="eac6eb22-5f14-46b4-a4ea-a86e6e8c4acc" providerId="ADAL" clId="{74097406-F23F-4933-BA70-ABAFA82FF68B}" dt="2023-05-08T11:11:56.407" v="201"/>
          <ac:picMkLst>
            <pc:docMk/>
            <pc:sldMk cId="2940565315" sldId="958"/>
            <ac:picMk id="354" creationId="{B7AACC89-8FA1-62C0-3379-8240BFBCF97A}"/>
          </ac:picMkLst>
        </pc:picChg>
        <pc:picChg chg="mod">
          <ac:chgData name="Marta" userId="eac6eb22-5f14-46b4-a4ea-a86e6e8c4acc" providerId="ADAL" clId="{74097406-F23F-4933-BA70-ABAFA82FF68B}" dt="2023-05-08T11:11:56.407" v="201"/>
          <ac:picMkLst>
            <pc:docMk/>
            <pc:sldMk cId="2940565315" sldId="958"/>
            <ac:picMk id="355" creationId="{8FF49DB6-3783-0DAD-DBB0-6CDC13DEC9E1}"/>
          </ac:picMkLst>
        </pc:picChg>
        <pc:picChg chg="mod">
          <ac:chgData name="Marta" userId="eac6eb22-5f14-46b4-a4ea-a86e6e8c4acc" providerId="ADAL" clId="{74097406-F23F-4933-BA70-ABAFA82FF68B}" dt="2023-05-08T11:11:56.407" v="201"/>
          <ac:picMkLst>
            <pc:docMk/>
            <pc:sldMk cId="2940565315" sldId="958"/>
            <ac:picMk id="356" creationId="{CC9042A9-3FFF-8572-8457-287B0D3E2724}"/>
          </ac:picMkLst>
        </pc:picChg>
        <pc:picChg chg="mod">
          <ac:chgData name="Marta" userId="eac6eb22-5f14-46b4-a4ea-a86e6e8c4acc" providerId="ADAL" clId="{74097406-F23F-4933-BA70-ABAFA82FF68B}" dt="2023-05-08T11:11:56.407" v="201"/>
          <ac:picMkLst>
            <pc:docMk/>
            <pc:sldMk cId="2940565315" sldId="958"/>
            <ac:picMk id="452" creationId="{4F839DD9-D7AF-2EA3-3828-812F624B7A52}"/>
          </ac:picMkLst>
        </pc:picChg>
        <pc:picChg chg="mod">
          <ac:chgData name="Marta" userId="eac6eb22-5f14-46b4-a4ea-a86e6e8c4acc" providerId="ADAL" clId="{74097406-F23F-4933-BA70-ABAFA82FF68B}" dt="2023-05-08T11:11:56.407" v="201"/>
          <ac:picMkLst>
            <pc:docMk/>
            <pc:sldMk cId="2940565315" sldId="958"/>
            <ac:picMk id="453" creationId="{0473C738-3296-2679-A30B-B6ADFE054770}"/>
          </ac:picMkLst>
        </pc:picChg>
        <pc:picChg chg="mod">
          <ac:chgData name="Marta" userId="eac6eb22-5f14-46b4-a4ea-a86e6e8c4acc" providerId="ADAL" clId="{74097406-F23F-4933-BA70-ABAFA82FF68B}" dt="2023-05-08T11:11:56.407" v="201"/>
          <ac:picMkLst>
            <pc:docMk/>
            <pc:sldMk cId="2940565315" sldId="958"/>
            <ac:picMk id="454" creationId="{4A9299F7-80F9-1D24-0926-9C5191A06DB5}"/>
          </ac:picMkLst>
        </pc:picChg>
        <pc:picChg chg="mod">
          <ac:chgData name="Marta" userId="eac6eb22-5f14-46b4-a4ea-a86e6e8c4acc" providerId="ADAL" clId="{74097406-F23F-4933-BA70-ABAFA82FF68B}" dt="2023-05-08T11:11:56.407" v="201"/>
          <ac:picMkLst>
            <pc:docMk/>
            <pc:sldMk cId="2940565315" sldId="958"/>
            <ac:picMk id="455" creationId="{F3BF7AA9-0C9A-DBEC-56D2-7AB1EDC1F5F9}"/>
          </ac:picMkLst>
        </pc:picChg>
        <pc:picChg chg="mod">
          <ac:chgData name="Marta" userId="eac6eb22-5f14-46b4-a4ea-a86e6e8c4acc" providerId="ADAL" clId="{74097406-F23F-4933-BA70-ABAFA82FF68B}" dt="2023-05-08T11:11:56.407" v="201"/>
          <ac:picMkLst>
            <pc:docMk/>
            <pc:sldMk cId="2940565315" sldId="958"/>
            <ac:picMk id="456" creationId="{77231466-BAA7-EDE9-A483-9F43F431835F}"/>
          </ac:picMkLst>
        </pc:picChg>
        <pc:picChg chg="mod">
          <ac:chgData name="Marta" userId="eac6eb22-5f14-46b4-a4ea-a86e6e8c4acc" providerId="ADAL" clId="{74097406-F23F-4933-BA70-ABAFA82FF68B}" dt="2023-05-08T11:11:56.407" v="201"/>
          <ac:picMkLst>
            <pc:docMk/>
            <pc:sldMk cId="2940565315" sldId="958"/>
            <ac:picMk id="457" creationId="{FACFC550-3442-F295-06A4-FF367DA24736}"/>
          </ac:picMkLst>
        </pc:picChg>
        <pc:picChg chg="mod">
          <ac:chgData name="Marta" userId="eac6eb22-5f14-46b4-a4ea-a86e6e8c4acc" providerId="ADAL" clId="{74097406-F23F-4933-BA70-ABAFA82FF68B}" dt="2023-05-08T11:11:56.407" v="201"/>
          <ac:picMkLst>
            <pc:docMk/>
            <pc:sldMk cId="2940565315" sldId="958"/>
            <ac:picMk id="458" creationId="{37FF4782-2A2F-D77C-74BA-6819679EA940}"/>
          </ac:picMkLst>
        </pc:picChg>
        <pc:picChg chg="mod">
          <ac:chgData name="Marta" userId="eac6eb22-5f14-46b4-a4ea-a86e6e8c4acc" providerId="ADAL" clId="{74097406-F23F-4933-BA70-ABAFA82FF68B}" dt="2023-05-08T11:11:56.407" v="201"/>
          <ac:picMkLst>
            <pc:docMk/>
            <pc:sldMk cId="2940565315" sldId="958"/>
            <ac:picMk id="459" creationId="{88E16E6B-AB2B-E21F-7FF3-3B4C6F1B8159}"/>
          </ac:picMkLst>
        </pc:picChg>
        <pc:picChg chg="mod">
          <ac:chgData name="Marta" userId="eac6eb22-5f14-46b4-a4ea-a86e6e8c4acc" providerId="ADAL" clId="{74097406-F23F-4933-BA70-ABAFA82FF68B}" dt="2023-05-08T11:11:56.407" v="201"/>
          <ac:picMkLst>
            <pc:docMk/>
            <pc:sldMk cId="2940565315" sldId="958"/>
            <ac:picMk id="460" creationId="{0764021C-B847-39E9-868C-EDE979B00A1B}"/>
          </ac:picMkLst>
        </pc:picChg>
        <pc:picChg chg="mod">
          <ac:chgData name="Marta" userId="eac6eb22-5f14-46b4-a4ea-a86e6e8c4acc" providerId="ADAL" clId="{74097406-F23F-4933-BA70-ABAFA82FF68B}" dt="2023-05-08T11:11:56.407" v="201"/>
          <ac:picMkLst>
            <pc:docMk/>
            <pc:sldMk cId="2940565315" sldId="958"/>
            <ac:picMk id="461" creationId="{9C0C52CA-AF19-F843-C399-727AF846D346}"/>
          </ac:picMkLst>
        </pc:picChg>
        <pc:picChg chg="mod">
          <ac:chgData name="Marta" userId="eac6eb22-5f14-46b4-a4ea-a86e6e8c4acc" providerId="ADAL" clId="{74097406-F23F-4933-BA70-ABAFA82FF68B}" dt="2023-05-08T11:11:56.407" v="201"/>
          <ac:picMkLst>
            <pc:docMk/>
            <pc:sldMk cId="2940565315" sldId="958"/>
            <ac:picMk id="462" creationId="{44FFE273-3953-44E3-B648-E3A02D361D76}"/>
          </ac:picMkLst>
        </pc:picChg>
        <pc:picChg chg="mod">
          <ac:chgData name="Marta" userId="eac6eb22-5f14-46b4-a4ea-a86e6e8c4acc" providerId="ADAL" clId="{74097406-F23F-4933-BA70-ABAFA82FF68B}" dt="2023-05-08T11:11:56.407" v="201"/>
          <ac:picMkLst>
            <pc:docMk/>
            <pc:sldMk cId="2940565315" sldId="958"/>
            <ac:picMk id="463" creationId="{4C08C4B1-E290-E907-98A1-3AFB8387CAFF}"/>
          </ac:picMkLst>
        </pc:picChg>
        <pc:picChg chg="mod">
          <ac:chgData name="Marta" userId="eac6eb22-5f14-46b4-a4ea-a86e6e8c4acc" providerId="ADAL" clId="{74097406-F23F-4933-BA70-ABAFA82FF68B}" dt="2023-05-08T11:11:56.407" v="201"/>
          <ac:picMkLst>
            <pc:docMk/>
            <pc:sldMk cId="2940565315" sldId="958"/>
            <ac:picMk id="464" creationId="{CBF541DB-18DE-ABF0-08EB-03ACC1924340}"/>
          </ac:picMkLst>
        </pc:picChg>
        <pc:picChg chg="mod">
          <ac:chgData name="Marta" userId="eac6eb22-5f14-46b4-a4ea-a86e6e8c4acc" providerId="ADAL" clId="{74097406-F23F-4933-BA70-ABAFA82FF68B}" dt="2023-05-08T11:11:56.407" v="201"/>
          <ac:picMkLst>
            <pc:docMk/>
            <pc:sldMk cId="2940565315" sldId="958"/>
            <ac:picMk id="465" creationId="{DB78BD26-F164-9BD3-1B78-5D2317741A10}"/>
          </ac:picMkLst>
        </pc:picChg>
        <pc:picChg chg="mod">
          <ac:chgData name="Marta" userId="eac6eb22-5f14-46b4-a4ea-a86e6e8c4acc" providerId="ADAL" clId="{74097406-F23F-4933-BA70-ABAFA82FF68B}" dt="2023-05-08T11:11:56.407" v="201"/>
          <ac:picMkLst>
            <pc:docMk/>
            <pc:sldMk cId="2940565315" sldId="958"/>
            <ac:picMk id="486" creationId="{BA7FD0EE-9095-2FD7-29FB-38A484897B3D}"/>
          </ac:picMkLst>
        </pc:picChg>
        <pc:picChg chg="mod">
          <ac:chgData name="Marta" userId="eac6eb22-5f14-46b4-a4ea-a86e6e8c4acc" providerId="ADAL" clId="{74097406-F23F-4933-BA70-ABAFA82FF68B}" dt="2023-05-08T11:11:56.407" v="201"/>
          <ac:picMkLst>
            <pc:docMk/>
            <pc:sldMk cId="2940565315" sldId="958"/>
            <ac:picMk id="487" creationId="{0C7353CF-1CF2-D2FA-19F5-C241DF5BDA3D}"/>
          </ac:picMkLst>
        </pc:picChg>
        <pc:picChg chg="mod">
          <ac:chgData name="Marta" userId="eac6eb22-5f14-46b4-a4ea-a86e6e8c4acc" providerId="ADAL" clId="{74097406-F23F-4933-BA70-ABAFA82FF68B}" dt="2023-05-08T11:11:56.407" v="201"/>
          <ac:picMkLst>
            <pc:docMk/>
            <pc:sldMk cId="2940565315" sldId="958"/>
            <ac:picMk id="489" creationId="{0967B6E1-DF24-668D-BEEF-A01D788C7CF0}"/>
          </ac:picMkLst>
        </pc:picChg>
        <pc:picChg chg="mod">
          <ac:chgData name="Marta" userId="eac6eb22-5f14-46b4-a4ea-a86e6e8c4acc" providerId="ADAL" clId="{74097406-F23F-4933-BA70-ABAFA82FF68B}" dt="2023-05-08T11:11:56.407" v="201"/>
          <ac:picMkLst>
            <pc:docMk/>
            <pc:sldMk cId="2940565315" sldId="958"/>
            <ac:picMk id="490" creationId="{17651FB2-B440-1B5C-4CCC-D135EA5D7889}"/>
          </ac:picMkLst>
        </pc:picChg>
        <pc:picChg chg="mod">
          <ac:chgData name="Marta" userId="eac6eb22-5f14-46b4-a4ea-a86e6e8c4acc" providerId="ADAL" clId="{74097406-F23F-4933-BA70-ABAFA82FF68B}" dt="2023-05-08T11:11:56.407" v="201"/>
          <ac:picMkLst>
            <pc:docMk/>
            <pc:sldMk cId="2940565315" sldId="958"/>
            <ac:picMk id="491" creationId="{3539C471-E97A-B515-A2B4-D9FD1543960A}"/>
          </ac:picMkLst>
        </pc:picChg>
        <pc:picChg chg="mod">
          <ac:chgData name="Marta" userId="eac6eb22-5f14-46b4-a4ea-a86e6e8c4acc" providerId="ADAL" clId="{74097406-F23F-4933-BA70-ABAFA82FF68B}" dt="2023-05-08T11:11:56.407" v="201"/>
          <ac:picMkLst>
            <pc:docMk/>
            <pc:sldMk cId="2940565315" sldId="958"/>
            <ac:picMk id="492" creationId="{50B6BA70-FFF0-048F-8CE6-3A04144D6139}"/>
          </ac:picMkLst>
        </pc:picChg>
        <pc:picChg chg="mod">
          <ac:chgData name="Marta" userId="eac6eb22-5f14-46b4-a4ea-a86e6e8c4acc" providerId="ADAL" clId="{74097406-F23F-4933-BA70-ABAFA82FF68B}" dt="2023-05-08T11:11:56.407" v="201"/>
          <ac:picMkLst>
            <pc:docMk/>
            <pc:sldMk cId="2940565315" sldId="958"/>
            <ac:picMk id="493" creationId="{360F5538-977E-0909-2A12-ED1057E75497}"/>
          </ac:picMkLst>
        </pc:picChg>
        <pc:picChg chg="mod">
          <ac:chgData name="Marta" userId="eac6eb22-5f14-46b4-a4ea-a86e6e8c4acc" providerId="ADAL" clId="{74097406-F23F-4933-BA70-ABAFA82FF68B}" dt="2023-05-08T11:11:56.407" v="201"/>
          <ac:picMkLst>
            <pc:docMk/>
            <pc:sldMk cId="2940565315" sldId="958"/>
            <ac:picMk id="494" creationId="{94B40CEE-E647-8CB9-47E9-8EB8B6564FF6}"/>
          </ac:picMkLst>
        </pc:picChg>
        <pc:picChg chg="mod">
          <ac:chgData name="Marta" userId="eac6eb22-5f14-46b4-a4ea-a86e6e8c4acc" providerId="ADAL" clId="{74097406-F23F-4933-BA70-ABAFA82FF68B}" dt="2023-05-08T11:11:56.407" v="201"/>
          <ac:picMkLst>
            <pc:docMk/>
            <pc:sldMk cId="2940565315" sldId="958"/>
            <ac:picMk id="495" creationId="{366F187E-3632-BFB3-9243-D9BC87F3DD2C}"/>
          </ac:picMkLst>
        </pc:picChg>
        <pc:picChg chg="mod">
          <ac:chgData name="Marta" userId="eac6eb22-5f14-46b4-a4ea-a86e6e8c4acc" providerId="ADAL" clId="{74097406-F23F-4933-BA70-ABAFA82FF68B}" dt="2023-05-08T11:11:56.407" v="201"/>
          <ac:picMkLst>
            <pc:docMk/>
            <pc:sldMk cId="2940565315" sldId="958"/>
            <ac:picMk id="496" creationId="{468A6663-1863-357C-9845-8E0827D56E7F}"/>
          </ac:picMkLst>
        </pc:picChg>
        <pc:picChg chg="mod">
          <ac:chgData name="Marta" userId="eac6eb22-5f14-46b4-a4ea-a86e6e8c4acc" providerId="ADAL" clId="{74097406-F23F-4933-BA70-ABAFA82FF68B}" dt="2023-05-08T11:11:56.407" v="201"/>
          <ac:picMkLst>
            <pc:docMk/>
            <pc:sldMk cId="2940565315" sldId="958"/>
            <ac:picMk id="497" creationId="{C3238AA6-3D01-3291-B754-05115027C9F0}"/>
          </ac:picMkLst>
        </pc:picChg>
        <pc:picChg chg="mod">
          <ac:chgData name="Marta" userId="eac6eb22-5f14-46b4-a4ea-a86e6e8c4acc" providerId="ADAL" clId="{74097406-F23F-4933-BA70-ABAFA82FF68B}" dt="2023-05-08T11:11:56.407" v="201"/>
          <ac:picMkLst>
            <pc:docMk/>
            <pc:sldMk cId="2940565315" sldId="958"/>
            <ac:picMk id="498" creationId="{8FE54F85-C726-1546-6B35-1DC336629242}"/>
          </ac:picMkLst>
        </pc:picChg>
        <pc:picChg chg="mod">
          <ac:chgData name="Marta" userId="eac6eb22-5f14-46b4-a4ea-a86e6e8c4acc" providerId="ADAL" clId="{74097406-F23F-4933-BA70-ABAFA82FF68B}" dt="2023-05-08T11:11:56.407" v="201"/>
          <ac:picMkLst>
            <pc:docMk/>
            <pc:sldMk cId="2940565315" sldId="958"/>
            <ac:picMk id="502" creationId="{9D1F1779-3C07-C403-B114-6AC26A74391B}"/>
          </ac:picMkLst>
        </pc:picChg>
        <pc:picChg chg="mod">
          <ac:chgData name="Marta" userId="eac6eb22-5f14-46b4-a4ea-a86e6e8c4acc" providerId="ADAL" clId="{74097406-F23F-4933-BA70-ABAFA82FF68B}" dt="2023-05-08T11:11:56.407" v="201"/>
          <ac:picMkLst>
            <pc:docMk/>
            <pc:sldMk cId="2940565315" sldId="958"/>
            <ac:picMk id="503" creationId="{552ED183-9872-60A2-E577-3174DB5E4044}"/>
          </ac:picMkLst>
        </pc:picChg>
        <pc:picChg chg="mod">
          <ac:chgData name="Marta" userId="eac6eb22-5f14-46b4-a4ea-a86e6e8c4acc" providerId="ADAL" clId="{74097406-F23F-4933-BA70-ABAFA82FF68B}" dt="2023-05-08T11:11:56.407" v="201"/>
          <ac:picMkLst>
            <pc:docMk/>
            <pc:sldMk cId="2940565315" sldId="958"/>
            <ac:picMk id="504" creationId="{5801B7B5-7D7C-4B4C-6CF4-6FCAEE7F099E}"/>
          </ac:picMkLst>
        </pc:picChg>
        <pc:picChg chg="mod">
          <ac:chgData name="Marta" userId="eac6eb22-5f14-46b4-a4ea-a86e6e8c4acc" providerId="ADAL" clId="{74097406-F23F-4933-BA70-ABAFA82FF68B}" dt="2023-05-08T11:11:56.407" v="201"/>
          <ac:picMkLst>
            <pc:docMk/>
            <pc:sldMk cId="2940565315" sldId="958"/>
            <ac:picMk id="507" creationId="{029E2A59-6D5A-CECB-5AB2-996213F0BD3B}"/>
          </ac:picMkLst>
        </pc:picChg>
        <pc:picChg chg="mod">
          <ac:chgData name="Marta" userId="eac6eb22-5f14-46b4-a4ea-a86e6e8c4acc" providerId="ADAL" clId="{74097406-F23F-4933-BA70-ABAFA82FF68B}" dt="2023-05-08T11:11:56.407" v="201"/>
          <ac:picMkLst>
            <pc:docMk/>
            <pc:sldMk cId="2940565315" sldId="958"/>
            <ac:picMk id="508" creationId="{6030CA7B-7727-DC7E-53D0-5A99FF30BCAE}"/>
          </ac:picMkLst>
        </pc:picChg>
        <pc:picChg chg="mod">
          <ac:chgData name="Marta" userId="eac6eb22-5f14-46b4-a4ea-a86e6e8c4acc" providerId="ADAL" clId="{74097406-F23F-4933-BA70-ABAFA82FF68B}" dt="2023-05-08T11:11:56.407" v="201"/>
          <ac:picMkLst>
            <pc:docMk/>
            <pc:sldMk cId="2940565315" sldId="958"/>
            <ac:picMk id="509" creationId="{F52B8E0C-BFFE-88D1-59F6-1509257D2E13}"/>
          </ac:picMkLst>
        </pc:picChg>
        <pc:picChg chg="mod">
          <ac:chgData name="Marta" userId="eac6eb22-5f14-46b4-a4ea-a86e6e8c4acc" providerId="ADAL" clId="{74097406-F23F-4933-BA70-ABAFA82FF68B}" dt="2023-05-08T11:11:56.407" v="201"/>
          <ac:picMkLst>
            <pc:docMk/>
            <pc:sldMk cId="2940565315" sldId="958"/>
            <ac:picMk id="510" creationId="{9D36FE1C-E3DA-43C0-63C3-ED5A13087390}"/>
          </ac:picMkLst>
        </pc:picChg>
        <pc:picChg chg="mod">
          <ac:chgData name="Marta" userId="eac6eb22-5f14-46b4-a4ea-a86e6e8c4acc" providerId="ADAL" clId="{74097406-F23F-4933-BA70-ABAFA82FF68B}" dt="2023-05-08T11:11:56.407" v="201"/>
          <ac:picMkLst>
            <pc:docMk/>
            <pc:sldMk cId="2940565315" sldId="958"/>
            <ac:picMk id="511" creationId="{44EA9D98-26AD-7374-FDA3-6EF66BBBBE07}"/>
          </ac:picMkLst>
        </pc:picChg>
        <pc:cxnChg chg="mod">
          <ac:chgData name="Marta" userId="eac6eb22-5f14-46b4-a4ea-a86e6e8c4acc" providerId="ADAL" clId="{74097406-F23F-4933-BA70-ABAFA82FF68B}" dt="2023-05-08T11:11:56.407" v="201"/>
          <ac:cxnSpMkLst>
            <pc:docMk/>
            <pc:sldMk cId="2940565315" sldId="958"/>
            <ac:cxnSpMk id="467" creationId="{2F75949D-3FE2-3FFB-3534-37073EE2A4CD}"/>
          </ac:cxnSpMkLst>
        </pc:cxnChg>
        <pc:cxnChg chg="mod">
          <ac:chgData name="Marta" userId="eac6eb22-5f14-46b4-a4ea-a86e6e8c4acc" providerId="ADAL" clId="{74097406-F23F-4933-BA70-ABAFA82FF68B}" dt="2023-05-08T11:11:56.407" v="201"/>
          <ac:cxnSpMkLst>
            <pc:docMk/>
            <pc:sldMk cId="2940565315" sldId="958"/>
            <ac:cxnSpMk id="468" creationId="{4EA4404B-7276-E7E5-6D59-257B38D799E0}"/>
          </ac:cxnSpMkLst>
        </pc:cxnChg>
        <pc:cxnChg chg="mod">
          <ac:chgData name="Marta" userId="eac6eb22-5f14-46b4-a4ea-a86e6e8c4acc" providerId="ADAL" clId="{74097406-F23F-4933-BA70-ABAFA82FF68B}" dt="2023-05-08T11:11:56.407" v="201"/>
          <ac:cxnSpMkLst>
            <pc:docMk/>
            <pc:sldMk cId="2940565315" sldId="958"/>
            <ac:cxnSpMk id="469" creationId="{561F39DA-E0A8-7BEC-124D-20050330D4A8}"/>
          </ac:cxnSpMkLst>
        </pc:cxnChg>
        <pc:cxnChg chg="mod">
          <ac:chgData name="Marta" userId="eac6eb22-5f14-46b4-a4ea-a86e6e8c4acc" providerId="ADAL" clId="{74097406-F23F-4933-BA70-ABAFA82FF68B}" dt="2023-05-08T11:11:56.407" v="201"/>
          <ac:cxnSpMkLst>
            <pc:docMk/>
            <pc:sldMk cId="2940565315" sldId="958"/>
            <ac:cxnSpMk id="470" creationId="{CE91C2B2-728D-C3E9-73E4-E5FE9121D555}"/>
          </ac:cxnSpMkLst>
        </pc:cxnChg>
        <pc:cxnChg chg="mod">
          <ac:chgData name="Marta" userId="eac6eb22-5f14-46b4-a4ea-a86e6e8c4acc" providerId="ADAL" clId="{74097406-F23F-4933-BA70-ABAFA82FF68B}" dt="2023-05-08T11:11:56.407" v="201"/>
          <ac:cxnSpMkLst>
            <pc:docMk/>
            <pc:sldMk cId="2940565315" sldId="958"/>
            <ac:cxnSpMk id="471" creationId="{43576A81-BFC4-EFA8-D1A1-86BC784F14E0}"/>
          </ac:cxnSpMkLst>
        </pc:cxnChg>
        <pc:cxnChg chg="mod">
          <ac:chgData name="Marta" userId="eac6eb22-5f14-46b4-a4ea-a86e6e8c4acc" providerId="ADAL" clId="{74097406-F23F-4933-BA70-ABAFA82FF68B}" dt="2023-05-08T11:11:56.407" v="201"/>
          <ac:cxnSpMkLst>
            <pc:docMk/>
            <pc:sldMk cId="2940565315" sldId="958"/>
            <ac:cxnSpMk id="472" creationId="{72D3EFB2-ECB0-CDE7-BF11-D48F39ACD8BE}"/>
          </ac:cxnSpMkLst>
        </pc:cxnChg>
        <pc:cxnChg chg="mod">
          <ac:chgData name="Marta" userId="eac6eb22-5f14-46b4-a4ea-a86e6e8c4acc" providerId="ADAL" clId="{74097406-F23F-4933-BA70-ABAFA82FF68B}" dt="2023-05-08T11:11:56.407" v="201"/>
          <ac:cxnSpMkLst>
            <pc:docMk/>
            <pc:sldMk cId="2940565315" sldId="958"/>
            <ac:cxnSpMk id="505" creationId="{6F32D9D3-FA0B-9475-A81C-18377377513B}"/>
          </ac:cxnSpMkLst>
        </pc:cxnChg>
        <pc:cxnChg chg="mod">
          <ac:chgData name="Marta" userId="eac6eb22-5f14-46b4-a4ea-a86e6e8c4acc" providerId="ADAL" clId="{74097406-F23F-4933-BA70-ABAFA82FF68B}" dt="2023-05-08T11:11:56.407" v="201"/>
          <ac:cxnSpMkLst>
            <pc:docMk/>
            <pc:sldMk cId="2940565315" sldId="958"/>
            <ac:cxnSpMk id="506" creationId="{5D7153FD-ADA7-C3AE-C41C-22D73D338CF7}"/>
          </ac:cxnSpMkLst>
        </pc:cxnChg>
      </pc:sldChg>
      <pc:sldChg chg="modSp add ord">
        <pc:chgData name="Marta" userId="eac6eb22-5f14-46b4-a4ea-a86e6e8c4acc" providerId="ADAL" clId="{74097406-F23F-4933-BA70-ABAFA82FF68B}" dt="2023-05-08T11:13:59.777" v="207"/>
        <pc:sldMkLst>
          <pc:docMk/>
          <pc:sldMk cId="3084335516" sldId="959"/>
        </pc:sldMkLst>
        <pc:spChg chg="mod">
          <ac:chgData name="Marta" userId="eac6eb22-5f14-46b4-a4ea-a86e6e8c4acc" providerId="ADAL" clId="{74097406-F23F-4933-BA70-ABAFA82FF68B}" dt="2023-05-08T11:11:56.594" v="203"/>
          <ac:spMkLst>
            <pc:docMk/>
            <pc:sldMk cId="3084335516" sldId="959"/>
            <ac:spMk id="2" creationId="{203A7316-C068-8EC0-9967-07C2F2DABE7A}"/>
          </ac:spMkLst>
        </pc:spChg>
        <pc:spChg chg="mod">
          <ac:chgData name="Marta" userId="eac6eb22-5f14-46b4-a4ea-a86e6e8c4acc" providerId="ADAL" clId="{74097406-F23F-4933-BA70-ABAFA82FF68B}" dt="2023-05-08T11:11:56.594" v="203"/>
          <ac:spMkLst>
            <pc:docMk/>
            <pc:sldMk cId="3084335516" sldId="959"/>
            <ac:spMk id="4" creationId="{F6513E49-BD0E-62FC-74D1-B2B56E4F3159}"/>
          </ac:spMkLst>
        </pc:spChg>
        <pc:spChg chg="mod">
          <ac:chgData name="Marta" userId="eac6eb22-5f14-46b4-a4ea-a86e6e8c4acc" providerId="ADAL" clId="{74097406-F23F-4933-BA70-ABAFA82FF68B}" dt="2023-05-08T11:11:56.594" v="203"/>
          <ac:spMkLst>
            <pc:docMk/>
            <pc:sldMk cId="3084335516" sldId="959"/>
            <ac:spMk id="5" creationId="{68C3983C-07B3-3494-A40E-94645B1FC629}"/>
          </ac:spMkLst>
        </pc:spChg>
        <pc:spChg chg="mod">
          <ac:chgData name="Marta" userId="eac6eb22-5f14-46b4-a4ea-a86e6e8c4acc" providerId="ADAL" clId="{74097406-F23F-4933-BA70-ABAFA82FF68B}" dt="2023-05-08T11:11:56.594" v="203"/>
          <ac:spMkLst>
            <pc:docMk/>
            <pc:sldMk cId="3084335516" sldId="959"/>
            <ac:spMk id="6" creationId="{6079703F-2FC7-C10D-569E-EED21C83804A}"/>
          </ac:spMkLst>
        </pc:spChg>
        <pc:spChg chg="mod">
          <ac:chgData name="Marta" userId="eac6eb22-5f14-46b4-a4ea-a86e6e8c4acc" providerId="ADAL" clId="{74097406-F23F-4933-BA70-ABAFA82FF68B}" dt="2023-05-08T11:11:56.594" v="203"/>
          <ac:spMkLst>
            <pc:docMk/>
            <pc:sldMk cId="3084335516" sldId="959"/>
            <ac:spMk id="7" creationId="{F1899E1E-77B5-3392-6E68-3DABE6AC04BC}"/>
          </ac:spMkLst>
        </pc:spChg>
        <pc:spChg chg="mod">
          <ac:chgData name="Marta" userId="eac6eb22-5f14-46b4-a4ea-a86e6e8c4acc" providerId="ADAL" clId="{74097406-F23F-4933-BA70-ABAFA82FF68B}" dt="2023-05-08T11:11:56.594" v="203"/>
          <ac:spMkLst>
            <pc:docMk/>
            <pc:sldMk cId="3084335516" sldId="959"/>
            <ac:spMk id="8" creationId="{00000000-0000-0000-0000-000000000000}"/>
          </ac:spMkLst>
        </pc:spChg>
        <pc:spChg chg="mod">
          <ac:chgData name="Marta" userId="eac6eb22-5f14-46b4-a4ea-a86e6e8c4acc" providerId="ADAL" clId="{74097406-F23F-4933-BA70-ABAFA82FF68B}" dt="2023-05-08T11:11:56.594" v="203"/>
          <ac:spMkLst>
            <pc:docMk/>
            <pc:sldMk cId="3084335516" sldId="959"/>
            <ac:spMk id="9" creationId="{4282E26F-4FD5-09A1-2C54-2E508067D322}"/>
          </ac:spMkLst>
        </pc:spChg>
        <pc:spChg chg="mod">
          <ac:chgData name="Marta" userId="eac6eb22-5f14-46b4-a4ea-a86e6e8c4acc" providerId="ADAL" clId="{74097406-F23F-4933-BA70-ABAFA82FF68B}" dt="2023-05-08T11:11:56.594" v="203"/>
          <ac:spMkLst>
            <pc:docMk/>
            <pc:sldMk cId="3084335516" sldId="959"/>
            <ac:spMk id="10" creationId="{4DB9CFB4-4FB9-4C4A-676C-F66F985BEDA2}"/>
          </ac:spMkLst>
        </pc:spChg>
        <pc:spChg chg="mod">
          <ac:chgData name="Marta" userId="eac6eb22-5f14-46b4-a4ea-a86e6e8c4acc" providerId="ADAL" clId="{74097406-F23F-4933-BA70-ABAFA82FF68B}" dt="2023-05-08T11:11:56.594" v="203"/>
          <ac:spMkLst>
            <pc:docMk/>
            <pc:sldMk cId="3084335516" sldId="959"/>
            <ac:spMk id="11" creationId="{C980A08F-DAA6-8D91-A6DC-F469BD289674}"/>
          </ac:spMkLst>
        </pc:spChg>
        <pc:spChg chg="mod">
          <ac:chgData name="Marta" userId="eac6eb22-5f14-46b4-a4ea-a86e6e8c4acc" providerId="ADAL" clId="{74097406-F23F-4933-BA70-ABAFA82FF68B}" dt="2023-05-08T11:11:56.594" v="203"/>
          <ac:spMkLst>
            <pc:docMk/>
            <pc:sldMk cId="3084335516" sldId="959"/>
            <ac:spMk id="12" creationId="{C3445035-BFAD-2B5A-0F12-F31219504546}"/>
          </ac:spMkLst>
        </pc:spChg>
        <pc:spChg chg="mod">
          <ac:chgData name="Marta" userId="eac6eb22-5f14-46b4-a4ea-a86e6e8c4acc" providerId="ADAL" clId="{74097406-F23F-4933-BA70-ABAFA82FF68B}" dt="2023-05-08T11:11:56.594" v="203"/>
          <ac:spMkLst>
            <pc:docMk/>
            <pc:sldMk cId="3084335516" sldId="959"/>
            <ac:spMk id="13" creationId="{78F3E170-54B1-9BBE-F44F-7F13770F64DE}"/>
          </ac:spMkLst>
        </pc:spChg>
        <pc:spChg chg="mod">
          <ac:chgData name="Marta" userId="eac6eb22-5f14-46b4-a4ea-a86e6e8c4acc" providerId="ADAL" clId="{74097406-F23F-4933-BA70-ABAFA82FF68B}" dt="2023-05-08T11:11:56.594" v="203"/>
          <ac:spMkLst>
            <pc:docMk/>
            <pc:sldMk cId="3084335516" sldId="959"/>
            <ac:spMk id="15" creationId="{AA9E942D-9902-CFF4-3323-B79CBB31767B}"/>
          </ac:spMkLst>
        </pc:spChg>
        <pc:spChg chg="mod">
          <ac:chgData name="Marta" userId="eac6eb22-5f14-46b4-a4ea-a86e6e8c4acc" providerId="ADAL" clId="{74097406-F23F-4933-BA70-ABAFA82FF68B}" dt="2023-05-08T11:11:56.594" v="203"/>
          <ac:spMkLst>
            <pc:docMk/>
            <pc:sldMk cId="3084335516" sldId="959"/>
            <ac:spMk id="16" creationId="{5313318C-6139-8053-8182-420B89FF9BBA}"/>
          </ac:spMkLst>
        </pc:spChg>
        <pc:spChg chg="mod">
          <ac:chgData name="Marta" userId="eac6eb22-5f14-46b4-a4ea-a86e6e8c4acc" providerId="ADAL" clId="{74097406-F23F-4933-BA70-ABAFA82FF68B}" dt="2023-05-08T11:11:56.594" v="203"/>
          <ac:spMkLst>
            <pc:docMk/>
            <pc:sldMk cId="3084335516" sldId="959"/>
            <ac:spMk id="17" creationId="{6B2F9E38-2D70-D88C-E197-2B4901E2878F}"/>
          </ac:spMkLst>
        </pc:spChg>
        <pc:spChg chg="mod">
          <ac:chgData name="Marta" userId="eac6eb22-5f14-46b4-a4ea-a86e6e8c4acc" providerId="ADAL" clId="{74097406-F23F-4933-BA70-ABAFA82FF68B}" dt="2023-05-08T11:11:56.594" v="203"/>
          <ac:spMkLst>
            <pc:docMk/>
            <pc:sldMk cId="3084335516" sldId="959"/>
            <ac:spMk id="18" creationId="{7776B371-76DA-1B3B-AE66-3DB255D91065}"/>
          </ac:spMkLst>
        </pc:spChg>
        <pc:spChg chg="mod">
          <ac:chgData name="Marta" userId="eac6eb22-5f14-46b4-a4ea-a86e6e8c4acc" providerId="ADAL" clId="{74097406-F23F-4933-BA70-ABAFA82FF68B}" dt="2023-05-08T11:11:56.594" v="203"/>
          <ac:spMkLst>
            <pc:docMk/>
            <pc:sldMk cId="3084335516" sldId="959"/>
            <ac:spMk id="19" creationId="{7DACB856-CDEC-2A7F-8A91-1435718E133F}"/>
          </ac:spMkLst>
        </pc:spChg>
        <pc:spChg chg="mod">
          <ac:chgData name="Marta" userId="eac6eb22-5f14-46b4-a4ea-a86e6e8c4acc" providerId="ADAL" clId="{74097406-F23F-4933-BA70-ABAFA82FF68B}" dt="2023-05-08T11:11:56.594" v="203"/>
          <ac:spMkLst>
            <pc:docMk/>
            <pc:sldMk cId="3084335516" sldId="959"/>
            <ac:spMk id="20" creationId="{A82E5DFB-E09E-3E82-F495-34C7ED4ABC7A}"/>
          </ac:spMkLst>
        </pc:spChg>
        <pc:spChg chg="mod">
          <ac:chgData name="Marta" userId="eac6eb22-5f14-46b4-a4ea-a86e6e8c4acc" providerId="ADAL" clId="{74097406-F23F-4933-BA70-ABAFA82FF68B}" dt="2023-05-08T11:11:56.594" v="203"/>
          <ac:spMkLst>
            <pc:docMk/>
            <pc:sldMk cId="3084335516" sldId="959"/>
            <ac:spMk id="23" creationId="{59FE9D76-BC4C-B5EC-368B-13E899B3FE2D}"/>
          </ac:spMkLst>
        </pc:spChg>
        <pc:spChg chg="mod">
          <ac:chgData name="Marta" userId="eac6eb22-5f14-46b4-a4ea-a86e6e8c4acc" providerId="ADAL" clId="{74097406-F23F-4933-BA70-ABAFA82FF68B}" dt="2023-05-08T11:11:56.594" v="203"/>
          <ac:spMkLst>
            <pc:docMk/>
            <pc:sldMk cId="3084335516" sldId="959"/>
            <ac:spMk id="24" creationId="{EABBEFCD-1F30-4AD4-CF51-DFAD2E0E6EF9}"/>
          </ac:spMkLst>
        </pc:spChg>
        <pc:spChg chg="mod">
          <ac:chgData name="Marta" userId="eac6eb22-5f14-46b4-a4ea-a86e6e8c4acc" providerId="ADAL" clId="{74097406-F23F-4933-BA70-ABAFA82FF68B}" dt="2023-05-08T11:11:56.594" v="203"/>
          <ac:spMkLst>
            <pc:docMk/>
            <pc:sldMk cId="3084335516" sldId="959"/>
            <ac:spMk id="25" creationId="{32F722C0-28CE-F370-A01C-49F9939AF817}"/>
          </ac:spMkLst>
        </pc:spChg>
        <pc:spChg chg="mod">
          <ac:chgData name="Marta" userId="eac6eb22-5f14-46b4-a4ea-a86e6e8c4acc" providerId="ADAL" clId="{74097406-F23F-4933-BA70-ABAFA82FF68B}" dt="2023-05-08T11:11:56.594" v="203"/>
          <ac:spMkLst>
            <pc:docMk/>
            <pc:sldMk cId="3084335516" sldId="959"/>
            <ac:spMk id="27" creationId="{8BB799EE-14F3-55B0-0D47-63CEAB85943E}"/>
          </ac:spMkLst>
        </pc:spChg>
        <pc:spChg chg="mod">
          <ac:chgData name="Marta" userId="eac6eb22-5f14-46b4-a4ea-a86e6e8c4acc" providerId="ADAL" clId="{74097406-F23F-4933-BA70-ABAFA82FF68B}" dt="2023-05-08T11:11:56.594" v="203"/>
          <ac:spMkLst>
            <pc:docMk/>
            <pc:sldMk cId="3084335516" sldId="959"/>
            <ac:spMk id="28" creationId="{9E50835F-5ABA-6F37-72F5-224F59ADF813}"/>
          </ac:spMkLst>
        </pc:spChg>
        <pc:spChg chg="mod">
          <ac:chgData name="Marta" userId="eac6eb22-5f14-46b4-a4ea-a86e6e8c4acc" providerId="ADAL" clId="{74097406-F23F-4933-BA70-ABAFA82FF68B}" dt="2023-05-08T11:11:56.594" v="203"/>
          <ac:spMkLst>
            <pc:docMk/>
            <pc:sldMk cId="3084335516" sldId="959"/>
            <ac:spMk id="30" creationId="{C20448D2-E34F-66AA-6880-2EF4110A84EB}"/>
          </ac:spMkLst>
        </pc:spChg>
        <pc:spChg chg="mod">
          <ac:chgData name="Marta" userId="eac6eb22-5f14-46b4-a4ea-a86e6e8c4acc" providerId="ADAL" clId="{74097406-F23F-4933-BA70-ABAFA82FF68B}" dt="2023-05-08T11:11:56.594" v="203"/>
          <ac:spMkLst>
            <pc:docMk/>
            <pc:sldMk cId="3084335516" sldId="959"/>
            <ac:spMk id="31" creationId="{9BAD6FC0-F567-DD34-5701-77FE371B7F3D}"/>
          </ac:spMkLst>
        </pc:spChg>
        <pc:spChg chg="mod">
          <ac:chgData name="Marta" userId="eac6eb22-5f14-46b4-a4ea-a86e6e8c4acc" providerId="ADAL" clId="{74097406-F23F-4933-BA70-ABAFA82FF68B}" dt="2023-05-08T11:11:56.594" v="203"/>
          <ac:spMkLst>
            <pc:docMk/>
            <pc:sldMk cId="3084335516" sldId="959"/>
            <ac:spMk id="32" creationId="{D51F6B3C-1FE5-1753-DD82-6CB3BD073B00}"/>
          </ac:spMkLst>
        </pc:spChg>
        <pc:spChg chg="mod">
          <ac:chgData name="Marta" userId="eac6eb22-5f14-46b4-a4ea-a86e6e8c4acc" providerId="ADAL" clId="{74097406-F23F-4933-BA70-ABAFA82FF68B}" dt="2023-05-08T11:11:56.594" v="203"/>
          <ac:spMkLst>
            <pc:docMk/>
            <pc:sldMk cId="3084335516" sldId="959"/>
            <ac:spMk id="33" creationId="{A4BCF8EE-13E8-B9C6-DF7E-5FDB3E045445}"/>
          </ac:spMkLst>
        </pc:spChg>
        <pc:spChg chg="mod">
          <ac:chgData name="Marta" userId="eac6eb22-5f14-46b4-a4ea-a86e6e8c4acc" providerId="ADAL" clId="{74097406-F23F-4933-BA70-ABAFA82FF68B}" dt="2023-05-08T11:11:56.594" v="203"/>
          <ac:spMkLst>
            <pc:docMk/>
            <pc:sldMk cId="3084335516" sldId="959"/>
            <ac:spMk id="34" creationId="{9D166D29-3847-378A-AF96-AA8645D09E27}"/>
          </ac:spMkLst>
        </pc:spChg>
        <pc:spChg chg="mod">
          <ac:chgData name="Marta" userId="eac6eb22-5f14-46b4-a4ea-a86e6e8c4acc" providerId="ADAL" clId="{74097406-F23F-4933-BA70-ABAFA82FF68B}" dt="2023-05-08T11:11:56.594" v="203"/>
          <ac:spMkLst>
            <pc:docMk/>
            <pc:sldMk cId="3084335516" sldId="959"/>
            <ac:spMk id="40" creationId="{C75AD777-92A4-B41C-F8CF-A9491D7547C7}"/>
          </ac:spMkLst>
        </pc:spChg>
        <pc:spChg chg="mod">
          <ac:chgData name="Marta" userId="eac6eb22-5f14-46b4-a4ea-a86e6e8c4acc" providerId="ADAL" clId="{74097406-F23F-4933-BA70-ABAFA82FF68B}" dt="2023-05-08T11:11:56.594" v="203"/>
          <ac:spMkLst>
            <pc:docMk/>
            <pc:sldMk cId="3084335516" sldId="959"/>
            <ac:spMk id="41" creationId="{83B5696A-756D-AA75-E49C-543BFE43319C}"/>
          </ac:spMkLst>
        </pc:spChg>
        <pc:spChg chg="mod">
          <ac:chgData name="Marta" userId="eac6eb22-5f14-46b4-a4ea-a86e6e8c4acc" providerId="ADAL" clId="{74097406-F23F-4933-BA70-ABAFA82FF68B}" dt="2023-05-08T11:11:56.594" v="203"/>
          <ac:spMkLst>
            <pc:docMk/>
            <pc:sldMk cId="3084335516" sldId="959"/>
            <ac:spMk id="44" creationId="{2FE50823-72A4-BC2E-3F96-A6CC02546C3D}"/>
          </ac:spMkLst>
        </pc:spChg>
        <pc:spChg chg="mod">
          <ac:chgData name="Marta" userId="eac6eb22-5f14-46b4-a4ea-a86e6e8c4acc" providerId="ADAL" clId="{74097406-F23F-4933-BA70-ABAFA82FF68B}" dt="2023-05-08T11:11:56.594" v="203"/>
          <ac:spMkLst>
            <pc:docMk/>
            <pc:sldMk cId="3084335516" sldId="959"/>
            <ac:spMk id="45" creationId="{E8CCB011-2859-EF14-3E44-1348C8DD4B9D}"/>
          </ac:spMkLst>
        </pc:spChg>
        <pc:spChg chg="mod">
          <ac:chgData name="Marta" userId="eac6eb22-5f14-46b4-a4ea-a86e6e8c4acc" providerId="ADAL" clId="{74097406-F23F-4933-BA70-ABAFA82FF68B}" dt="2023-05-08T11:11:56.594" v="203"/>
          <ac:spMkLst>
            <pc:docMk/>
            <pc:sldMk cId="3084335516" sldId="959"/>
            <ac:spMk id="47" creationId="{77627490-4DFD-7929-971A-9EF810E63D34}"/>
          </ac:spMkLst>
        </pc:spChg>
        <pc:spChg chg="mod">
          <ac:chgData name="Marta" userId="eac6eb22-5f14-46b4-a4ea-a86e6e8c4acc" providerId="ADAL" clId="{74097406-F23F-4933-BA70-ABAFA82FF68B}" dt="2023-05-08T11:11:56.594" v="203"/>
          <ac:spMkLst>
            <pc:docMk/>
            <pc:sldMk cId="3084335516" sldId="959"/>
            <ac:spMk id="53" creationId="{EA6215C0-31A9-1A69-91A2-573D54CC73DB}"/>
          </ac:spMkLst>
        </pc:spChg>
        <pc:spChg chg="mod">
          <ac:chgData name="Marta" userId="eac6eb22-5f14-46b4-a4ea-a86e6e8c4acc" providerId="ADAL" clId="{74097406-F23F-4933-BA70-ABAFA82FF68B}" dt="2023-05-08T11:11:56.594" v="203"/>
          <ac:spMkLst>
            <pc:docMk/>
            <pc:sldMk cId="3084335516" sldId="959"/>
            <ac:spMk id="54" creationId="{B15AE72D-AC50-2301-834B-BC185855F07C}"/>
          </ac:spMkLst>
        </pc:spChg>
        <pc:spChg chg="mod">
          <ac:chgData name="Marta" userId="eac6eb22-5f14-46b4-a4ea-a86e6e8c4acc" providerId="ADAL" clId="{74097406-F23F-4933-BA70-ABAFA82FF68B}" dt="2023-05-08T11:11:56.594" v="203"/>
          <ac:spMkLst>
            <pc:docMk/>
            <pc:sldMk cId="3084335516" sldId="959"/>
            <ac:spMk id="326" creationId="{3E32A2AF-5B37-DDEC-06E8-29888804622C}"/>
          </ac:spMkLst>
        </pc:spChg>
        <pc:spChg chg="mod">
          <ac:chgData name="Marta" userId="eac6eb22-5f14-46b4-a4ea-a86e6e8c4acc" providerId="ADAL" clId="{74097406-F23F-4933-BA70-ABAFA82FF68B}" dt="2023-05-08T11:11:56.594" v="203"/>
          <ac:spMkLst>
            <pc:docMk/>
            <pc:sldMk cId="3084335516" sldId="959"/>
            <ac:spMk id="327" creationId="{9F3021C4-1250-7575-8E6B-95F3B94220D4}"/>
          </ac:spMkLst>
        </pc:spChg>
        <pc:spChg chg="mod">
          <ac:chgData name="Marta" userId="eac6eb22-5f14-46b4-a4ea-a86e6e8c4acc" providerId="ADAL" clId="{74097406-F23F-4933-BA70-ABAFA82FF68B}" dt="2023-05-08T11:11:56.594" v="203"/>
          <ac:spMkLst>
            <pc:docMk/>
            <pc:sldMk cId="3084335516" sldId="959"/>
            <ac:spMk id="333" creationId="{6FE21C4A-B830-E04D-BE53-58C6F807845B}"/>
          </ac:spMkLst>
        </pc:spChg>
        <pc:spChg chg="mod">
          <ac:chgData name="Marta" userId="eac6eb22-5f14-46b4-a4ea-a86e6e8c4acc" providerId="ADAL" clId="{74097406-F23F-4933-BA70-ABAFA82FF68B}" dt="2023-05-08T11:11:56.594" v="203"/>
          <ac:spMkLst>
            <pc:docMk/>
            <pc:sldMk cId="3084335516" sldId="959"/>
            <ac:spMk id="334" creationId="{959A11B8-D663-15A4-9CDD-0892AE5F6793}"/>
          </ac:spMkLst>
        </pc:spChg>
        <pc:spChg chg="mod">
          <ac:chgData name="Marta" userId="eac6eb22-5f14-46b4-a4ea-a86e6e8c4acc" providerId="ADAL" clId="{74097406-F23F-4933-BA70-ABAFA82FF68B}" dt="2023-05-08T11:11:56.594" v="203"/>
          <ac:spMkLst>
            <pc:docMk/>
            <pc:sldMk cId="3084335516" sldId="959"/>
            <ac:spMk id="346" creationId="{00000000-0000-0000-0000-000000000000}"/>
          </ac:spMkLst>
        </pc:spChg>
        <pc:spChg chg="mod">
          <ac:chgData name="Marta" userId="eac6eb22-5f14-46b4-a4ea-a86e6e8c4acc" providerId="ADAL" clId="{74097406-F23F-4933-BA70-ABAFA82FF68B}" dt="2023-05-08T11:11:56.594" v="203"/>
          <ac:spMkLst>
            <pc:docMk/>
            <pc:sldMk cId="3084335516" sldId="959"/>
            <ac:spMk id="437" creationId="{E4A29164-2121-F294-27B4-DAEFB5D0DA68}"/>
          </ac:spMkLst>
        </pc:spChg>
        <pc:spChg chg="mod">
          <ac:chgData name="Marta" userId="eac6eb22-5f14-46b4-a4ea-a86e6e8c4acc" providerId="ADAL" clId="{74097406-F23F-4933-BA70-ABAFA82FF68B}" dt="2023-05-08T11:11:56.594" v="203"/>
          <ac:spMkLst>
            <pc:docMk/>
            <pc:sldMk cId="3084335516" sldId="959"/>
            <ac:spMk id="438" creationId="{C1D0F1F6-49B6-A9AA-29D7-2B32DD1669D8}"/>
          </ac:spMkLst>
        </pc:spChg>
        <pc:spChg chg="mod">
          <ac:chgData name="Marta" userId="eac6eb22-5f14-46b4-a4ea-a86e6e8c4acc" providerId="ADAL" clId="{74097406-F23F-4933-BA70-ABAFA82FF68B}" dt="2023-05-08T11:11:56.594" v="203"/>
          <ac:spMkLst>
            <pc:docMk/>
            <pc:sldMk cId="3084335516" sldId="959"/>
            <ac:spMk id="439" creationId="{7B8D6FC4-D991-04EA-48FF-651A7FE5420D}"/>
          </ac:spMkLst>
        </pc:spChg>
        <pc:spChg chg="mod">
          <ac:chgData name="Marta" userId="eac6eb22-5f14-46b4-a4ea-a86e6e8c4acc" providerId="ADAL" clId="{74097406-F23F-4933-BA70-ABAFA82FF68B}" dt="2023-05-08T11:11:56.594" v="203"/>
          <ac:spMkLst>
            <pc:docMk/>
            <pc:sldMk cId="3084335516" sldId="959"/>
            <ac:spMk id="440" creationId="{5D549A4D-68F7-B530-FDBF-C421BDC13F8F}"/>
          </ac:spMkLst>
        </pc:spChg>
        <pc:spChg chg="mod">
          <ac:chgData name="Marta" userId="eac6eb22-5f14-46b4-a4ea-a86e6e8c4acc" providerId="ADAL" clId="{74097406-F23F-4933-BA70-ABAFA82FF68B}" dt="2023-05-08T11:11:56.594" v="203"/>
          <ac:spMkLst>
            <pc:docMk/>
            <pc:sldMk cId="3084335516" sldId="959"/>
            <ac:spMk id="441" creationId="{EFFEC27A-1B8C-2095-57DE-B53519D67470}"/>
          </ac:spMkLst>
        </pc:spChg>
        <pc:spChg chg="mod">
          <ac:chgData name="Marta" userId="eac6eb22-5f14-46b4-a4ea-a86e6e8c4acc" providerId="ADAL" clId="{74097406-F23F-4933-BA70-ABAFA82FF68B}" dt="2023-05-08T11:11:56.594" v="203"/>
          <ac:spMkLst>
            <pc:docMk/>
            <pc:sldMk cId="3084335516" sldId="959"/>
            <ac:spMk id="442" creationId="{7DFB0089-93E3-EBE7-5023-660256FB2F1E}"/>
          </ac:spMkLst>
        </pc:spChg>
        <pc:grpChg chg="mod">
          <ac:chgData name="Marta" userId="eac6eb22-5f14-46b4-a4ea-a86e6e8c4acc" providerId="ADAL" clId="{74097406-F23F-4933-BA70-ABAFA82FF68B}" dt="2023-05-08T11:11:56.594" v="203"/>
          <ac:grpSpMkLst>
            <pc:docMk/>
            <pc:sldMk cId="3084335516" sldId="959"/>
            <ac:grpSpMk id="1" creationId="{00000000-0000-0000-0000-000000000000}"/>
          </ac:grpSpMkLst>
        </pc:grpChg>
        <pc:grpChg chg="mod">
          <ac:chgData name="Marta" userId="eac6eb22-5f14-46b4-a4ea-a86e6e8c4acc" providerId="ADAL" clId="{74097406-F23F-4933-BA70-ABAFA82FF68B}" dt="2023-05-08T11:11:56.594" v="203"/>
          <ac:grpSpMkLst>
            <pc:docMk/>
            <pc:sldMk cId="3084335516" sldId="959"/>
            <ac:grpSpMk id="22" creationId="{0058DC72-C1B7-9009-E910-0A33BFED779B}"/>
          </ac:grpSpMkLst>
        </pc:grpChg>
        <pc:grpChg chg="mod">
          <ac:chgData name="Marta" userId="eac6eb22-5f14-46b4-a4ea-a86e6e8c4acc" providerId="ADAL" clId="{74097406-F23F-4933-BA70-ABAFA82FF68B}" dt="2023-05-08T11:11:56.594" v="203"/>
          <ac:grpSpMkLst>
            <pc:docMk/>
            <pc:sldMk cId="3084335516" sldId="959"/>
            <ac:grpSpMk id="26" creationId="{2E4DB06C-7C48-648B-95AE-FC1BCF09330D}"/>
          </ac:grpSpMkLst>
        </pc:grpChg>
        <pc:grpChg chg="mod">
          <ac:chgData name="Marta" userId="eac6eb22-5f14-46b4-a4ea-a86e6e8c4acc" providerId="ADAL" clId="{74097406-F23F-4933-BA70-ABAFA82FF68B}" dt="2023-05-08T11:11:56.594" v="203"/>
          <ac:grpSpMkLst>
            <pc:docMk/>
            <pc:sldMk cId="3084335516" sldId="959"/>
            <ac:grpSpMk id="29" creationId="{E83F2DF2-6149-66FB-A0C4-49251D5D53B3}"/>
          </ac:grpSpMkLst>
        </pc:grpChg>
        <pc:grpChg chg="mod">
          <ac:chgData name="Marta" userId="eac6eb22-5f14-46b4-a4ea-a86e6e8c4acc" providerId="ADAL" clId="{74097406-F23F-4933-BA70-ABAFA82FF68B}" dt="2023-05-08T11:11:56.594" v="203"/>
          <ac:grpSpMkLst>
            <pc:docMk/>
            <pc:sldMk cId="3084335516" sldId="959"/>
            <ac:grpSpMk id="39" creationId="{6A548644-8D4A-711B-674D-C998933239C8}"/>
          </ac:grpSpMkLst>
        </pc:grpChg>
        <pc:grpChg chg="mod">
          <ac:chgData name="Marta" userId="eac6eb22-5f14-46b4-a4ea-a86e6e8c4acc" providerId="ADAL" clId="{74097406-F23F-4933-BA70-ABAFA82FF68B}" dt="2023-05-08T11:11:56.594" v="203"/>
          <ac:grpSpMkLst>
            <pc:docMk/>
            <pc:sldMk cId="3084335516" sldId="959"/>
            <ac:grpSpMk id="43" creationId="{7F6B2737-126F-DC4E-2960-B16F7530098F}"/>
          </ac:grpSpMkLst>
        </pc:grpChg>
        <pc:graphicFrameChg chg="mod">
          <ac:chgData name="Marta" userId="eac6eb22-5f14-46b4-a4ea-a86e6e8c4acc" providerId="ADAL" clId="{74097406-F23F-4933-BA70-ABAFA82FF68B}" dt="2023-05-08T11:11:56.594" v="203"/>
          <ac:graphicFrameMkLst>
            <pc:docMk/>
            <pc:sldMk cId="3084335516" sldId="959"/>
            <ac:graphicFrameMk id="3" creationId="{00000000-0000-0000-0000-000000000000}"/>
          </ac:graphicFrameMkLst>
        </pc:graphicFrameChg>
        <pc:picChg chg="mod">
          <ac:chgData name="Marta" userId="eac6eb22-5f14-46b4-a4ea-a86e6e8c4acc" providerId="ADAL" clId="{74097406-F23F-4933-BA70-ABAFA82FF68B}" dt="2023-05-08T11:11:56.594" v="203"/>
          <ac:picMkLst>
            <pc:docMk/>
            <pc:sldMk cId="3084335516" sldId="959"/>
            <ac:picMk id="21" creationId="{E3454908-60CD-9040-D200-350445EC88E0}"/>
          </ac:picMkLst>
        </pc:picChg>
        <pc:picChg chg="mod">
          <ac:chgData name="Marta" userId="eac6eb22-5f14-46b4-a4ea-a86e6e8c4acc" providerId="ADAL" clId="{74097406-F23F-4933-BA70-ABAFA82FF68B}" dt="2023-05-08T11:11:56.594" v="203"/>
          <ac:picMkLst>
            <pc:docMk/>
            <pc:sldMk cId="3084335516" sldId="959"/>
            <ac:picMk id="42" creationId="{B74AF80F-B4A5-834D-A3BC-8CA2AF6A8A1F}"/>
          </ac:picMkLst>
        </pc:picChg>
        <pc:picChg chg="mod">
          <ac:chgData name="Marta" userId="eac6eb22-5f14-46b4-a4ea-a86e6e8c4acc" providerId="ADAL" clId="{74097406-F23F-4933-BA70-ABAFA82FF68B}" dt="2023-05-08T11:11:56.594" v="203"/>
          <ac:picMkLst>
            <pc:docMk/>
            <pc:sldMk cId="3084335516" sldId="959"/>
            <ac:picMk id="46" creationId="{202A3243-0C79-407A-FA59-9867D2F3A94E}"/>
          </ac:picMkLst>
        </pc:picChg>
        <pc:picChg chg="mod">
          <ac:chgData name="Marta" userId="eac6eb22-5f14-46b4-a4ea-a86e6e8c4acc" providerId="ADAL" clId="{74097406-F23F-4933-BA70-ABAFA82FF68B}" dt="2023-05-08T11:11:56.594" v="203"/>
          <ac:picMkLst>
            <pc:docMk/>
            <pc:sldMk cId="3084335516" sldId="959"/>
            <ac:picMk id="48" creationId="{DF79C122-56BB-C9E9-81DC-95515A0FAFE4}"/>
          </ac:picMkLst>
        </pc:picChg>
        <pc:picChg chg="mod">
          <ac:chgData name="Marta" userId="eac6eb22-5f14-46b4-a4ea-a86e6e8c4acc" providerId="ADAL" clId="{74097406-F23F-4933-BA70-ABAFA82FF68B}" dt="2023-05-08T11:11:56.594" v="203"/>
          <ac:picMkLst>
            <pc:docMk/>
            <pc:sldMk cId="3084335516" sldId="959"/>
            <ac:picMk id="49" creationId="{F347DF40-5412-ED64-94D5-E84D38E5E85F}"/>
          </ac:picMkLst>
        </pc:picChg>
        <pc:picChg chg="mod">
          <ac:chgData name="Marta" userId="eac6eb22-5f14-46b4-a4ea-a86e6e8c4acc" providerId="ADAL" clId="{74097406-F23F-4933-BA70-ABAFA82FF68B}" dt="2023-05-08T11:11:56.594" v="203"/>
          <ac:picMkLst>
            <pc:docMk/>
            <pc:sldMk cId="3084335516" sldId="959"/>
            <ac:picMk id="50" creationId="{E057DF22-EBFC-E657-93E2-5CED5F480D16}"/>
          </ac:picMkLst>
        </pc:picChg>
        <pc:picChg chg="mod">
          <ac:chgData name="Marta" userId="eac6eb22-5f14-46b4-a4ea-a86e6e8c4acc" providerId="ADAL" clId="{74097406-F23F-4933-BA70-ABAFA82FF68B}" dt="2023-05-08T11:11:56.594" v="203"/>
          <ac:picMkLst>
            <pc:docMk/>
            <pc:sldMk cId="3084335516" sldId="959"/>
            <ac:picMk id="51" creationId="{59F3E946-7B00-7324-7450-C3F7BC82CC59}"/>
          </ac:picMkLst>
        </pc:picChg>
        <pc:picChg chg="mod">
          <ac:chgData name="Marta" userId="eac6eb22-5f14-46b4-a4ea-a86e6e8c4acc" providerId="ADAL" clId="{74097406-F23F-4933-BA70-ABAFA82FF68B}" dt="2023-05-08T11:11:56.594" v="203"/>
          <ac:picMkLst>
            <pc:docMk/>
            <pc:sldMk cId="3084335516" sldId="959"/>
            <ac:picMk id="52" creationId="{F03D9EA2-F2BA-852A-69C7-0CB9CD901FF5}"/>
          </ac:picMkLst>
        </pc:picChg>
        <pc:picChg chg="mod">
          <ac:chgData name="Marta" userId="eac6eb22-5f14-46b4-a4ea-a86e6e8c4acc" providerId="ADAL" clId="{74097406-F23F-4933-BA70-ABAFA82FF68B}" dt="2023-05-08T11:11:56.594" v="203"/>
          <ac:picMkLst>
            <pc:docMk/>
            <pc:sldMk cId="3084335516" sldId="959"/>
            <ac:picMk id="55" creationId="{23D33F0D-49F7-435E-BCE2-C1CD7070AB30}"/>
          </ac:picMkLst>
        </pc:picChg>
        <pc:picChg chg="mod">
          <ac:chgData name="Marta" userId="eac6eb22-5f14-46b4-a4ea-a86e6e8c4acc" providerId="ADAL" clId="{74097406-F23F-4933-BA70-ABAFA82FF68B}" dt="2023-05-08T11:11:56.594" v="203"/>
          <ac:picMkLst>
            <pc:docMk/>
            <pc:sldMk cId="3084335516" sldId="959"/>
            <ac:picMk id="56" creationId="{70BC645B-34DB-EE68-59B8-9C6FC4FF66CE}"/>
          </ac:picMkLst>
        </pc:picChg>
        <pc:picChg chg="mod">
          <ac:chgData name="Marta" userId="eac6eb22-5f14-46b4-a4ea-a86e6e8c4acc" providerId="ADAL" clId="{74097406-F23F-4933-BA70-ABAFA82FF68B}" dt="2023-05-08T11:11:56.594" v="203"/>
          <ac:picMkLst>
            <pc:docMk/>
            <pc:sldMk cId="3084335516" sldId="959"/>
            <ac:picMk id="57" creationId="{60713812-D92A-B0E9-BDF6-388297C411AF}"/>
          </ac:picMkLst>
        </pc:picChg>
        <pc:picChg chg="mod">
          <ac:chgData name="Marta" userId="eac6eb22-5f14-46b4-a4ea-a86e6e8c4acc" providerId="ADAL" clId="{74097406-F23F-4933-BA70-ABAFA82FF68B}" dt="2023-05-08T11:11:56.594" v="203"/>
          <ac:picMkLst>
            <pc:docMk/>
            <pc:sldMk cId="3084335516" sldId="959"/>
            <ac:picMk id="58" creationId="{4C7310D4-3940-B234-D4C1-5AE53443F179}"/>
          </ac:picMkLst>
        </pc:picChg>
        <pc:picChg chg="mod">
          <ac:chgData name="Marta" userId="eac6eb22-5f14-46b4-a4ea-a86e6e8c4acc" providerId="ADAL" clId="{74097406-F23F-4933-BA70-ABAFA82FF68B}" dt="2023-05-08T11:11:56.594" v="203"/>
          <ac:picMkLst>
            <pc:docMk/>
            <pc:sldMk cId="3084335516" sldId="959"/>
            <ac:picMk id="59" creationId="{A2C860D2-662C-A4EA-C94E-70FCFEA2D939}"/>
          </ac:picMkLst>
        </pc:picChg>
        <pc:picChg chg="mod">
          <ac:chgData name="Marta" userId="eac6eb22-5f14-46b4-a4ea-a86e6e8c4acc" providerId="ADAL" clId="{74097406-F23F-4933-BA70-ABAFA82FF68B}" dt="2023-05-08T11:11:56.594" v="203"/>
          <ac:picMkLst>
            <pc:docMk/>
            <pc:sldMk cId="3084335516" sldId="959"/>
            <ac:picMk id="60" creationId="{2B6F1B51-C125-6EAD-C438-A650A1FFF19A}"/>
          </ac:picMkLst>
        </pc:picChg>
        <pc:picChg chg="mod">
          <ac:chgData name="Marta" userId="eac6eb22-5f14-46b4-a4ea-a86e6e8c4acc" providerId="ADAL" clId="{74097406-F23F-4933-BA70-ABAFA82FF68B}" dt="2023-05-08T11:11:56.594" v="203"/>
          <ac:picMkLst>
            <pc:docMk/>
            <pc:sldMk cId="3084335516" sldId="959"/>
            <ac:picMk id="61" creationId="{E5B0D654-68AA-B002-2986-554BF3B613BC}"/>
          </ac:picMkLst>
        </pc:picChg>
        <pc:picChg chg="mod">
          <ac:chgData name="Marta" userId="eac6eb22-5f14-46b4-a4ea-a86e6e8c4acc" providerId="ADAL" clId="{74097406-F23F-4933-BA70-ABAFA82FF68B}" dt="2023-05-08T11:11:56.594" v="203"/>
          <ac:picMkLst>
            <pc:docMk/>
            <pc:sldMk cId="3084335516" sldId="959"/>
            <ac:picMk id="62" creationId="{1DCD3247-6073-7461-B3EB-EE2959B52257}"/>
          </ac:picMkLst>
        </pc:picChg>
        <pc:picChg chg="mod">
          <ac:chgData name="Marta" userId="eac6eb22-5f14-46b4-a4ea-a86e6e8c4acc" providerId="ADAL" clId="{74097406-F23F-4933-BA70-ABAFA82FF68B}" dt="2023-05-08T11:11:56.594" v="203"/>
          <ac:picMkLst>
            <pc:docMk/>
            <pc:sldMk cId="3084335516" sldId="959"/>
            <ac:picMk id="63" creationId="{C3ACB2D5-8211-34AC-2DFE-6C63571AA04D}"/>
          </ac:picMkLst>
        </pc:picChg>
        <pc:picChg chg="mod">
          <ac:chgData name="Marta" userId="eac6eb22-5f14-46b4-a4ea-a86e6e8c4acc" providerId="ADAL" clId="{74097406-F23F-4933-BA70-ABAFA82FF68B}" dt="2023-05-08T11:11:56.594" v="203"/>
          <ac:picMkLst>
            <pc:docMk/>
            <pc:sldMk cId="3084335516" sldId="959"/>
            <ac:picMk id="320" creationId="{7FDB0F77-2875-F782-1BBE-AA08F34E3A14}"/>
          </ac:picMkLst>
        </pc:picChg>
        <pc:picChg chg="mod">
          <ac:chgData name="Marta" userId="eac6eb22-5f14-46b4-a4ea-a86e6e8c4acc" providerId="ADAL" clId="{74097406-F23F-4933-BA70-ABAFA82FF68B}" dt="2023-05-08T11:11:56.594" v="203"/>
          <ac:picMkLst>
            <pc:docMk/>
            <pc:sldMk cId="3084335516" sldId="959"/>
            <ac:picMk id="321" creationId="{A4956718-7D76-89D7-B410-82EFCE9CE51B}"/>
          </ac:picMkLst>
        </pc:picChg>
        <pc:picChg chg="mod">
          <ac:chgData name="Marta" userId="eac6eb22-5f14-46b4-a4ea-a86e6e8c4acc" providerId="ADAL" clId="{74097406-F23F-4933-BA70-ABAFA82FF68B}" dt="2023-05-08T11:11:56.594" v="203"/>
          <ac:picMkLst>
            <pc:docMk/>
            <pc:sldMk cId="3084335516" sldId="959"/>
            <ac:picMk id="322" creationId="{90BA4F0C-1252-7A11-5018-D7691B4F91BC}"/>
          </ac:picMkLst>
        </pc:picChg>
        <pc:picChg chg="mod">
          <ac:chgData name="Marta" userId="eac6eb22-5f14-46b4-a4ea-a86e6e8c4acc" providerId="ADAL" clId="{74097406-F23F-4933-BA70-ABAFA82FF68B}" dt="2023-05-08T11:11:56.594" v="203"/>
          <ac:picMkLst>
            <pc:docMk/>
            <pc:sldMk cId="3084335516" sldId="959"/>
            <ac:picMk id="323" creationId="{CACB6202-0C8D-8A87-66CD-359252188255}"/>
          </ac:picMkLst>
        </pc:picChg>
        <pc:picChg chg="mod">
          <ac:chgData name="Marta" userId="eac6eb22-5f14-46b4-a4ea-a86e6e8c4acc" providerId="ADAL" clId="{74097406-F23F-4933-BA70-ABAFA82FF68B}" dt="2023-05-08T11:11:56.594" v="203"/>
          <ac:picMkLst>
            <pc:docMk/>
            <pc:sldMk cId="3084335516" sldId="959"/>
            <ac:picMk id="324" creationId="{1FF3A135-6943-19CB-B634-32C5A6345C06}"/>
          </ac:picMkLst>
        </pc:picChg>
        <pc:picChg chg="mod">
          <ac:chgData name="Marta" userId="eac6eb22-5f14-46b4-a4ea-a86e6e8c4acc" providerId="ADAL" clId="{74097406-F23F-4933-BA70-ABAFA82FF68B}" dt="2023-05-08T11:11:56.594" v="203"/>
          <ac:picMkLst>
            <pc:docMk/>
            <pc:sldMk cId="3084335516" sldId="959"/>
            <ac:picMk id="325" creationId="{FDA17D13-0A37-79A2-D675-E4B102763401}"/>
          </ac:picMkLst>
        </pc:picChg>
        <pc:picChg chg="mod">
          <ac:chgData name="Marta" userId="eac6eb22-5f14-46b4-a4ea-a86e6e8c4acc" providerId="ADAL" clId="{74097406-F23F-4933-BA70-ABAFA82FF68B}" dt="2023-05-08T11:11:56.594" v="203"/>
          <ac:picMkLst>
            <pc:docMk/>
            <pc:sldMk cId="3084335516" sldId="959"/>
            <ac:picMk id="328" creationId="{43D44F54-C958-8845-2B04-523A56A0379E}"/>
          </ac:picMkLst>
        </pc:picChg>
        <pc:picChg chg="mod">
          <ac:chgData name="Marta" userId="eac6eb22-5f14-46b4-a4ea-a86e6e8c4acc" providerId="ADAL" clId="{74097406-F23F-4933-BA70-ABAFA82FF68B}" dt="2023-05-08T11:11:56.594" v="203"/>
          <ac:picMkLst>
            <pc:docMk/>
            <pc:sldMk cId="3084335516" sldId="959"/>
            <ac:picMk id="329" creationId="{D737E1BB-2B4C-CC9E-6C15-9DEDB24112BC}"/>
          </ac:picMkLst>
        </pc:picChg>
        <pc:picChg chg="mod">
          <ac:chgData name="Marta" userId="eac6eb22-5f14-46b4-a4ea-a86e6e8c4acc" providerId="ADAL" clId="{74097406-F23F-4933-BA70-ABAFA82FF68B}" dt="2023-05-08T11:11:56.594" v="203"/>
          <ac:picMkLst>
            <pc:docMk/>
            <pc:sldMk cId="3084335516" sldId="959"/>
            <ac:picMk id="330" creationId="{AF3EB9B7-4BFD-EE21-5CB1-58A10CCFBEF5}"/>
          </ac:picMkLst>
        </pc:picChg>
        <pc:picChg chg="mod">
          <ac:chgData name="Marta" userId="eac6eb22-5f14-46b4-a4ea-a86e6e8c4acc" providerId="ADAL" clId="{74097406-F23F-4933-BA70-ABAFA82FF68B}" dt="2023-05-08T11:11:56.594" v="203"/>
          <ac:picMkLst>
            <pc:docMk/>
            <pc:sldMk cId="3084335516" sldId="959"/>
            <ac:picMk id="331" creationId="{B2D6974C-F140-5333-EB43-80C753FB8A30}"/>
          </ac:picMkLst>
        </pc:picChg>
        <pc:picChg chg="mod">
          <ac:chgData name="Marta" userId="eac6eb22-5f14-46b4-a4ea-a86e6e8c4acc" providerId="ADAL" clId="{74097406-F23F-4933-BA70-ABAFA82FF68B}" dt="2023-05-08T11:11:56.594" v="203"/>
          <ac:picMkLst>
            <pc:docMk/>
            <pc:sldMk cId="3084335516" sldId="959"/>
            <ac:picMk id="332" creationId="{5783B7B7-8E92-CE8D-48D9-5E7EE948A93E}"/>
          </ac:picMkLst>
        </pc:picChg>
        <pc:picChg chg="mod">
          <ac:chgData name="Marta" userId="eac6eb22-5f14-46b4-a4ea-a86e6e8c4acc" providerId="ADAL" clId="{74097406-F23F-4933-BA70-ABAFA82FF68B}" dt="2023-05-08T11:11:56.594" v="203"/>
          <ac:picMkLst>
            <pc:docMk/>
            <pc:sldMk cId="3084335516" sldId="959"/>
            <ac:picMk id="335" creationId="{DD93E24E-9C7F-29B9-135B-79B3DDC2A3E6}"/>
          </ac:picMkLst>
        </pc:picChg>
        <pc:picChg chg="mod">
          <ac:chgData name="Marta" userId="eac6eb22-5f14-46b4-a4ea-a86e6e8c4acc" providerId="ADAL" clId="{74097406-F23F-4933-BA70-ABAFA82FF68B}" dt="2023-05-08T11:11:56.594" v="203"/>
          <ac:picMkLst>
            <pc:docMk/>
            <pc:sldMk cId="3084335516" sldId="959"/>
            <ac:picMk id="336" creationId="{3CD9B19E-D9E0-C61C-E47A-3F4AE8991BC0}"/>
          </ac:picMkLst>
        </pc:picChg>
        <pc:picChg chg="mod">
          <ac:chgData name="Marta" userId="eac6eb22-5f14-46b4-a4ea-a86e6e8c4acc" providerId="ADAL" clId="{74097406-F23F-4933-BA70-ABAFA82FF68B}" dt="2023-05-08T11:11:56.594" v="203"/>
          <ac:picMkLst>
            <pc:docMk/>
            <pc:sldMk cId="3084335516" sldId="959"/>
            <ac:picMk id="337" creationId="{941FCE71-29B3-8075-70A5-79393543393C}"/>
          </ac:picMkLst>
        </pc:picChg>
        <pc:picChg chg="mod">
          <ac:chgData name="Marta" userId="eac6eb22-5f14-46b4-a4ea-a86e6e8c4acc" providerId="ADAL" clId="{74097406-F23F-4933-BA70-ABAFA82FF68B}" dt="2023-05-08T11:11:56.594" v="203"/>
          <ac:picMkLst>
            <pc:docMk/>
            <pc:sldMk cId="3084335516" sldId="959"/>
            <ac:picMk id="338" creationId="{AFCA88A4-073B-09D5-3F40-FF55FDE504F0}"/>
          </ac:picMkLst>
        </pc:picChg>
        <pc:picChg chg="mod">
          <ac:chgData name="Marta" userId="eac6eb22-5f14-46b4-a4ea-a86e6e8c4acc" providerId="ADAL" clId="{74097406-F23F-4933-BA70-ABAFA82FF68B}" dt="2023-05-08T11:11:56.594" v="203"/>
          <ac:picMkLst>
            <pc:docMk/>
            <pc:sldMk cId="3084335516" sldId="959"/>
            <ac:picMk id="339" creationId="{CA31C29E-B4CC-4F45-D7A4-F2EC72987782}"/>
          </ac:picMkLst>
        </pc:picChg>
        <pc:picChg chg="mod">
          <ac:chgData name="Marta" userId="eac6eb22-5f14-46b4-a4ea-a86e6e8c4acc" providerId="ADAL" clId="{74097406-F23F-4933-BA70-ABAFA82FF68B}" dt="2023-05-08T11:11:56.594" v="203"/>
          <ac:picMkLst>
            <pc:docMk/>
            <pc:sldMk cId="3084335516" sldId="959"/>
            <ac:picMk id="340" creationId="{FBB2B329-90FD-E28C-E1BD-8253A6CB9DD1}"/>
          </ac:picMkLst>
        </pc:picChg>
        <pc:picChg chg="mod">
          <ac:chgData name="Marta" userId="eac6eb22-5f14-46b4-a4ea-a86e6e8c4acc" providerId="ADAL" clId="{74097406-F23F-4933-BA70-ABAFA82FF68B}" dt="2023-05-08T11:11:56.594" v="203"/>
          <ac:picMkLst>
            <pc:docMk/>
            <pc:sldMk cId="3084335516" sldId="959"/>
            <ac:picMk id="341" creationId="{0677D62C-0052-892E-FB8D-29DC790A0B3B}"/>
          </ac:picMkLst>
        </pc:picChg>
        <pc:picChg chg="mod">
          <ac:chgData name="Marta" userId="eac6eb22-5f14-46b4-a4ea-a86e6e8c4acc" providerId="ADAL" clId="{74097406-F23F-4933-BA70-ABAFA82FF68B}" dt="2023-05-08T11:11:56.594" v="203"/>
          <ac:picMkLst>
            <pc:docMk/>
            <pc:sldMk cId="3084335516" sldId="959"/>
            <ac:picMk id="342" creationId="{B907B41A-BA4E-5197-9DF9-79E11F04AC71}"/>
          </ac:picMkLst>
        </pc:picChg>
        <pc:picChg chg="mod">
          <ac:chgData name="Marta" userId="eac6eb22-5f14-46b4-a4ea-a86e6e8c4acc" providerId="ADAL" clId="{74097406-F23F-4933-BA70-ABAFA82FF68B}" dt="2023-05-08T11:11:56.594" v="203"/>
          <ac:picMkLst>
            <pc:docMk/>
            <pc:sldMk cId="3084335516" sldId="959"/>
            <ac:picMk id="343" creationId="{E8247262-C9D9-609D-32F8-19AA99A56325}"/>
          </ac:picMkLst>
        </pc:picChg>
        <pc:picChg chg="mod">
          <ac:chgData name="Marta" userId="eac6eb22-5f14-46b4-a4ea-a86e6e8c4acc" providerId="ADAL" clId="{74097406-F23F-4933-BA70-ABAFA82FF68B}" dt="2023-05-08T11:11:56.594" v="203"/>
          <ac:picMkLst>
            <pc:docMk/>
            <pc:sldMk cId="3084335516" sldId="959"/>
            <ac:picMk id="344" creationId="{015FA99C-13B9-6B4A-730E-51805E335264}"/>
          </ac:picMkLst>
        </pc:picChg>
        <pc:picChg chg="mod">
          <ac:chgData name="Marta" userId="eac6eb22-5f14-46b4-a4ea-a86e6e8c4acc" providerId="ADAL" clId="{74097406-F23F-4933-BA70-ABAFA82FF68B}" dt="2023-05-08T11:11:56.594" v="203"/>
          <ac:picMkLst>
            <pc:docMk/>
            <pc:sldMk cId="3084335516" sldId="959"/>
            <ac:picMk id="345" creationId="{51E5F745-7563-AEE6-50D8-A927C7BB6BFA}"/>
          </ac:picMkLst>
        </pc:picChg>
        <pc:picChg chg="mod">
          <ac:chgData name="Marta" userId="eac6eb22-5f14-46b4-a4ea-a86e6e8c4acc" providerId="ADAL" clId="{74097406-F23F-4933-BA70-ABAFA82FF68B}" dt="2023-05-08T11:11:56.594" v="203"/>
          <ac:picMkLst>
            <pc:docMk/>
            <pc:sldMk cId="3084335516" sldId="959"/>
            <ac:picMk id="371" creationId="{D2167881-0B5C-849F-19AE-47D1176283A7}"/>
          </ac:picMkLst>
        </pc:picChg>
        <pc:picChg chg="mod">
          <ac:chgData name="Marta" userId="eac6eb22-5f14-46b4-a4ea-a86e6e8c4acc" providerId="ADAL" clId="{74097406-F23F-4933-BA70-ABAFA82FF68B}" dt="2023-05-08T11:11:56.594" v="203"/>
          <ac:picMkLst>
            <pc:docMk/>
            <pc:sldMk cId="3084335516" sldId="959"/>
            <ac:picMk id="375" creationId="{1EDF5253-45BB-D29E-E2A2-2DA8586D397C}"/>
          </ac:picMkLst>
        </pc:picChg>
        <pc:picChg chg="mod">
          <ac:chgData name="Marta" userId="eac6eb22-5f14-46b4-a4ea-a86e6e8c4acc" providerId="ADAL" clId="{74097406-F23F-4933-BA70-ABAFA82FF68B}" dt="2023-05-08T11:11:56.594" v="203"/>
          <ac:picMkLst>
            <pc:docMk/>
            <pc:sldMk cId="3084335516" sldId="959"/>
            <ac:picMk id="382" creationId="{F0B35971-F67E-33C1-DD1E-BE63D51FBDFC}"/>
          </ac:picMkLst>
        </pc:picChg>
        <pc:picChg chg="mod">
          <ac:chgData name="Marta" userId="eac6eb22-5f14-46b4-a4ea-a86e6e8c4acc" providerId="ADAL" clId="{74097406-F23F-4933-BA70-ABAFA82FF68B}" dt="2023-05-08T11:11:56.594" v="203"/>
          <ac:picMkLst>
            <pc:docMk/>
            <pc:sldMk cId="3084335516" sldId="959"/>
            <ac:picMk id="386" creationId="{F1233895-6FDE-AF6B-8CD8-4C121286EBAE}"/>
          </ac:picMkLst>
        </pc:picChg>
        <pc:picChg chg="mod">
          <ac:chgData name="Marta" userId="eac6eb22-5f14-46b4-a4ea-a86e6e8c4acc" providerId="ADAL" clId="{74097406-F23F-4933-BA70-ABAFA82FF68B}" dt="2023-05-08T11:11:56.594" v="203"/>
          <ac:picMkLst>
            <pc:docMk/>
            <pc:sldMk cId="3084335516" sldId="959"/>
            <ac:picMk id="427" creationId="{82BCB824-7B14-5E17-7684-0612F03E0286}"/>
          </ac:picMkLst>
        </pc:picChg>
        <pc:picChg chg="mod">
          <ac:chgData name="Marta" userId="eac6eb22-5f14-46b4-a4ea-a86e6e8c4acc" providerId="ADAL" clId="{74097406-F23F-4933-BA70-ABAFA82FF68B}" dt="2023-05-08T11:11:56.594" v="203"/>
          <ac:picMkLst>
            <pc:docMk/>
            <pc:sldMk cId="3084335516" sldId="959"/>
            <ac:picMk id="428" creationId="{E739CB59-4921-97F9-2381-96FB8CD0F52A}"/>
          </ac:picMkLst>
        </pc:picChg>
        <pc:picChg chg="mod">
          <ac:chgData name="Marta" userId="eac6eb22-5f14-46b4-a4ea-a86e6e8c4acc" providerId="ADAL" clId="{74097406-F23F-4933-BA70-ABAFA82FF68B}" dt="2023-05-08T11:11:56.594" v="203"/>
          <ac:picMkLst>
            <pc:docMk/>
            <pc:sldMk cId="3084335516" sldId="959"/>
            <ac:picMk id="429" creationId="{C1F00A64-6089-690F-823C-BD2741086C56}"/>
          </ac:picMkLst>
        </pc:picChg>
        <pc:picChg chg="mod">
          <ac:chgData name="Marta" userId="eac6eb22-5f14-46b4-a4ea-a86e6e8c4acc" providerId="ADAL" clId="{74097406-F23F-4933-BA70-ABAFA82FF68B}" dt="2023-05-08T11:11:56.594" v="203"/>
          <ac:picMkLst>
            <pc:docMk/>
            <pc:sldMk cId="3084335516" sldId="959"/>
            <ac:picMk id="430" creationId="{81F30955-792B-36F4-ABBC-21A2840FB384}"/>
          </ac:picMkLst>
        </pc:picChg>
        <pc:picChg chg="mod">
          <ac:chgData name="Marta" userId="eac6eb22-5f14-46b4-a4ea-a86e6e8c4acc" providerId="ADAL" clId="{74097406-F23F-4933-BA70-ABAFA82FF68B}" dt="2023-05-08T11:11:56.594" v="203"/>
          <ac:picMkLst>
            <pc:docMk/>
            <pc:sldMk cId="3084335516" sldId="959"/>
            <ac:picMk id="431" creationId="{16E2E28B-02D4-04BA-549A-EDEB462C9F72}"/>
          </ac:picMkLst>
        </pc:picChg>
        <pc:picChg chg="mod">
          <ac:chgData name="Marta" userId="eac6eb22-5f14-46b4-a4ea-a86e6e8c4acc" providerId="ADAL" clId="{74097406-F23F-4933-BA70-ABAFA82FF68B}" dt="2023-05-08T11:11:56.594" v="203"/>
          <ac:picMkLst>
            <pc:docMk/>
            <pc:sldMk cId="3084335516" sldId="959"/>
            <ac:picMk id="432" creationId="{2C4468A8-5EE9-DDF3-56A3-4C5B33E7F89B}"/>
          </ac:picMkLst>
        </pc:picChg>
        <pc:picChg chg="mod">
          <ac:chgData name="Marta" userId="eac6eb22-5f14-46b4-a4ea-a86e6e8c4acc" providerId="ADAL" clId="{74097406-F23F-4933-BA70-ABAFA82FF68B}" dt="2023-05-08T11:11:56.594" v="203"/>
          <ac:picMkLst>
            <pc:docMk/>
            <pc:sldMk cId="3084335516" sldId="959"/>
            <ac:picMk id="433" creationId="{35FD79DC-5113-4F80-65A0-8003AD302B74}"/>
          </ac:picMkLst>
        </pc:picChg>
        <pc:picChg chg="mod">
          <ac:chgData name="Marta" userId="eac6eb22-5f14-46b4-a4ea-a86e6e8c4acc" providerId="ADAL" clId="{74097406-F23F-4933-BA70-ABAFA82FF68B}" dt="2023-05-08T11:11:56.594" v="203"/>
          <ac:picMkLst>
            <pc:docMk/>
            <pc:sldMk cId="3084335516" sldId="959"/>
            <ac:picMk id="434" creationId="{908BA2AD-0FC5-5126-761E-CCD0A116F33B}"/>
          </ac:picMkLst>
        </pc:picChg>
        <pc:picChg chg="mod">
          <ac:chgData name="Marta" userId="eac6eb22-5f14-46b4-a4ea-a86e6e8c4acc" providerId="ADAL" clId="{74097406-F23F-4933-BA70-ABAFA82FF68B}" dt="2023-05-08T11:11:56.594" v="203"/>
          <ac:picMkLst>
            <pc:docMk/>
            <pc:sldMk cId="3084335516" sldId="959"/>
            <ac:picMk id="435" creationId="{FBC9CCE2-2F0E-28E3-4BE5-3E2DA470F7F3}"/>
          </ac:picMkLst>
        </pc:picChg>
        <pc:picChg chg="mod">
          <ac:chgData name="Marta" userId="eac6eb22-5f14-46b4-a4ea-a86e6e8c4acc" providerId="ADAL" clId="{74097406-F23F-4933-BA70-ABAFA82FF68B}" dt="2023-05-08T11:11:56.594" v="203"/>
          <ac:picMkLst>
            <pc:docMk/>
            <pc:sldMk cId="3084335516" sldId="959"/>
            <ac:picMk id="436" creationId="{E1713FFF-A98B-8939-708D-7E1822C5B035}"/>
          </ac:picMkLst>
        </pc:picChg>
        <pc:picChg chg="mod">
          <ac:chgData name="Marta" userId="eac6eb22-5f14-46b4-a4ea-a86e6e8c4acc" providerId="ADAL" clId="{74097406-F23F-4933-BA70-ABAFA82FF68B}" dt="2023-05-08T11:11:56.594" v="203"/>
          <ac:picMkLst>
            <pc:docMk/>
            <pc:sldMk cId="3084335516" sldId="959"/>
            <ac:picMk id="443" creationId="{9DA0C252-923B-CF9B-35A7-EF6D12A297B0}"/>
          </ac:picMkLst>
        </pc:picChg>
        <pc:picChg chg="mod">
          <ac:chgData name="Marta" userId="eac6eb22-5f14-46b4-a4ea-a86e6e8c4acc" providerId="ADAL" clId="{74097406-F23F-4933-BA70-ABAFA82FF68B}" dt="2023-05-08T11:11:56.594" v="203"/>
          <ac:picMkLst>
            <pc:docMk/>
            <pc:sldMk cId="3084335516" sldId="959"/>
            <ac:picMk id="445" creationId="{1416682C-B67F-2E89-B080-1EA2A1885832}"/>
          </ac:picMkLst>
        </pc:picChg>
        <pc:picChg chg="mod">
          <ac:chgData name="Marta" userId="eac6eb22-5f14-46b4-a4ea-a86e6e8c4acc" providerId="ADAL" clId="{74097406-F23F-4933-BA70-ABAFA82FF68B}" dt="2023-05-08T11:11:56.594" v="203"/>
          <ac:picMkLst>
            <pc:docMk/>
            <pc:sldMk cId="3084335516" sldId="959"/>
            <ac:picMk id="446" creationId="{64DB1AB7-BD23-C993-6896-B409DACE3ABD}"/>
          </ac:picMkLst>
        </pc:picChg>
        <pc:picChg chg="mod">
          <ac:chgData name="Marta" userId="eac6eb22-5f14-46b4-a4ea-a86e6e8c4acc" providerId="ADAL" clId="{74097406-F23F-4933-BA70-ABAFA82FF68B}" dt="2023-05-08T11:11:56.594" v="203"/>
          <ac:picMkLst>
            <pc:docMk/>
            <pc:sldMk cId="3084335516" sldId="959"/>
            <ac:picMk id="448" creationId="{F97629F9-88DF-0BE8-21B3-718F2E36CD65}"/>
          </ac:picMkLst>
        </pc:picChg>
        <pc:picChg chg="mod">
          <ac:chgData name="Marta" userId="eac6eb22-5f14-46b4-a4ea-a86e6e8c4acc" providerId="ADAL" clId="{74097406-F23F-4933-BA70-ABAFA82FF68B}" dt="2023-05-08T11:11:56.594" v="203"/>
          <ac:picMkLst>
            <pc:docMk/>
            <pc:sldMk cId="3084335516" sldId="959"/>
            <ac:picMk id="449" creationId="{9682863B-DE88-D48E-1D5E-948DFFE54207}"/>
          </ac:picMkLst>
        </pc:picChg>
        <pc:picChg chg="mod">
          <ac:chgData name="Marta" userId="eac6eb22-5f14-46b4-a4ea-a86e6e8c4acc" providerId="ADAL" clId="{74097406-F23F-4933-BA70-ABAFA82FF68B}" dt="2023-05-08T11:11:56.594" v="203"/>
          <ac:picMkLst>
            <pc:docMk/>
            <pc:sldMk cId="3084335516" sldId="959"/>
            <ac:picMk id="451" creationId="{319D082C-0024-7430-9ED0-FF7810A70173}"/>
          </ac:picMkLst>
        </pc:picChg>
        <pc:cxnChg chg="mod">
          <ac:chgData name="Marta" userId="eac6eb22-5f14-46b4-a4ea-a86e6e8c4acc" providerId="ADAL" clId="{74097406-F23F-4933-BA70-ABAFA82FF68B}" dt="2023-05-08T11:11:56.594" v="203"/>
          <ac:cxnSpMkLst>
            <pc:docMk/>
            <pc:sldMk cId="3084335516" sldId="959"/>
            <ac:cxnSpMk id="14" creationId="{9418BD6A-BD62-0354-667E-A06AFF39D737}"/>
          </ac:cxnSpMkLst>
        </pc:cxnChg>
        <pc:cxnChg chg="mod">
          <ac:chgData name="Marta" userId="eac6eb22-5f14-46b4-a4ea-a86e6e8c4acc" providerId="ADAL" clId="{74097406-F23F-4933-BA70-ABAFA82FF68B}" dt="2023-05-08T11:11:56.594" v="203"/>
          <ac:cxnSpMkLst>
            <pc:docMk/>
            <pc:sldMk cId="3084335516" sldId="959"/>
            <ac:cxnSpMk id="35" creationId="{CEB2F293-510D-DCF2-7666-FD6D93573864}"/>
          </ac:cxnSpMkLst>
        </pc:cxnChg>
        <pc:cxnChg chg="mod">
          <ac:chgData name="Marta" userId="eac6eb22-5f14-46b4-a4ea-a86e6e8c4acc" providerId="ADAL" clId="{74097406-F23F-4933-BA70-ABAFA82FF68B}" dt="2023-05-08T11:11:56.594" v="203"/>
          <ac:cxnSpMkLst>
            <pc:docMk/>
            <pc:sldMk cId="3084335516" sldId="959"/>
            <ac:cxnSpMk id="36" creationId="{CF0B16A5-120B-EAB5-B19B-286D2D986343}"/>
          </ac:cxnSpMkLst>
        </pc:cxnChg>
        <pc:cxnChg chg="mod">
          <ac:chgData name="Marta" userId="eac6eb22-5f14-46b4-a4ea-a86e6e8c4acc" providerId="ADAL" clId="{74097406-F23F-4933-BA70-ABAFA82FF68B}" dt="2023-05-08T11:11:56.594" v="203"/>
          <ac:cxnSpMkLst>
            <pc:docMk/>
            <pc:sldMk cId="3084335516" sldId="959"/>
            <ac:cxnSpMk id="37" creationId="{960C7806-6273-606C-307D-D468EC2ADECC}"/>
          </ac:cxnSpMkLst>
        </pc:cxnChg>
        <pc:cxnChg chg="mod">
          <ac:chgData name="Marta" userId="eac6eb22-5f14-46b4-a4ea-a86e6e8c4acc" providerId="ADAL" clId="{74097406-F23F-4933-BA70-ABAFA82FF68B}" dt="2023-05-08T11:11:56.594" v="203"/>
          <ac:cxnSpMkLst>
            <pc:docMk/>
            <pc:sldMk cId="3084335516" sldId="959"/>
            <ac:cxnSpMk id="38" creationId="{8C2D426D-4A88-1E0C-E7ED-ED0FC56134FC}"/>
          </ac:cxnSpMkLst>
        </pc:cxnChg>
        <pc:cxnChg chg="mod">
          <ac:chgData name="Marta" userId="eac6eb22-5f14-46b4-a4ea-a86e6e8c4acc" providerId="ADAL" clId="{74097406-F23F-4933-BA70-ABAFA82FF68B}" dt="2023-05-08T11:11:56.594" v="203"/>
          <ac:cxnSpMkLst>
            <pc:docMk/>
            <pc:sldMk cId="3084335516" sldId="959"/>
            <ac:cxnSpMk id="450" creationId="{351A4142-C210-9E7B-56F1-3C6FE7206980}"/>
          </ac:cxnSpMkLst>
        </pc:cxnChg>
      </pc:sldChg>
      <pc:sldMasterChg chg="modSp add addSldLayout modSldLayout">
        <pc:chgData name="Marta" userId="eac6eb22-5f14-46b4-a4ea-a86e6e8c4acc" providerId="ADAL" clId="{74097406-F23F-4933-BA70-ABAFA82FF68B}" dt="2023-05-08T11:11:54.374" v="173"/>
        <pc:sldMasterMkLst>
          <pc:docMk/>
          <pc:sldMasterMk cId="760433660" sldId="2147483860"/>
        </pc:sldMasterMkLst>
        <pc:spChg chg="mod">
          <ac:chgData name="Marta" userId="eac6eb22-5f14-46b4-a4ea-a86e6e8c4acc" providerId="ADAL" clId="{74097406-F23F-4933-BA70-ABAFA82FF68B}" dt="2023-05-08T11:11:54.374" v="173"/>
          <ac:spMkLst>
            <pc:docMk/>
            <pc:sldMasterMk cId="760433660" sldId="2147483860"/>
            <ac:spMk id="3" creationId="{00000000-0000-0000-0000-000000000000}"/>
          </ac:spMkLst>
        </pc:spChg>
        <pc:spChg chg="mod">
          <ac:chgData name="Marta" userId="eac6eb22-5f14-46b4-a4ea-a86e6e8c4acc" providerId="ADAL" clId="{74097406-F23F-4933-BA70-ABAFA82FF68B}" dt="2023-05-08T11:11:54.374" v="173"/>
          <ac:spMkLst>
            <pc:docMk/>
            <pc:sldMasterMk cId="760433660" sldId="2147483860"/>
            <ac:spMk id="11" creationId="{00000000-0000-0000-0000-000000000000}"/>
          </ac:spMkLst>
        </pc:spChg>
        <pc:spChg chg="mod">
          <ac:chgData name="Marta" userId="eac6eb22-5f14-46b4-a4ea-a86e6e8c4acc" providerId="ADAL" clId="{74097406-F23F-4933-BA70-ABAFA82FF68B}" dt="2023-05-08T11:11:54.374" v="173"/>
          <ac:spMkLst>
            <pc:docMk/>
            <pc:sldMasterMk cId="760433660" sldId="2147483860"/>
            <ac:spMk id="19" creationId="{00000000-0000-0000-0000-000000000000}"/>
          </ac:spMkLst>
        </pc:spChg>
        <pc:spChg chg="mod">
          <ac:chgData name="Marta" userId="eac6eb22-5f14-46b4-a4ea-a86e6e8c4acc" providerId="ADAL" clId="{74097406-F23F-4933-BA70-ABAFA82FF68B}" dt="2023-05-08T11:11:54.374" v="173"/>
          <ac:spMkLst>
            <pc:docMk/>
            <pc:sldMasterMk cId="760433660" sldId="2147483860"/>
            <ac:spMk id="22" creationId="{00000000-0000-0000-0000-000000000000}"/>
          </ac:spMkLst>
        </pc:spChg>
        <pc:grpChg chg="mod">
          <ac:chgData name="Marta" userId="eac6eb22-5f14-46b4-a4ea-a86e6e8c4acc" providerId="ADAL" clId="{74097406-F23F-4933-BA70-ABAFA82FF68B}" dt="2023-05-08T11:11:54.374" v="173"/>
          <ac:grpSpMkLst>
            <pc:docMk/>
            <pc:sldMasterMk cId="760433660" sldId="2147483860"/>
            <ac:grpSpMk id="1" creationId="{00000000-0000-0000-0000-000000000000}"/>
          </ac:grpSpMkLst>
        </pc:grpChg>
        <pc:grpChg chg="mod">
          <ac:chgData name="Marta" userId="eac6eb22-5f14-46b4-a4ea-a86e6e8c4acc" providerId="ADAL" clId="{74097406-F23F-4933-BA70-ABAFA82FF68B}" dt="2023-05-08T11:11:54.374" v="173"/>
          <ac:grpSpMkLst>
            <pc:docMk/>
            <pc:sldMasterMk cId="760433660" sldId="2147483860"/>
            <ac:grpSpMk id="13" creationId="{00000000-0000-0000-0000-000000000000}"/>
          </ac:grpSpMkLst>
        </pc:grpChg>
        <pc:graphicFrameChg chg="mod">
          <ac:chgData name="Marta" userId="eac6eb22-5f14-46b4-a4ea-a86e6e8c4acc" providerId="ADAL" clId="{74097406-F23F-4933-BA70-ABAFA82FF68B}" dt="2023-05-08T11:11:54.374" v="173"/>
          <ac:graphicFrameMkLst>
            <pc:docMk/>
            <pc:sldMasterMk cId="760433660" sldId="2147483860"/>
            <ac:graphicFrameMk id="12" creationId="{00000000-0000-0000-0000-000000000000}"/>
          </ac:graphicFrameMkLst>
        </pc:graphicFrameChg>
        <pc:picChg chg="mod">
          <ac:chgData name="Marta" userId="eac6eb22-5f14-46b4-a4ea-a86e6e8c4acc" providerId="ADAL" clId="{74097406-F23F-4933-BA70-ABAFA82FF68B}" dt="2023-05-08T11:11:54.374" v="173"/>
          <ac:picMkLst>
            <pc:docMk/>
            <pc:sldMasterMk cId="760433660" sldId="2147483860"/>
            <ac:picMk id="9" creationId="{00000000-0000-0000-0000-000000000000}"/>
          </ac:picMkLst>
        </pc:picChg>
        <pc:picChg chg="mod">
          <ac:chgData name="Marta" userId="eac6eb22-5f14-46b4-a4ea-a86e6e8c4acc" providerId="ADAL" clId="{74097406-F23F-4933-BA70-ABAFA82FF68B}" dt="2023-05-08T11:11:54.374" v="173"/>
          <ac:picMkLst>
            <pc:docMk/>
            <pc:sldMasterMk cId="760433660" sldId="2147483860"/>
            <ac:picMk id="10" creationId="{00000000-0000-0000-0000-000000000000}"/>
          </ac:picMkLst>
        </pc:picChg>
        <pc:cxnChg chg="mod">
          <ac:chgData name="Marta" userId="eac6eb22-5f14-46b4-a4ea-a86e6e8c4acc" providerId="ADAL" clId="{74097406-F23F-4933-BA70-ABAFA82FF68B}" dt="2023-05-08T11:11:54.374" v="173"/>
          <ac:cxnSpMkLst>
            <pc:docMk/>
            <pc:sldMasterMk cId="760433660" sldId="2147483860"/>
            <ac:cxnSpMk id="14" creationId="{00000000-0000-0000-0000-000000000000}"/>
          </ac:cxnSpMkLst>
        </pc:cxnChg>
        <pc:cxnChg chg="mod">
          <ac:chgData name="Marta" userId="eac6eb22-5f14-46b4-a4ea-a86e6e8c4acc" providerId="ADAL" clId="{74097406-F23F-4933-BA70-ABAFA82FF68B}" dt="2023-05-08T11:11:54.374" v="173"/>
          <ac:cxnSpMkLst>
            <pc:docMk/>
            <pc:sldMasterMk cId="760433660" sldId="2147483860"/>
            <ac:cxnSpMk id="15" creationId="{00000000-0000-0000-0000-000000000000}"/>
          </ac:cxnSpMkLst>
        </pc:cxnChg>
        <pc:cxnChg chg="mod">
          <ac:chgData name="Marta" userId="eac6eb22-5f14-46b4-a4ea-a86e6e8c4acc" providerId="ADAL" clId="{74097406-F23F-4933-BA70-ABAFA82FF68B}" dt="2023-05-08T11:11:54.374" v="173"/>
          <ac:cxnSpMkLst>
            <pc:docMk/>
            <pc:sldMasterMk cId="760433660" sldId="2147483860"/>
            <ac:cxnSpMk id="16" creationId="{00000000-0000-0000-0000-000000000000}"/>
          </ac:cxnSpMkLst>
        </pc:cxnChg>
        <pc:cxnChg chg="mod">
          <ac:chgData name="Marta" userId="eac6eb22-5f14-46b4-a4ea-a86e6e8c4acc" providerId="ADAL" clId="{74097406-F23F-4933-BA70-ABAFA82FF68B}" dt="2023-05-08T11:11:54.374" v="173"/>
          <ac:cxnSpMkLst>
            <pc:docMk/>
            <pc:sldMasterMk cId="760433660" sldId="2147483860"/>
            <ac:cxnSpMk id="17" creationId="{00000000-0000-0000-0000-000000000000}"/>
          </ac:cxnSpMkLst>
        </pc:cxnChg>
        <pc:cxnChg chg="mod">
          <ac:chgData name="Marta" userId="eac6eb22-5f14-46b4-a4ea-a86e6e8c4acc" providerId="ADAL" clId="{74097406-F23F-4933-BA70-ABAFA82FF68B}" dt="2023-05-08T11:11:54.374" v="173"/>
          <ac:cxnSpMkLst>
            <pc:docMk/>
            <pc:sldMasterMk cId="760433660" sldId="2147483860"/>
            <ac:cxnSpMk id="18" creationId="{00000000-0000-0000-0000-000000000000}"/>
          </ac:cxnSpMkLst>
        </pc:cxnChg>
        <pc:sldLayoutChg chg="modSp add">
          <pc:chgData name="Marta" userId="eac6eb22-5f14-46b4-a4ea-a86e6e8c4acc" providerId="ADAL" clId="{74097406-F23F-4933-BA70-ABAFA82FF68B}" dt="2023-05-08T11:11:54.374" v="173"/>
          <pc:sldLayoutMkLst>
            <pc:docMk/>
            <pc:sldMasterMk cId="760433660" sldId="2147483860"/>
            <pc:sldLayoutMk cId="2171797097" sldId="2147483861"/>
          </pc:sldLayoutMkLst>
          <pc:spChg chg="mod">
            <ac:chgData name="Marta" userId="eac6eb22-5f14-46b4-a4ea-a86e6e8c4acc" providerId="ADAL" clId="{74097406-F23F-4933-BA70-ABAFA82FF68B}" dt="2023-05-08T11:11:54.374" v="173"/>
            <ac:spMkLst>
              <pc:docMk/>
              <pc:sldMasterMk cId="760433660" sldId="2147483860"/>
              <pc:sldLayoutMk cId="2171797097" sldId="2147483861"/>
              <ac:spMk id="8" creationId="{00000000-0000-0000-0000-000000000000}"/>
            </ac:spMkLst>
          </pc:spChg>
          <pc:spChg chg="mod">
            <ac:chgData name="Marta" userId="eac6eb22-5f14-46b4-a4ea-a86e6e8c4acc" providerId="ADAL" clId="{74097406-F23F-4933-BA70-ABAFA82FF68B}" dt="2023-05-08T11:11:54.374" v="173"/>
            <ac:spMkLst>
              <pc:docMk/>
              <pc:sldMasterMk cId="760433660" sldId="2147483860"/>
              <pc:sldLayoutMk cId="2171797097" sldId="2147483861"/>
              <ac:spMk id="19" creationId="{00000000-0000-0000-0000-000000000000}"/>
            </ac:spMkLst>
          </pc:spChg>
          <pc:grpChg chg="mod">
            <ac:chgData name="Marta" userId="eac6eb22-5f14-46b4-a4ea-a86e6e8c4acc" providerId="ADAL" clId="{74097406-F23F-4933-BA70-ABAFA82FF68B}" dt="2023-05-08T11:11:54.374" v="173"/>
            <ac:grpSpMkLst>
              <pc:docMk/>
              <pc:sldMasterMk cId="760433660" sldId="2147483860"/>
              <pc:sldLayoutMk cId="2171797097" sldId="2147483861"/>
              <ac:grpSpMk id="1" creationId="{00000000-0000-0000-0000-000000000000}"/>
            </ac:grpSpMkLst>
          </pc:grpChg>
          <pc:grpChg chg="mod">
            <ac:chgData name="Marta" userId="eac6eb22-5f14-46b4-a4ea-a86e6e8c4acc" providerId="ADAL" clId="{74097406-F23F-4933-BA70-ABAFA82FF68B}" dt="2023-05-08T11:11:54.374" v="173"/>
            <ac:grpSpMkLst>
              <pc:docMk/>
              <pc:sldMasterMk cId="760433660" sldId="2147483860"/>
              <pc:sldLayoutMk cId="2171797097" sldId="2147483861"/>
              <ac:grpSpMk id="11" creationId="{00000000-0000-0000-0000-000000000000}"/>
            </ac:grpSpMkLst>
          </pc:grpChg>
          <pc:graphicFrameChg chg="mod">
            <ac:chgData name="Marta" userId="eac6eb22-5f14-46b4-a4ea-a86e6e8c4acc" providerId="ADAL" clId="{74097406-F23F-4933-BA70-ABAFA82FF68B}" dt="2023-05-08T11:11:54.374" v="173"/>
            <ac:graphicFrameMkLst>
              <pc:docMk/>
              <pc:sldMasterMk cId="760433660" sldId="2147483860"/>
              <pc:sldLayoutMk cId="2171797097" sldId="2147483861"/>
              <ac:graphicFrameMk id="17" creationId="{00000000-0000-0000-0000-000000000000}"/>
            </ac:graphicFrameMkLst>
          </pc:graphicFrameChg>
          <pc:cxnChg chg="mod">
            <ac:chgData name="Marta" userId="eac6eb22-5f14-46b4-a4ea-a86e6e8c4acc" providerId="ADAL" clId="{74097406-F23F-4933-BA70-ABAFA82FF68B}" dt="2023-05-08T11:11:54.374" v="173"/>
            <ac:cxnSpMkLst>
              <pc:docMk/>
              <pc:sldMasterMk cId="760433660" sldId="2147483860"/>
              <pc:sldLayoutMk cId="2171797097" sldId="2147483861"/>
              <ac:cxnSpMk id="12" creationId="{00000000-0000-0000-0000-000000000000}"/>
            </ac:cxnSpMkLst>
          </pc:cxnChg>
          <pc:cxnChg chg="mod">
            <ac:chgData name="Marta" userId="eac6eb22-5f14-46b4-a4ea-a86e6e8c4acc" providerId="ADAL" clId="{74097406-F23F-4933-BA70-ABAFA82FF68B}" dt="2023-05-08T11:11:54.374" v="173"/>
            <ac:cxnSpMkLst>
              <pc:docMk/>
              <pc:sldMasterMk cId="760433660" sldId="2147483860"/>
              <pc:sldLayoutMk cId="2171797097" sldId="2147483861"/>
              <ac:cxnSpMk id="13" creationId="{00000000-0000-0000-0000-000000000000}"/>
            </ac:cxnSpMkLst>
          </pc:cxnChg>
          <pc:cxnChg chg="mod">
            <ac:chgData name="Marta" userId="eac6eb22-5f14-46b4-a4ea-a86e6e8c4acc" providerId="ADAL" clId="{74097406-F23F-4933-BA70-ABAFA82FF68B}" dt="2023-05-08T11:11:54.374" v="173"/>
            <ac:cxnSpMkLst>
              <pc:docMk/>
              <pc:sldMasterMk cId="760433660" sldId="2147483860"/>
              <pc:sldLayoutMk cId="2171797097" sldId="2147483861"/>
              <ac:cxnSpMk id="14" creationId="{00000000-0000-0000-0000-000000000000}"/>
            </ac:cxnSpMkLst>
          </pc:cxnChg>
          <pc:cxnChg chg="mod">
            <ac:chgData name="Marta" userId="eac6eb22-5f14-46b4-a4ea-a86e6e8c4acc" providerId="ADAL" clId="{74097406-F23F-4933-BA70-ABAFA82FF68B}" dt="2023-05-08T11:11:54.374" v="173"/>
            <ac:cxnSpMkLst>
              <pc:docMk/>
              <pc:sldMasterMk cId="760433660" sldId="2147483860"/>
              <pc:sldLayoutMk cId="2171797097" sldId="2147483861"/>
              <ac:cxnSpMk id="15" creationId="{00000000-0000-0000-0000-000000000000}"/>
            </ac:cxnSpMkLst>
          </pc:cxnChg>
          <pc:cxnChg chg="mod">
            <ac:chgData name="Marta" userId="eac6eb22-5f14-46b4-a4ea-a86e6e8c4acc" providerId="ADAL" clId="{74097406-F23F-4933-BA70-ABAFA82FF68B}" dt="2023-05-08T11:11:54.374" v="173"/>
            <ac:cxnSpMkLst>
              <pc:docMk/>
              <pc:sldMasterMk cId="760433660" sldId="2147483860"/>
              <pc:sldLayoutMk cId="2171797097" sldId="2147483861"/>
              <ac:cxnSpMk id="16" creationId="{00000000-0000-0000-0000-000000000000}"/>
            </ac:cxnSpMkLst>
          </pc:cxnChg>
        </pc:sldLayoutChg>
      </pc:sldMasterChg>
      <pc:sldMasterChg chg="modSp add addSldLayout">
        <pc:chgData name="Marta" userId="eac6eb22-5f14-46b4-a4ea-a86e6e8c4acc" providerId="ADAL" clId="{74097406-F23F-4933-BA70-ABAFA82FF68B}" dt="2023-05-08T11:11:55.570" v="188" actId="27028"/>
        <pc:sldMasterMkLst>
          <pc:docMk/>
          <pc:sldMasterMk cId="788415606" sldId="2147484000"/>
        </pc:sldMasterMkLst>
        <pc:spChg chg="mod">
          <ac:chgData name="Marta" userId="eac6eb22-5f14-46b4-a4ea-a86e6e8c4acc" providerId="ADAL" clId="{74097406-F23F-4933-BA70-ABAFA82FF68B}" dt="2023-05-08T11:11:54.589" v="175"/>
          <ac:spMkLst>
            <pc:docMk/>
            <pc:sldMasterMk cId="788415606" sldId="2147484000"/>
            <ac:spMk id="3" creationId="{00000000-0000-0000-0000-000000000000}"/>
          </ac:spMkLst>
        </pc:spChg>
        <pc:spChg chg="mod">
          <ac:chgData name="Marta" userId="eac6eb22-5f14-46b4-a4ea-a86e6e8c4acc" providerId="ADAL" clId="{74097406-F23F-4933-BA70-ABAFA82FF68B}" dt="2023-05-08T11:11:54.589" v="175"/>
          <ac:spMkLst>
            <pc:docMk/>
            <pc:sldMasterMk cId="788415606" sldId="2147484000"/>
            <ac:spMk id="11" creationId="{00000000-0000-0000-0000-000000000000}"/>
          </ac:spMkLst>
        </pc:spChg>
        <pc:spChg chg="mod">
          <ac:chgData name="Marta" userId="eac6eb22-5f14-46b4-a4ea-a86e6e8c4acc" providerId="ADAL" clId="{74097406-F23F-4933-BA70-ABAFA82FF68B}" dt="2023-05-08T11:11:54.589" v="175"/>
          <ac:spMkLst>
            <pc:docMk/>
            <pc:sldMasterMk cId="788415606" sldId="2147484000"/>
            <ac:spMk id="19" creationId="{00000000-0000-0000-0000-000000000000}"/>
          </ac:spMkLst>
        </pc:spChg>
        <pc:spChg chg="mod">
          <ac:chgData name="Marta" userId="eac6eb22-5f14-46b4-a4ea-a86e6e8c4acc" providerId="ADAL" clId="{74097406-F23F-4933-BA70-ABAFA82FF68B}" dt="2023-05-08T11:11:54.589" v="175"/>
          <ac:spMkLst>
            <pc:docMk/>
            <pc:sldMasterMk cId="788415606" sldId="2147484000"/>
            <ac:spMk id="22" creationId="{00000000-0000-0000-0000-000000000000}"/>
          </ac:spMkLst>
        </pc:spChg>
        <pc:grpChg chg="mod">
          <ac:chgData name="Marta" userId="eac6eb22-5f14-46b4-a4ea-a86e6e8c4acc" providerId="ADAL" clId="{74097406-F23F-4933-BA70-ABAFA82FF68B}" dt="2023-05-08T11:11:54.589" v="175"/>
          <ac:grpSpMkLst>
            <pc:docMk/>
            <pc:sldMasterMk cId="788415606" sldId="2147484000"/>
            <ac:grpSpMk id="1" creationId="{00000000-0000-0000-0000-000000000000}"/>
          </ac:grpSpMkLst>
        </pc:grpChg>
        <pc:grpChg chg="mod">
          <ac:chgData name="Marta" userId="eac6eb22-5f14-46b4-a4ea-a86e6e8c4acc" providerId="ADAL" clId="{74097406-F23F-4933-BA70-ABAFA82FF68B}" dt="2023-05-08T11:11:54.589" v="175"/>
          <ac:grpSpMkLst>
            <pc:docMk/>
            <pc:sldMasterMk cId="788415606" sldId="2147484000"/>
            <ac:grpSpMk id="13" creationId="{00000000-0000-0000-0000-000000000000}"/>
          </ac:grpSpMkLst>
        </pc:grpChg>
        <pc:graphicFrameChg chg="mod">
          <ac:chgData name="Marta" userId="eac6eb22-5f14-46b4-a4ea-a86e6e8c4acc" providerId="ADAL" clId="{74097406-F23F-4933-BA70-ABAFA82FF68B}" dt="2023-05-08T11:11:54.589" v="175"/>
          <ac:graphicFrameMkLst>
            <pc:docMk/>
            <pc:sldMasterMk cId="788415606" sldId="2147484000"/>
            <ac:graphicFrameMk id="12" creationId="{00000000-0000-0000-0000-000000000000}"/>
          </ac:graphicFrameMkLst>
        </pc:graphicFrameChg>
        <pc:picChg chg="mod">
          <ac:chgData name="Marta" userId="eac6eb22-5f14-46b4-a4ea-a86e6e8c4acc" providerId="ADAL" clId="{74097406-F23F-4933-BA70-ABAFA82FF68B}" dt="2023-05-08T11:11:54.589" v="175"/>
          <ac:picMkLst>
            <pc:docMk/>
            <pc:sldMasterMk cId="788415606" sldId="2147484000"/>
            <ac:picMk id="9" creationId="{00000000-0000-0000-0000-000000000000}"/>
          </ac:picMkLst>
        </pc:picChg>
        <pc:picChg chg="mod">
          <ac:chgData name="Marta" userId="eac6eb22-5f14-46b4-a4ea-a86e6e8c4acc" providerId="ADAL" clId="{74097406-F23F-4933-BA70-ABAFA82FF68B}" dt="2023-05-08T11:11:54.589" v="175"/>
          <ac:picMkLst>
            <pc:docMk/>
            <pc:sldMasterMk cId="788415606" sldId="2147484000"/>
            <ac:picMk id="10" creationId="{00000000-0000-0000-0000-000000000000}"/>
          </ac:picMkLst>
        </pc:picChg>
        <pc:cxnChg chg="mod">
          <ac:chgData name="Marta" userId="eac6eb22-5f14-46b4-a4ea-a86e6e8c4acc" providerId="ADAL" clId="{74097406-F23F-4933-BA70-ABAFA82FF68B}" dt="2023-05-08T11:11:54.589" v="175"/>
          <ac:cxnSpMkLst>
            <pc:docMk/>
            <pc:sldMasterMk cId="788415606" sldId="2147484000"/>
            <ac:cxnSpMk id="14" creationId="{00000000-0000-0000-0000-000000000000}"/>
          </ac:cxnSpMkLst>
        </pc:cxnChg>
        <pc:cxnChg chg="mod">
          <ac:chgData name="Marta" userId="eac6eb22-5f14-46b4-a4ea-a86e6e8c4acc" providerId="ADAL" clId="{74097406-F23F-4933-BA70-ABAFA82FF68B}" dt="2023-05-08T11:11:54.589" v="175"/>
          <ac:cxnSpMkLst>
            <pc:docMk/>
            <pc:sldMasterMk cId="788415606" sldId="2147484000"/>
            <ac:cxnSpMk id="15" creationId="{00000000-0000-0000-0000-000000000000}"/>
          </ac:cxnSpMkLst>
        </pc:cxnChg>
        <pc:cxnChg chg="mod">
          <ac:chgData name="Marta" userId="eac6eb22-5f14-46b4-a4ea-a86e6e8c4acc" providerId="ADAL" clId="{74097406-F23F-4933-BA70-ABAFA82FF68B}" dt="2023-05-08T11:11:54.589" v="175"/>
          <ac:cxnSpMkLst>
            <pc:docMk/>
            <pc:sldMasterMk cId="788415606" sldId="2147484000"/>
            <ac:cxnSpMk id="16" creationId="{00000000-0000-0000-0000-000000000000}"/>
          </ac:cxnSpMkLst>
        </pc:cxnChg>
        <pc:cxnChg chg="mod">
          <ac:chgData name="Marta" userId="eac6eb22-5f14-46b4-a4ea-a86e6e8c4acc" providerId="ADAL" clId="{74097406-F23F-4933-BA70-ABAFA82FF68B}" dt="2023-05-08T11:11:54.589" v="175"/>
          <ac:cxnSpMkLst>
            <pc:docMk/>
            <pc:sldMasterMk cId="788415606" sldId="2147484000"/>
            <ac:cxnSpMk id="17" creationId="{00000000-0000-0000-0000-000000000000}"/>
          </ac:cxnSpMkLst>
        </pc:cxnChg>
        <pc:cxnChg chg="mod">
          <ac:chgData name="Marta" userId="eac6eb22-5f14-46b4-a4ea-a86e6e8c4acc" providerId="ADAL" clId="{74097406-F23F-4933-BA70-ABAFA82FF68B}" dt="2023-05-08T11:11:54.589" v="175"/>
          <ac:cxnSpMkLst>
            <pc:docMk/>
            <pc:sldMasterMk cId="788415606" sldId="2147484000"/>
            <ac:cxnSpMk id="18" creationId="{00000000-0000-0000-0000-000000000000}"/>
          </ac:cxnSpMkLst>
        </pc:cxnChg>
        <pc:sldLayoutChg chg="add">
          <pc:chgData name="Marta" userId="eac6eb22-5f14-46b4-a4ea-a86e6e8c4acc" providerId="ADAL" clId="{74097406-F23F-4933-BA70-ABAFA82FF68B}" dt="2023-05-08T11:11:54.589" v="174" actId="27028"/>
          <pc:sldLayoutMkLst>
            <pc:docMk/>
            <pc:sldMasterMk cId="788415606" sldId="2147484000"/>
            <pc:sldLayoutMk cId="2802805007" sldId="2147484001"/>
          </pc:sldLayoutMkLst>
        </pc:sldLayoutChg>
        <pc:sldLayoutChg chg="add">
          <pc:chgData name="Marta" userId="eac6eb22-5f14-46b4-a4ea-a86e6e8c4acc" providerId="ADAL" clId="{74097406-F23F-4933-BA70-ABAFA82FF68B}" dt="2023-05-08T11:11:55.570" v="188" actId="27028"/>
          <pc:sldLayoutMkLst>
            <pc:docMk/>
            <pc:sldMasterMk cId="788415606" sldId="2147484000"/>
            <pc:sldLayoutMk cId="738847573" sldId="2147484015"/>
          </pc:sldLayoutMkLst>
        </pc:sldLayoutChg>
      </pc:sldMasterChg>
    </pc:docChg>
  </pc:docChgLst>
  <pc:docChgLst>
    <pc:chgData name="Marta" userId="eac6eb22-5f14-46b4-a4ea-a86e6e8c4acc" providerId="ADAL" clId="{614D9BA7-5540-4570-B7D4-73DE30F72C80}"/>
    <pc:docChg chg="undo custSel addSld delSld modSld sldOrd">
      <pc:chgData name="Marta" userId="eac6eb22-5f14-46b4-a4ea-a86e6e8c4acc" providerId="ADAL" clId="{614D9BA7-5540-4570-B7D4-73DE30F72C80}" dt="2021-12-02T16:55:34.764" v="612" actId="20577"/>
      <pc:docMkLst>
        <pc:docMk/>
      </pc:docMkLst>
      <pc:sldChg chg="modSp mod">
        <pc:chgData name="Marta" userId="eac6eb22-5f14-46b4-a4ea-a86e6e8c4acc" providerId="ADAL" clId="{614D9BA7-5540-4570-B7D4-73DE30F72C80}" dt="2021-11-18T13:05:51.070" v="204" actId="20577"/>
        <pc:sldMkLst>
          <pc:docMk/>
          <pc:sldMk cId="573922979" sldId="256"/>
        </pc:sldMkLst>
        <pc:spChg chg="mod">
          <ac:chgData name="Marta" userId="eac6eb22-5f14-46b4-a4ea-a86e6e8c4acc" providerId="ADAL" clId="{614D9BA7-5540-4570-B7D4-73DE30F72C80}" dt="2021-11-18T13:05:51.070" v="204" actId="20577"/>
          <ac:spMkLst>
            <pc:docMk/>
            <pc:sldMk cId="573922979" sldId="256"/>
            <ac:spMk id="4" creationId="{00000000-0000-0000-0000-000000000000}"/>
          </ac:spMkLst>
        </pc:spChg>
      </pc:sldChg>
      <pc:sldChg chg="modSp mod">
        <pc:chgData name="Marta" userId="eac6eb22-5f14-46b4-a4ea-a86e6e8c4acc" providerId="ADAL" clId="{614D9BA7-5540-4570-B7D4-73DE30F72C80}" dt="2021-12-01T19:19:24.580" v="566" actId="20577"/>
        <pc:sldMkLst>
          <pc:docMk/>
          <pc:sldMk cId="2325718728" sldId="257"/>
        </pc:sldMkLst>
        <pc:spChg chg="mod">
          <ac:chgData name="Marta" userId="eac6eb22-5f14-46b4-a4ea-a86e6e8c4acc" providerId="ADAL" clId="{614D9BA7-5540-4570-B7D4-73DE30F72C80}" dt="2021-12-01T19:19:24.580" v="566" actId="20577"/>
          <ac:spMkLst>
            <pc:docMk/>
            <pc:sldMk cId="2325718728" sldId="257"/>
            <ac:spMk id="5" creationId="{00000000-0000-0000-0000-000000000000}"/>
          </ac:spMkLst>
        </pc:spChg>
        <pc:picChg chg="mod">
          <ac:chgData name="Marta" userId="eac6eb22-5f14-46b4-a4ea-a86e6e8c4acc" providerId="ADAL" clId="{614D9BA7-5540-4570-B7D4-73DE30F72C80}" dt="2021-11-24T13:37:58.113" v="403" actId="1076"/>
          <ac:picMkLst>
            <pc:docMk/>
            <pc:sldMk cId="2325718728" sldId="257"/>
            <ac:picMk id="3" creationId="{B7C8E147-0753-4CE0-AFEF-9DC7AB03098B}"/>
          </ac:picMkLst>
        </pc:picChg>
      </pc:sldChg>
      <pc:sldChg chg="modSp mod">
        <pc:chgData name="Marta" userId="eac6eb22-5f14-46b4-a4ea-a86e6e8c4acc" providerId="ADAL" clId="{614D9BA7-5540-4570-B7D4-73DE30F72C80}" dt="2021-11-30T19:10:31.255" v="550" actId="20577"/>
        <pc:sldMkLst>
          <pc:docMk/>
          <pc:sldMk cId="3528939462" sldId="258"/>
        </pc:sldMkLst>
        <pc:spChg chg="mod">
          <ac:chgData name="Marta" userId="eac6eb22-5f14-46b4-a4ea-a86e6e8c4acc" providerId="ADAL" clId="{614D9BA7-5540-4570-B7D4-73DE30F72C80}" dt="2021-11-30T19:10:31.255" v="550" actId="20577"/>
          <ac:spMkLst>
            <pc:docMk/>
            <pc:sldMk cId="3528939462" sldId="258"/>
            <ac:spMk id="4" creationId="{00000000-0000-0000-0000-000000000000}"/>
          </ac:spMkLst>
        </pc:spChg>
      </pc:sldChg>
      <pc:sldChg chg="modSp mod ord">
        <pc:chgData name="Marta" userId="eac6eb22-5f14-46b4-a4ea-a86e6e8c4acc" providerId="ADAL" clId="{614D9BA7-5540-4570-B7D4-73DE30F72C80}" dt="2021-11-30T19:10:17.382" v="548" actId="20577"/>
        <pc:sldMkLst>
          <pc:docMk/>
          <pc:sldMk cId="3828261807" sldId="443"/>
        </pc:sldMkLst>
        <pc:spChg chg="mod">
          <ac:chgData name="Marta" userId="eac6eb22-5f14-46b4-a4ea-a86e6e8c4acc" providerId="ADAL" clId="{614D9BA7-5540-4570-B7D4-73DE30F72C80}" dt="2021-11-30T19:10:17.382" v="548" actId="20577"/>
          <ac:spMkLst>
            <pc:docMk/>
            <pc:sldMk cId="3828261807" sldId="443"/>
            <ac:spMk id="6" creationId="{00000000-0000-0000-0000-000000000000}"/>
          </ac:spMkLst>
        </pc:spChg>
      </pc:sldChg>
      <pc:sldChg chg="modSp mod">
        <pc:chgData name="Marta" userId="eac6eb22-5f14-46b4-a4ea-a86e6e8c4acc" providerId="ADAL" clId="{614D9BA7-5540-4570-B7D4-73DE30F72C80}" dt="2021-11-30T16:39:00.725" v="482"/>
        <pc:sldMkLst>
          <pc:docMk/>
          <pc:sldMk cId="1484635905" sldId="753"/>
        </pc:sldMkLst>
        <pc:spChg chg="mod">
          <ac:chgData name="Marta" userId="eac6eb22-5f14-46b4-a4ea-a86e6e8c4acc" providerId="ADAL" clId="{614D9BA7-5540-4570-B7D4-73DE30F72C80}" dt="2021-11-30T16:39:00.725" v="482"/>
          <ac:spMkLst>
            <pc:docMk/>
            <pc:sldMk cId="1484635905" sldId="753"/>
            <ac:spMk id="6" creationId="{00000000-0000-0000-0000-000000000000}"/>
          </ac:spMkLst>
        </pc:spChg>
      </pc:sldChg>
      <pc:sldChg chg="modSp mod">
        <pc:chgData name="Marta" userId="eac6eb22-5f14-46b4-a4ea-a86e6e8c4acc" providerId="ADAL" clId="{614D9BA7-5540-4570-B7D4-73DE30F72C80}" dt="2021-11-15T18:57:20.209" v="165" actId="20577"/>
        <pc:sldMkLst>
          <pc:docMk/>
          <pc:sldMk cId="2932444859" sldId="756"/>
        </pc:sldMkLst>
        <pc:spChg chg="mod">
          <ac:chgData name="Marta" userId="eac6eb22-5f14-46b4-a4ea-a86e6e8c4acc" providerId="ADAL" clId="{614D9BA7-5540-4570-B7D4-73DE30F72C80}" dt="2021-11-15T18:57:20.209" v="165" actId="20577"/>
          <ac:spMkLst>
            <pc:docMk/>
            <pc:sldMk cId="2932444859" sldId="756"/>
            <ac:spMk id="4" creationId="{00000000-0000-0000-0000-000000000000}"/>
          </ac:spMkLst>
        </pc:spChg>
        <pc:spChg chg="mod">
          <ac:chgData name="Marta" userId="eac6eb22-5f14-46b4-a4ea-a86e6e8c4acc" providerId="ADAL" clId="{614D9BA7-5540-4570-B7D4-73DE30F72C80}" dt="2021-11-15T18:54:47.553" v="145" actId="20577"/>
          <ac:spMkLst>
            <pc:docMk/>
            <pc:sldMk cId="2932444859" sldId="756"/>
            <ac:spMk id="8" creationId="{994CAA25-984D-4484-838B-9B092E7155F2}"/>
          </ac:spMkLst>
        </pc:spChg>
      </pc:sldChg>
      <pc:sldChg chg="modSp mod">
        <pc:chgData name="Marta" userId="eac6eb22-5f14-46b4-a4ea-a86e6e8c4acc" providerId="ADAL" clId="{614D9BA7-5540-4570-B7D4-73DE30F72C80}" dt="2021-11-30T19:10:38.482" v="554" actId="20577"/>
        <pc:sldMkLst>
          <pc:docMk/>
          <pc:sldMk cId="4279644075" sldId="759"/>
        </pc:sldMkLst>
        <pc:spChg chg="mod">
          <ac:chgData name="Marta" userId="eac6eb22-5f14-46b4-a4ea-a86e6e8c4acc" providerId="ADAL" clId="{614D9BA7-5540-4570-B7D4-73DE30F72C80}" dt="2021-11-30T19:10:35.424" v="552" actId="20577"/>
          <ac:spMkLst>
            <pc:docMk/>
            <pc:sldMk cId="4279644075" sldId="759"/>
            <ac:spMk id="3" creationId="{00000000-0000-0000-0000-000000000000}"/>
          </ac:spMkLst>
        </pc:spChg>
        <pc:spChg chg="mod">
          <ac:chgData name="Marta" userId="eac6eb22-5f14-46b4-a4ea-a86e6e8c4acc" providerId="ADAL" clId="{614D9BA7-5540-4570-B7D4-73DE30F72C80}" dt="2021-11-30T19:10:38.482" v="554" actId="20577"/>
          <ac:spMkLst>
            <pc:docMk/>
            <pc:sldMk cId="4279644075" sldId="759"/>
            <ac:spMk id="7" creationId="{C542E130-C53F-4C9B-A35D-CF6E6831ABC8}"/>
          </ac:spMkLst>
        </pc:spChg>
      </pc:sldChg>
      <pc:sldChg chg="modSp mod ord">
        <pc:chgData name="Marta" userId="eac6eb22-5f14-46b4-a4ea-a86e6e8c4acc" providerId="ADAL" clId="{614D9BA7-5540-4570-B7D4-73DE30F72C80}" dt="2021-11-30T19:10:14.044" v="546" actId="20577"/>
        <pc:sldMkLst>
          <pc:docMk/>
          <pc:sldMk cId="1299466057" sldId="769"/>
        </pc:sldMkLst>
        <pc:spChg chg="mod">
          <ac:chgData name="Marta" userId="eac6eb22-5f14-46b4-a4ea-a86e6e8c4acc" providerId="ADAL" clId="{614D9BA7-5540-4570-B7D4-73DE30F72C80}" dt="2021-11-30T19:10:14.044" v="546" actId="20577"/>
          <ac:spMkLst>
            <pc:docMk/>
            <pc:sldMk cId="1299466057" sldId="769"/>
            <ac:spMk id="6" creationId="{00000000-0000-0000-0000-000000000000}"/>
          </ac:spMkLst>
        </pc:spChg>
        <pc:spChg chg="mod">
          <ac:chgData name="Marta" userId="eac6eb22-5f14-46b4-a4ea-a86e6e8c4acc" providerId="ADAL" clId="{614D9BA7-5540-4570-B7D4-73DE30F72C80}" dt="2021-11-30T19:10:11.857" v="544" actId="20577"/>
          <ac:spMkLst>
            <pc:docMk/>
            <pc:sldMk cId="1299466057" sldId="769"/>
            <ac:spMk id="13" creationId="{5EBA3C3A-26F7-4697-89FF-46569E674F13}"/>
          </ac:spMkLst>
        </pc:spChg>
      </pc:sldChg>
      <pc:sldChg chg="modSp mod ord">
        <pc:chgData name="Marta" userId="eac6eb22-5f14-46b4-a4ea-a86e6e8c4acc" providerId="ADAL" clId="{614D9BA7-5540-4570-B7D4-73DE30F72C80}" dt="2021-11-30T19:09:56.205" v="534" actId="20577"/>
        <pc:sldMkLst>
          <pc:docMk/>
          <pc:sldMk cId="720284508" sldId="770"/>
        </pc:sldMkLst>
        <pc:spChg chg="mod">
          <ac:chgData name="Marta" userId="eac6eb22-5f14-46b4-a4ea-a86e6e8c4acc" providerId="ADAL" clId="{614D9BA7-5540-4570-B7D4-73DE30F72C80}" dt="2021-11-30T19:09:52.851" v="532" actId="20577"/>
          <ac:spMkLst>
            <pc:docMk/>
            <pc:sldMk cId="720284508" sldId="770"/>
            <ac:spMk id="6" creationId="{00000000-0000-0000-0000-000000000000}"/>
          </ac:spMkLst>
        </pc:spChg>
        <pc:spChg chg="mod">
          <ac:chgData name="Marta" userId="eac6eb22-5f14-46b4-a4ea-a86e6e8c4acc" providerId="ADAL" clId="{614D9BA7-5540-4570-B7D4-73DE30F72C80}" dt="2021-11-30T19:09:56.205" v="534" actId="20577"/>
          <ac:spMkLst>
            <pc:docMk/>
            <pc:sldMk cId="720284508" sldId="770"/>
            <ac:spMk id="12" creationId="{26BF53E5-B88D-473C-920E-E8E885F8CCF4}"/>
          </ac:spMkLst>
        </pc:spChg>
      </pc:sldChg>
      <pc:sldChg chg="modSp mod">
        <pc:chgData name="Marta" userId="eac6eb22-5f14-46b4-a4ea-a86e6e8c4acc" providerId="ADAL" clId="{614D9BA7-5540-4570-B7D4-73DE30F72C80}" dt="2021-11-30T19:10:49.433" v="556" actId="20577"/>
        <pc:sldMkLst>
          <pc:docMk/>
          <pc:sldMk cId="3888553813" sldId="879"/>
        </pc:sldMkLst>
        <pc:spChg chg="mod">
          <ac:chgData name="Marta" userId="eac6eb22-5f14-46b4-a4ea-a86e6e8c4acc" providerId="ADAL" clId="{614D9BA7-5540-4570-B7D4-73DE30F72C80}" dt="2021-11-30T19:10:49.433" v="556" actId="20577"/>
          <ac:spMkLst>
            <pc:docMk/>
            <pc:sldMk cId="3888553813" sldId="879"/>
            <ac:spMk id="2" creationId="{91383D11-DEC4-4BFF-88BB-8FB2206CEB37}"/>
          </ac:spMkLst>
        </pc:spChg>
      </pc:sldChg>
      <pc:sldChg chg="modSp add mod">
        <pc:chgData name="Marta" userId="eac6eb22-5f14-46b4-a4ea-a86e6e8c4acc" providerId="ADAL" clId="{614D9BA7-5540-4570-B7D4-73DE30F72C80}" dt="2021-11-30T17:16:53.362" v="502"/>
        <pc:sldMkLst>
          <pc:docMk/>
          <pc:sldMk cId="2083658885" sldId="900"/>
        </pc:sldMkLst>
        <pc:spChg chg="mod">
          <ac:chgData name="Marta" userId="eac6eb22-5f14-46b4-a4ea-a86e6e8c4acc" providerId="ADAL" clId="{614D9BA7-5540-4570-B7D4-73DE30F72C80}" dt="2021-11-18T13:09:43.264" v="335" actId="20577"/>
          <ac:spMkLst>
            <pc:docMk/>
            <pc:sldMk cId="2083658885" sldId="900"/>
            <ac:spMk id="2" creationId="{F49F4E2B-EEB0-4736-A001-E9CD8947E750}"/>
          </ac:spMkLst>
        </pc:spChg>
        <pc:spChg chg="mod">
          <ac:chgData name="Marta" userId="eac6eb22-5f14-46b4-a4ea-a86e6e8c4acc" providerId="ADAL" clId="{614D9BA7-5540-4570-B7D4-73DE30F72C80}" dt="2021-11-30T17:16:53.362" v="502"/>
          <ac:spMkLst>
            <pc:docMk/>
            <pc:sldMk cId="2083658885" sldId="900"/>
            <ac:spMk id="6" creationId="{00000000-0000-0000-0000-000000000000}"/>
          </ac:spMkLst>
        </pc:spChg>
        <pc:spChg chg="mod">
          <ac:chgData name="Marta" userId="eac6eb22-5f14-46b4-a4ea-a86e6e8c4acc" providerId="ADAL" clId="{614D9BA7-5540-4570-B7D4-73DE30F72C80}" dt="2021-11-18T13:09:23.034" v="322" actId="20577"/>
          <ac:spMkLst>
            <pc:docMk/>
            <pc:sldMk cId="2083658885" sldId="900"/>
            <ac:spMk id="10" creationId="{66421E13-941D-487E-9F8E-DCFA3FE9C646}"/>
          </ac:spMkLst>
        </pc:spChg>
      </pc:sldChg>
      <pc:sldChg chg="modSp add mod">
        <pc:chgData name="Marta" userId="eac6eb22-5f14-46b4-a4ea-a86e6e8c4acc" providerId="ADAL" clId="{614D9BA7-5540-4570-B7D4-73DE30F72C80}" dt="2021-12-02T16:55:34.764" v="612" actId="20577"/>
        <pc:sldMkLst>
          <pc:docMk/>
          <pc:sldMk cId="644561616" sldId="901"/>
        </pc:sldMkLst>
        <pc:spChg chg="mod">
          <ac:chgData name="Marta" userId="eac6eb22-5f14-46b4-a4ea-a86e6e8c4acc" providerId="ADAL" clId="{614D9BA7-5540-4570-B7D4-73DE30F72C80}" dt="2021-12-02T16:55:34.764" v="612" actId="20577"/>
          <ac:spMkLst>
            <pc:docMk/>
            <pc:sldMk cId="644561616" sldId="901"/>
            <ac:spMk id="2" creationId="{F49F4E2B-EEB0-4736-A001-E9CD8947E750}"/>
          </ac:spMkLst>
        </pc:spChg>
        <pc:spChg chg="mod">
          <ac:chgData name="Marta" userId="eac6eb22-5f14-46b4-a4ea-a86e6e8c4acc" providerId="ADAL" clId="{614D9BA7-5540-4570-B7D4-73DE30F72C80}" dt="2021-11-30T17:16:46.575" v="501"/>
          <ac:spMkLst>
            <pc:docMk/>
            <pc:sldMk cId="644561616" sldId="901"/>
            <ac:spMk id="6" creationId="{00000000-0000-0000-0000-000000000000}"/>
          </ac:spMkLst>
        </pc:spChg>
        <pc:spChg chg="mod">
          <ac:chgData name="Marta" userId="eac6eb22-5f14-46b4-a4ea-a86e6e8c4acc" providerId="ADAL" clId="{614D9BA7-5540-4570-B7D4-73DE30F72C80}" dt="2021-11-18T13:09:59.165" v="354" actId="20577"/>
          <ac:spMkLst>
            <pc:docMk/>
            <pc:sldMk cId="644561616" sldId="901"/>
            <ac:spMk id="10" creationId="{66421E13-941D-487E-9F8E-DCFA3FE9C646}"/>
          </ac:spMkLst>
        </pc:spChg>
      </pc:sldChg>
      <pc:sldChg chg="modSp mod ord">
        <pc:chgData name="Marta" userId="eac6eb22-5f14-46b4-a4ea-a86e6e8c4acc" providerId="ADAL" clId="{614D9BA7-5540-4570-B7D4-73DE30F72C80}" dt="2021-11-30T19:10:01.225" v="538" actId="20577"/>
        <pc:sldMkLst>
          <pc:docMk/>
          <pc:sldMk cId="592978630" sldId="917"/>
        </pc:sldMkLst>
        <pc:spChg chg="mod">
          <ac:chgData name="Marta" userId="eac6eb22-5f14-46b4-a4ea-a86e6e8c4acc" providerId="ADAL" clId="{614D9BA7-5540-4570-B7D4-73DE30F72C80}" dt="2021-11-30T19:09:59.112" v="536" actId="20577"/>
          <ac:spMkLst>
            <pc:docMk/>
            <pc:sldMk cId="592978630" sldId="917"/>
            <ac:spMk id="6" creationId="{00000000-0000-0000-0000-000000000000}"/>
          </ac:spMkLst>
        </pc:spChg>
        <pc:spChg chg="mod">
          <ac:chgData name="Marta" userId="eac6eb22-5f14-46b4-a4ea-a86e6e8c4acc" providerId="ADAL" clId="{614D9BA7-5540-4570-B7D4-73DE30F72C80}" dt="2021-11-30T19:10:01.225" v="538" actId="20577"/>
          <ac:spMkLst>
            <pc:docMk/>
            <pc:sldMk cId="592978630" sldId="917"/>
            <ac:spMk id="13" creationId="{5EBA3C3A-26F7-4697-89FF-46569E674F13}"/>
          </ac:spMkLst>
        </pc:spChg>
      </pc:sldChg>
      <pc:sldChg chg="modSp mod">
        <pc:chgData name="Marta" userId="eac6eb22-5f14-46b4-a4ea-a86e6e8c4acc" providerId="ADAL" clId="{614D9BA7-5540-4570-B7D4-73DE30F72C80}" dt="2021-11-24T13:39:14.219" v="429" actId="20577"/>
        <pc:sldMkLst>
          <pc:docMk/>
          <pc:sldMk cId="1823672830" sldId="918"/>
        </pc:sldMkLst>
        <pc:spChg chg="mod">
          <ac:chgData name="Marta" userId="eac6eb22-5f14-46b4-a4ea-a86e6e8c4acc" providerId="ADAL" clId="{614D9BA7-5540-4570-B7D4-73DE30F72C80}" dt="2021-11-24T13:39:00.230" v="413" actId="14100"/>
          <ac:spMkLst>
            <pc:docMk/>
            <pc:sldMk cId="1823672830" sldId="918"/>
            <ac:spMk id="5" creationId="{D7AB730F-CFB1-41A2-88F4-B5C85686D14E}"/>
          </ac:spMkLst>
        </pc:spChg>
        <pc:spChg chg="mod">
          <ac:chgData name="Marta" userId="eac6eb22-5f14-46b4-a4ea-a86e6e8c4acc" providerId="ADAL" clId="{614D9BA7-5540-4570-B7D4-73DE30F72C80}" dt="2021-11-24T13:39:14.219" v="429" actId="20577"/>
          <ac:spMkLst>
            <pc:docMk/>
            <pc:sldMk cId="1823672830" sldId="918"/>
            <ac:spMk id="6" creationId="{DF0005E4-64BC-4237-974F-B607F508972C}"/>
          </ac:spMkLst>
        </pc:spChg>
      </pc:sldChg>
      <pc:sldChg chg="modSp mod ord">
        <pc:chgData name="Marta" userId="eac6eb22-5f14-46b4-a4ea-a86e6e8c4acc" providerId="ADAL" clId="{614D9BA7-5540-4570-B7D4-73DE30F72C80}" dt="2021-11-30T19:10:09.391" v="542" actId="20577"/>
        <pc:sldMkLst>
          <pc:docMk/>
          <pc:sldMk cId="2970493180" sldId="920"/>
        </pc:sldMkLst>
        <pc:spChg chg="mod">
          <ac:chgData name="Marta" userId="eac6eb22-5f14-46b4-a4ea-a86e6e8c4acc" providerId="ADAL" clId="{614D9BA7-5540-4570-B7D4-73DE30F72C80}" dt="2021-11-30T19:10:07.070" v="540" actId="20577"/>
          <ac:spMkLst>
            <pc:docMk/>
            <pc:sldMk cId="2970493180" sldId="920"/>
            <ac:spMk id="6" creationId="{00000000-0000-0000-0000-000000000000}"/>
          </ac:spMkLst>
        </pc:spChg>
        <pc:spChg chg="mod">
          <ac:chgData name="Marta" userId="eac6eb22-5f14-46b4-a4ea-a86e6e8c4acc" providerId="ADAL" clId="{614D9BA7-5540-4570-B7D4-73DE30F72C80}" dt="2021-11-30T19:10:09.391" v="542" actId="20577"/>
          <ac:spMkLst>
            <pc:docMk/>
            <pc:sldMk cId="2970493180" sldId="920"/>
            <ac:spMk id="11" creationId="{17AD51F0-FB9D-4C8A-9C6F-1A1CC7A2AABF}"/>
          </ac:spMkLst>
        </pc:spChg>
      </pc:sldChg>
      <pc:sldChg chg="del">
        <pc:chgData name="Marta" userId="eac6eb22-5f14-46b4-a4ea-a86e6e8c4acc" providerId="ADAL" clId="{614D9BA7-5540-4570-B7D4-73DE30F72C80}" dt="2021-11-15T18:53:26.353" v="74" actId="47"/>
        <pc:sldMkLst>
          <pc:docMk/>
          <pc:sldMk cId="2396735072" sldId="921"/>
        </pc:sldMkLst>
      </pc:sldChg>
      <pc:sldChg chg="del">
        <pc:chgData name="Marta" userId="eac6eb22-5f14-46b4-a4ea-a86e6e8c4acc" providerId="ADAL" clId="{614D9BA7-5540-4570-B7D4-73DE30F72C80}" dt="2021-11-15T18:53:27.275" v="75" actId="47"/>
        <pc:sldMkLst>
          <pc:docMk/>
          <pc:sldMk cId="3575319163" sldId="922"/>
        </pc:sldMkLst>
      </pc:sldChg>
      <pc:sldChg chg="del">
        <pc:chgData name="Marta" userId="eac6eb22-5f14-46b4-a4ea-a86e6e8c4acc" providerId="ADAL" clId="{614D9BA7-5540-4570-B7D4-73DE30F72C80}" dt="2021-11-15T18:53:27.893" v="76" actId="47"/>
        <pc:sldMkLst>
          <pc:docMk/>
          <pc:sldMk cId="3152095810" sldId="923"/>
        </pc:sldMkLst>
      </pc:sldChg>
      <pc:sldChg chg="del">
        <pc:chgData name="Marta" userId="eac6eb22-5f14-46b4-a4ea-a86e6e8c4acc" providerId="ADAL" clId="{614D9BA7-5540-4570-B7D4-73DE30F72C80}" dt="2021-11-15T18:53:28.564" v="77" actId="47"/>
        <pc:sldMkLst>
          <pc:docMk/>
          <pc:sldMk cId="3004210162" sldId="924"/>
        </pc:sldMkLst>
      </pc:sldChg>
      <pc:sldChg chg="del">
        <pc:chgData name="Marta" userId="eac6eb22-5f14-46b4-a4ea-a86e6e8c4acc" providerId="ADAL" clId="{614D9BA7-5540-4570-B7D4-73DE30F72C80}" dt="2021-11-15T18:53:29.140" v="78" actId="47"/>
        <pc:sldMkLst>
          <pc:docMk/>
          <pc:sldMk cId="2852113696" sldId="925"/>
        </pc:sldMkLst>
      </pc:sldChg>
      <pc:sldChg chg="del">
        <pc:chgData name="Marta" userId="eac6eb22-5f14-46b4-a4ea-a86e6e8c4acc" providerId="ADAL" clId="{614D9BA7-5540-4570-B7D4-73DE30F72C80}" dt="2021-11-15T18:53:29.832" v="79" actId="47"/>
        <pc:sldMkLst>
          <pc:docMk/>
          <pc:sldMk cId="2376822668" sldId="926"/>
        </pc:sldMkLst>
      </pc:sldChg>
      <pc:sldChg chg="del">
        <pc:chgData name="Marta" userId="eac6eb22-5f14-46b4-a4ea-a86e6e8c4acc" providerId="ADAL" clId="{614D9BA7-5540-4570-B7D4-73DE30F72C80}" dt="2021-11-15T18:53:30.383" v="80" actId="47"/>
        <pc:sldMkLst>
          <pc:docMk/>
          <pc:sldMk cId="2863961504" sldId="927"/>
        </pc:sldMkLst>
      </pc:sldChg>
      <pc:sldChg chg="del">
        <pc:chgData name="Marta" userId="eac6eb22-5f14-46b4-a4ea-a86e6e8c4acc" providerId="ADAL" clId="{614D9BA7-5540-4570-B7D4-73DE30F72C80}" dt="2021-11-15T18:53:30.986" v="81" actId="47"/>
        <pc:sldMkLst>
          <pc:docMk/>
          <pc:sldMk cId="2361761606" sldId="928"/>
        </pc:sldMkLst>
      </pc:sldChg>
      <pc:sldChg chg="del">
        <pc:chgData name="Marta" userId="eac6eb22-5f14-46b4-a4ea-a86e6e8c4acc" providerId="ADAL" clId="{614D9BA7-5540-4570-B7D4-73DE30F72C80}" dt="2021-11-15T18:53:31.659" v="82" actId="47"/>
        <pc:sldMkLst>
          <pc:docMk/>
          <pc:sldMk cId="762619759" sldId="929"/>
        </pc:sldMkLst>
      </pc:sldChg>
      <pc:sldChg chg="del">
        <pc:chgData name="Marta" userId="eac6eb22-5f14-46b4-a4ea-a86e6e8c4acc" providerId="ADAL" clId="{614D9BA7-5540-4570-B7D4-73DE30F72C80}" dt="2021-11-15T18:53:32.209" v="83" actId="47"/>
        <pc:sldMkLst>
          <pc:docMk/>
          <pc:sldMk cId="3396063030" sldId="930"/>
        </pc:sldMkLst>
      </pc:sldChg>
      <pc:sldChg chg="del">
        <pc:chgData name="Marta" userId="eac6eb22-5f14-46b4-a4ea-a86e6e8c4acc" providerId="ADAL" clId="{614D9BA7-5540-4570-B7D4-73DE30F72C80}" dt="2021-11-15T18:53:33.071" v="84" actId="47"/>
        <pc:sldMkLst>
          <pc:docMk/>
          <pc:sldMk cId="2303341529" sldId="931"/>
        </pc:sldMkLst>
      </pc:sldChg>
      <pc:sldChg chg="del">
        <pc:chgData name="Marta" userId="eac6eb22-5f14-46b4-a4ea-a86e6e8c4acc" providerId="ADAL" clId="{614D9BA7-5540-4570-B7D4-73DE30F72C80}" dt="2021-11-15T18:53:33.801" v="85" actId="47"/>
        <pc:sldMkLst>
          <pc:docMk/>
          <pc:sldMk cId="3229803379" sldId="932"/>
        </pc:sldMkLst>
      </pc:sldChg>
      <pc:sldChg chg="del">
        <pc:chgData name="Marta" userId="eac6eb22-5f14-46b4-a4ea-a86e6e8c4acc" providerId="ADAL" clId="{614D9BA7-5540-4570-B7D4-73DE30F72C80}" dt="2021-11-15T18:53:34.545" v="86" actId="47"/>
        <pc:sldMkLst>
          <pc:docMk/>
          <pc:sldMk cId="3303674215" sldId="933"/>
        </pc:sldMkLst>
      </pc:sldChg>
      <pc:sldChg chg="del">
        <pc:chgData name="Marta" userId="eac6eb22-5f14-46b4-a4ea-a86e6e8c4acc" providerId="ADAL" clId="{614D9BA7-5540-4570-B7D4-73DE30F72C80}" dt="2021-11-15T18:53:35.302" v="87" actId="47"/>
        <pc:sldMkLst>
          <pc:docMk/>
          <pc:sldMk cId="1696180301" sldId="934"/>
        </pc:sldMkLst>
      </pc:sldChg>
      <pc:sldChg chg="del">
        <pc:chgData name="Marta" userId="eac6eb22-5f14-46b4-a4ea-a86e6e8c4acc" providerId="ADAL" clId="{614D9BA7-5540-4570-B7D4-73DE30F72C80}" dt="2021-11-15T18:53:35.709" v="88" actId="47"/>
        <pc:sldMkLst>
          <pc:docMk/>
          <pc:sldMk cId="2864489205" sldId="935"/>
        </pc:sldMkLst>
      </pc:sldChg>
      <pc:sldChg chg="del">
        <pc:chgData name="Marta" userId="eac6eb22-5f14-46b4-a4ea-a86e6e8c4acc" providerId="ADAL" clId="{614D9BA7-5540-4570-B7D4-73DE30F72C80}" dt="2021-11-15T18:53:36.880" v="89" actId="47"/>
        <pc:sldMkLst>
          <pc:docMk/>
          <pc:sldMk cId="2831281264" sldId="936"/>
        </pc:sldMkLst>
      </pc:sldChg>
      <pc:sldChg chg="modSp add mod ord">
        <pc:chgData name="Marta" userId="eac6eb22-5f14-46b4-a4ea-a86e6e8c4acc" providerId="ADAL" clId="{614D9BA7-5540-4570-B7D4-73DE30F72C80}" dt="2021-11-30T17:16:57.466" v="503"/>
        <pc:sldMkLst>
          <pc:docMk/>
          <pc:sldMk cId="1397072693" sldId="938"/>
        </pc:sldMkLst>
        <pc:spChg chg="mod">
          <ac:chgData name="Marta" userId="eac6eb22-5f14-46b4-a4ea-a86e6e8c4acc" providerId="ADAL" clId="{614D9BA7-5540-4570-B7D4-73DE30F72C80}" dt="2021-11-18T13:09:54.224" v="352" actId="1036"/>
          <ac:spMkLst>
            <pc:docMk/>
            <pc:sldMk cId="1397072693" sldId="938"/>
            <ac:spMk id="2" creationId="{F49F4E2B-EEB0-4736-A001-E9CD8947E750}"/>
          </ac:spMkLst>
        </pc:spChg>
        <pc:spChg chg="mod">
          <ac:chgData name="Marta" userId="eac6eb22-5f14-46b4-a4ea-a86e6e8c4acc" providerId="ADAL" clId="{614D9BA7-5540-4570-B7D4-73DE30F72C80}" dt="2021-11-30T17:16:57.466" v="503"/>
          <ac:spMkLst>
            <pc:docMk/>
            <pc:sldMk cId="1397072693" sldId="938"/>
            <ac:spMk id="6" creationId="{00000000-0000-0000-0000-000000000000}"/>
          </ac:spMkLst>
        </pc:spChg>
      </pc:sldChg>
      <pc:sldChg chg="modSp add del mod">
        <pc:chgData name="Marta" userId="eac6eb22-5f14-46b4-a4ea-a86e6e8c4acc" providerId="ADAL" clId="{614D9BA7-5540-4570-B7D4-73DE30F72C80}" dt="2021-11-15T18:56:53.882" v="158" actId="47"/>
        <pc:sldMkLst>
          <pc:docMk/>
          <pc:sldMk cId="1635268093" sldId="938"/>
        </pc:sldMkLst>
        <pc:spChg chg="mod">
          <ac:chgData name="Marta" userId="eac6eb22-5f14-46b4-a4ea-a86e6e8c4acc" providerId="ADAL" clId="{614D9BA7-5540-4570-B7D4-73DE30F72C80}" dt="2021-11-15T18:56:41.898" v="153" actId="20577"/>
          <ac:spMkLst>
            <pc:docMk/>
            <pc:sldMk cId="1635268093" sldId="938"/>
            <ac:spMk id="6" creationId="{00000000-0000-0000-0000-000000000000}"/>
          </ac:spMkLst>
        </pc:spChg>
        <pc:spChg chg="mod">
          <ac:chgData name="Marta" userId="eac6eb22-5f14-46b4-a4ea-a86e6e8c4acc" providerId="ADAL" clId="{614D9BA7-5540-4570-B7D4-73DE30F72C80}" dt="2021-11-15T18:56:48.081" v="157" actId="20577"/>
          <ac:spMkLst>
            <pc:docMk/>
            <pc:sldMk cId="1635268093" sldId="938"/>
            <ac:spMk id="10" creationId="{66421E13-941D-487E-9F8E-DCFA3FE9C646}"/>
          </ac:spMkLst>
        </pc:spChg>
      </pc:sldChg>
      <pc:sldChg chg="modSp mod">
        <pc:chgData name="Marta" userId="eac6eb22-5f14-46b4-a4ea-a86e6e8c4acc" providerId="ADAL" clId="{614D9BA7-5540-4570-B7D4-73DE30F72C80}" dt="2021-11-30T18:46:43.589" v="528" actId="20577"/>
        <pc:sldMkLst>
          <pc:docMk/>
          <pc:sldMk cId="1889026756" sldId="955"/>
        </pc:sldMkLst>
        <pc:spChg chg="mod">
          <ac:chgData name="Marta" userId="eac6eb22-5f14-46b4-a4ea-a86e6e8c4acc" providerId="ADAL" clId="{614D9BA7-5540-4570-B7D4-73DE30F72C80}" dt="2021-11-30T18:46:43.589" v="528" actId="20577"/>
          <ac:spMkLst>
            <pc:docMk/>
            <pc:sldMk cId="1889026756" sldId="955"/>
            <ac:spMk id="146" creationId="{00000000-0000-0000-0000-000000000000}"/>
          </ac:spMkLst>
        </pc:spChg>
      </pc:sldChg>
      <pc:sldMasterChg chg="delSldLayout">
        <pc:chgData name="Marta" userId="eac6eb22-5f14-46b4-a4ea-a86e6e8c4acc" providerId="ADAL" clId="{614D9BA7-5540-4570-B7D4-73DE30F72C80}" dt="2021-11-15T18:53:36.880" v="89" actId="47"/>
        <pc:sldMasterMkLst>
          <pc:docMk/>
          <pc:sldMasterMk cId="756595898" sldId="2147483890"/>
        </pc:sldMasterMkLst>
        <pc:sldLayoutChg chg="del">
          <pc:chgData name="Marta" userId="eac6eb22-5f14-46b4-a4ea-a86e6e8c4acc" providerId="ADAL" clId="{614D9BA7-5540-4570-B7D4-73DE30F72C80}" dt="2021-11-15T18:53:33.071" v="84" actId="47"/>
          <pc:sldLayoutMkLst>
            <pc:docMk/>
            <pc:sldMasterMk cId="756595898" sldId="2147483890"/>
            <pc:sldLayoutMk cId="1605317671" sldId="2147483879"/>
          </pc:sldLayoutMkLst>
        </pc:sldLayoutChg>
        <pc:sldLayoutChg chg="del">
          <pc:chgData name="Marta" userId="eac6eb22-5f14-46b4-a4ea-a86e6e8c4acc" providerId="ADAL" clId="{614D9BA7-5540-4570-B7D4-73DE30F72C80}" dt="2021-11-15T18:53:36.880" v="89" actId="47"/>
          <pc:sldLayoutMkLst>
            <pc:docMk/>
            <pc:sldMasterMk cId="756595898" sldId="2147483890"/>
            <pc:sldLayoutMk cId="1252259047" sldId="2147483880"/>
          </pc:sldLayoutMkLst>
        </pc:sldLayoutChg>
        <pc:sldLayoutChg chg="del">
          <pc:chgData name="Marta" userId="eac6eb22-5f14-46b4-a4ea-a86e6e8c4acc" providerId="ADAL" clId="{614D9BA7-5540-4570-B7D4-73DE30F72C80}" dt="2021-11-15T18:53:30.986" v="81" actId="47"/>
          <pc:sldLayoutMkLst>
            <pc:docMk/>
            <pc:sldMasterMk cId="756595898" sldId="2147483890"/>
            <pc:sldLayoutMk cId="1133136195" sldId="2147483881"/>
          </pc:sldLayoutMkLst>
        </pc:sldLayoutChg>
      </pc:sldMasterChg>
    </pc:docChg>
  </pc:docChgLst>
  <pc:docChgLst>
    <pc:chgData name="Marta" userId="eac6eb22-5f14-46b4-a4ea-a86e6e8c4acc" providerId="ADAL" clId="{493B601D-AED1-4458-9C3D-290220ACCFB4}"/>
    <pc:docChg chg="undo custSel addSld delSld modSld sldOrd delMainMaster modMainMaster modSection">
      <pc:chgData name="Marta" userId="eac6eb22-5f14-46b4-a4ea-a86e6e8c4acc" providerId="ADAL" clId="{493B601D-AED1-4458-9C3D-290220ACCFB4}" dt="2022-05-20T14:00:19.231" v="855" actId="14100"/>
      <pc:docMkLst>
        <pc:docMk/>
      </pc:docMkLst>
      <pc:sldChg chg="modSp mod">
        <pc:chgData name="Marta" userId="eac6eb22-5f14-46b4-a4ea-a86e6e8c4acc" providerId="ADAL" clId="{493B601D-AED1-4458-9C3D-290220ACCFB4}" dt="2022-05-20T13:10:02.481" v="637" actId="6549"/>
        <pc:sldMkLst>
          <pc:docMk/>
          <pc:sldMk cId="573922979" sldId="256"/>
        </pc:sldMkLst>
        <pc:spChg chg="mod">
          <ac:chgData name="Marta" userId="eac6eb22-5f14-46b4-a4ea-a86e6e8c4acc" providerId="ADAL" clId="{493B601D-AED1-4458-9C3D-290220ACCFB4}" dt="2022-05-20T13:10:02.481" v="637" actId="6549"/>
          <ac:spMkLst>
            <pc:docMk/>
            <pc:sldMk cId="573922979" sldId="256"/>
            <ac:spMk id="4" creationId="{00000000-0000-0000-0000-000000000000}"/>
          </ac:spMkLst>
        </pc:spChg>
      </pc:sldChg>
      <pc:sldChg chg="delSp modSp mod">
        <pc:chgData name="Marta" userId="eac6eb22-5f14-46b4-a4ea-a86e6e8c4acc" providerId="ADAL" clId="{493B601D-AED1-4458-9C3D-290220ACCFB4}" dt="2022-05-20T13:12:55.032" v="664" actId="478"/>
        <pc:sldMkLst>
          <pc:docMk/>
          <pc:sldMk cId="2325718728" sldId="257"/>
        </pc:sldMkLst>
        <pc:spChg chg="mod">
          <ac:chgData name="Marta" userId="eac6eb22-5f14-46b4-a4ea-a86e6e8c4acc" providerId="ADAL" clId="{493B601D-AED1-4458-9C3D-290220ACCFB4}" dt="2022-05-20T12:29:05.566" v="59" actId="20577"/>
          <ac:spMkLst>
            <pc:docMk/>
            <pc:sldMk cId="2325718728" sldId="257"/>
            <ac:spMk id="5" creationId="{00000000-0000-0000-0000-000000000000}"/>
          </ac:spMkLst>
        </pc:spChg>
        <pc:spChg chg="del">
          <ac:chgData name="Marta" userId="eac6eb22-5f14-46b4-a4ea-a86e6e8c4acc" providerId="ADAL" clId="{493B601D-AED1-4458-9C3D-290220ACCFB4}" dt="2022-05-20T13:12:52.608" v="661" actId="478"/>
          <ac:spMkLst>
            <pc:docMk/>
            <pc:sldMk cId="2325718728" sldId="257"/>
            <ac:spMk id="7" creationId="{222A8F0F-EF3C-4138-912C-28DF9E50885E}"/>
          </ac:spMkLst>
        </pc:spChg>
        <pc:spChg chg="del mod">
          <ac:chgData name="Marta" userId="eac6eb22-5f14-46b4-a4ea-a86e6e8c4acc" providerId="ADAL" clId="{493B601D-AED1-4458-9C3D-290220ACCFB4}" dt="2022-05-20T13:12:55.032" v="664" actId="478"/>
          <ac:spMkLst>
            <pc:docMk/>
            <pc:sldMk cId="2325718728" sldId="257"/>
            <ac:spMk id="10" creationId="{F7AE6861-8374-4F79-8159-1B176091E9BA}"/>
          </ac:spMkLst>
        </pc:spChg>
        <pc:picChg chg="del">
          <ac:chgData name="Marta" userId="eac6eb22-5f14-46b4-a4ea-a86e6e8c4acc" providerId="ADAL" clId="{493B601D-AED1-4458-9C3D-290220ACCFB4}" dt="2022-05-20T13:12:53.417" v="662" actId="478"/>
          <ac:picMkLst>
            <pc:docMk/>
            <pc:sldMk cId="2325718728" sldId="257"/>
            <ac:picMk id="1026" creationId="{77F2EAC6-7614-45E6-89F1-9946D1CF4BE3}"/>
          </ac:picMkLst>
        </pc:picChg>
      </pc:sldChg>
      <pc:sldChg chg="delSp modSp mod">
        <pc:chgData name="Marta" userId="eac6eb22-5f14-46b4-a4ea-a86e6e8c4acc" providerId="ADAL" clId="{493B601D-AED1-4458-9C3D-290220ACCFB4}" dt="2022-05-20T13:12:19.684" v="659" actId="478"/>
        <pc:sldMkLst>
          <pc:docMk/>
          <pc:sldMk cId="3528939462" sldId="258"/>
        </pc:sldMkLst>
        <pc:spChg chg="mod">
          <ac:chgData name="Marta" userId="eac6eb22-5f14-46b4-a4ea-a86e6e8c4acc" providerId="ADAL" clId="{493B601D-AED1-4458-9C3D-290220ACCFB4}" dt="2022-05-20T12:31:41.845" v="75"/>
          <ac:spMkLst>
            <pc:docMk/>
            <pc:sldMk cId="3528939462" sldId="258"/>
            <ac:spMk id="4" creationId="{00000000-0000-0000-0000-000000000000}"/>
          </ac:spMkLst>
        </pc:spChg>
        <pc:spChg chg="del">
          <ac:chgData name="Marta" userId="eac6eb22-5f14-46b4-a4ea-a86e6e8c4acc" providerId="ADAL" clId="{493B601D-AED1-4458-9C3D-290220ACCFB4}" dt="2022-05-20T13:12:19.684" v="659" actId="478"/>
          <ac:spMkLst>
            <pc:docMk/>
            <pc:sldMk cId="3528939462" sldId="258"/>
            <ac:spMk id="21" creationId="{89F0784B-B103-4FA9-88CA-37660A3C3BC7}"/>
          </ac:spMkLst>
        </pc:spChg>
        <pc:spChg chg="del">
          <ac:chgData name="Marta" userId="eac6eb22-5f14-46b4-a4ea-a86e6e8c4acc" providerId="ADAL" clId="{493B601D-AED1-4458-9C3D-290220ACCFB4}" dt="2022-05-20T13:12:19.684" v="659" actId="478"/>
          <ac:spMkLst>
            <pc:docMk/>
            <pc:sldMk cId="3528939462" sldId="258"/>
            <ac:spMk id="22" creationId="{7F7BFA3A-BC93-467F-8F8C-E5B34A9B126B}"/>
          </ac:spMkLst>
        </pc:spChg>
        <pc:picChg chg="del">
          <ac:chgData name="Marta" userId="eac6eb22-5f14-46b4-a4ea-a86e6e8c4acc" providerId="ADAL" clId="{493B601D-AED1-4458-9C3D-290220ACCFB4}" dt="2022-05-20T13:12:19.684" v="659" actId="478"/>
          <ac:picMkLst>
            <pc:docMk/>
            <pc:sldMk cId="3528939462" sldId="258"/>
            <ac:picMk id="23" creationId="{6BCCEFA5-4C21-41C2-A1D5-A56DFE520308}"/>
          </ac:picMkLst>
        </pc:picChg>
      </pc:sldChg>
      <pc:sldChg chg="addSp delSp modSp mod">
        <pc:chgData name="Marta" userId="eac6eb22-5f14-46b4-a4ea-a86e6e8c4acc" providerId="ADAL" clId="{493B601D-AED1-4458-9C3D-290220ACCFB4}" dt="2022-05-20T13:45:47.128" v="836" actId="20577"/>
        <pc:sldMkLst>
          <pc:docMk/>
          <pc:sldMk cId="3828261807" sldId="443"/>
        </pc:sldMkLst>
        <pc:spChg chg="add">
          <ac:chgData name="Marta" userId="eac6eb22-5f14-46b4-a4ea-a86e6e8c4acc" providerId="ADAL" clId="{493B601D-AED1-4458-9C3D-290220ACCFB4}" dt="2022-05-20T13:44:56.739" v="695" actId="22"/>
          <ac:spMkLst>
            <pc:docMk/>
            <pc:sldMk cId="3828261807" sldId="443"/>
            <ac:spMk id="2" creationId="{336D7662-30CC-465F-B484-884B38F6F8BF}"/>
          </ac:spMkLst>
        </pc:spChg>
        <pc:spChg chg="mod">
          <ac:chgData name="Marta" userId="eac6eb22-5f14-46b4-a4ea-a86e6e8c4acc" providerId="ADAL" clId="{493B601D-AED1-4458-9C3D-290220ACCFB4}" dt="2022-05-20T13:45:47.128" v="836" actId="20577"/>
          <ac:spMkLst>
            <pc:docMk/>
            <pc:sldMk cId="3828261807" sldId="443"/>
            <ac:spMk id="8" creationId="{6905132D-210A-4783-BB7A-D763FAE872C9}"/>
          </ac:spMkLst>
        </pc:spChg>
        <pc:spChg chg="del">
          <ac:chgData name="Marta" userId="eac6eb22-5f14-46b4-a4ea-a86e6e8c4acc" providerId="ADAL" clId="{493B601D-AED1-4458-9C3D-290220ACCFB4}" dt="2022-05-20T13:13:31.376" v="669" actId="478"/>
          <ac:spMkLst>
            <pc:docMk/>
            <pc:sldMk cId="3828261807" sldId="443"/>
            <ac:spMk id="12" creationId="{46DE8F3E-9532-43FC-BF69-6BE02D1B7543}"/>
          </ac:spMkLst>
        </pc:spChg>
        <pc:spChg chg="del">
          <ac:chgData name="Marta" userId="eac6eb22-5f14-46b4-a4ea-a86e6e8c4acc" providerId="ADAL" clId="{493B601D-AED1-4458-9C3D-290220ACCFB4}" dt="2022-05-20T13:13:31.376" v="669" actId="478"/>
          <ac:spMkLst>
            <pc:docMk/>
            <pc:sldMk cId="3828261807" sldId="443"/>
            <ac:spMk id="13" creationId="{1FC24D19-9938-4B73-89F1-3C02B6FFC002}"/>
          </ac:spMkLst>
        </pc:spChg>
        <pc:picChg chg="del">
          <ac:chgData name="Marta" userId="eac6eb22-5f14-46b4-a4ea-a86e6e8c4acc" providerId="ADAL" clId="{493B601D-AED1-4458-9C3D-290220ACCFB4}" dt="2022-05-20T13:13:31.376" v="669" actId="478"/>
          <ac:picMkLst>
            <pc:docMk/>
            <pc:sldMk cId="3828261807" sldId="443"/>
            <ac:picMk id="14" creationId="{DEC8DBAF-CD2B-425A-A098-5286DF098673}"/>
          </ac:picMkLst>
        </pc:picChg>
      </pc:sldChg>
      <pc:sldChg chg="addSp delSp modSp mod">
        <pc:chgData name="Marta" userId="eac6eb22-5f14-46b4-a4ea-a86e6e8c4acc" providerId="ADAL" clId="{493B601D-AED1-4458-9C3D-290220ACCFB4}" dt="2022-05-20T14:00:19.231" v="855" actId="14100"/>
        <pc:sldMkLst>
          <pc:docMk/>
          <pc:sldMk cId="2693195115" sldId="461"/>
        </pc:sldMkLst>
        <pc:spChg chg="add del mod">
          <ac:chgData name="Marta" userId="eac6eb22-5f14-46b4-a4ea-a86e6e8c4acc" providerId="ADAL" clId="{493B601D-AED1-4458-9C3D-290220ACCFB4}" dt="2022-05-20T12:51:05.766" v="356" actId="478"/>
          <ac:spMkLst>
            <pc:docMk/>
            <pc:sldMk cId="2693195115" sldId="461"/>
            <ac:spMk id="6" creationId="{6A8958D4-FE2C-43EE-84DF-A9159D9EA106}"/>
          </ac:spMkLst>
        </pc:spChg>
        <pc:spChg chg="add mod">
          <ac:chgData name="Marta" userId="eac6eb22-5f14-46b4-a4ea-a86e6e8c4acc" providerId="ADAL" clId="{493B601D-AED1-4458-9C3D-290220ACCFB4}" dt="2022-05-20T14:00:19.231" v="855" actId="14100"/>
          <ac:spMkLst>
            <pc:docMk/>
            <pc:sldMk cId="2693195115" sldId="461"/>
            <ac:spMk id="11" creationId="{4B37742C-E7B3-4B6F-B7F7-41C69047103B}"/>
          </ac:spMkLst>
        </pc:spChg>
        <pc:spChg chg="del">
          <ac:chgData name="Marta" userId="eac6eb22-5f14-46b4-a4ea-a86e6e8c4acc" providerId="ADAL" clId="{493B601D-AED1-4458-9C3D-290220ACCFB4}" dt="2022-05-20T13:13:13.133" v="668" actId="478"/>
          <ac:spMkLst>
            <pc:docMk/>
            <pc:sldMk cId="2693195115" sldId="461"/>
            <ac:spMk id="13" creationId="{34D5C63C-BF1D-4931-95F2-E660DDDFBD5D}"/>
          </ac:spMkLst>
        </pc:spChg>
        <pc:spChg chg="del">
          <ac:chgData name="Marta" userId="eac6eb22-5f14-46b4-a4ea-a86e6e8c4acc" providerId="ADAL" clId="{493B601D-AED1-4458-9C3D-290220ACCFB4}" dt="2022-05-20T12:51:00.689" v="355" actId="478"/>
          <ac:spMkLst>
            <pc:docMk/>
            <pc:sldMk cId="2693195115" sldId="461"/>
            <ac:spMk id="14" creationId="{81CEB081-CD23-4709-BA68-D3043B6010C2}"/>
          </ac:spMkLst>
        </pc:spChg>
        <pc:spChg chg="del">
          <ac:chgData name="Marta" userId="eac6eb22-5f14-46b4-a4ea-a86e6e8c4acc" providerId="ADAL" clId="{493B601D-AED1-4458-9C3D-290220ACCFB4}" dt="2022-05-20T13:13:13.133" v="668" actId="478"/>
          <ac:spMkLst>
            <pc:docMk/>
            <pc:sldMk cId="2693195115" sldId="461"/>
            <ac:spMk id="15" creationId="{F38C0B71-C653-4C45-9F9E-9767FC404468}"/>
          </ac:spMkLst>
        </pc:spChg>
        <pc:picChg chg="del">
          <ac:chgData name="Marta" userId="eac6eb22-5f14-46b4-a4ea-a86e6e8c4acc" providerId="ADAL" clId="{493B601D-AED1-4458-9C3D-290220ACCFB4}" dt="2022-05-20T12:50:39.687" v="351" actId="478"/>
          <ac:picMkLst>
            <pc:docMk/>
            <pc:sldMk cId="2693195115" sldId="461"/>
            <ac:picMk id="3" creationId="{B6B80CDE-C545-417F-9694-B46760E31DC4}"/>
          </ac:picMkLst>
        </pc:picChg>
        <pc:picChg chg="add mod">
          <ac:chgData name="Marta" userId="eac6eb22-5f14-46b4-a4ea-a86e6e8c4acc" providerId="ADAL" clId="{493B601D-AED1-4458-9C3D-290220ACCFB4}" dt="2022-05-20T12:51:13.132" v="360" actId="1076"/>
          <ac:picMkLst>
            <pc:docMk/>
            <pc:sldMk cId="2693195115" sldId="461"/>
            <ac:picMk id="4" creationId="{B6BAE143-C1D7-46E8-9E78-64DDAB0135C8}"/>
          </ac:picMkLst>
        </pc:picChg>
        <pc:picChg chg="del">
          <ac:chgData name="Marta" userId="eac6eb22-5f14-46b4-a4ea-a86e6e8c4acc" providerId="ADAL" clId="{493B601D-AED1-4458-9C3D-290220ACCFB4}" dt="2022-05-20T13:13:13.133" v="668" actId="478"/>
          <ac:picMkLst>
            <pc:docMk/>
            <pc:sldMk cId="2693195115" sldId="461"/>
            <ac:picMk id="17" creationId="{2EA962B5-C63F-44D1-AFA2-8EE5D53270EB}"/>
          </ac:picMkLst>
        </pc:picChg>
      </pc:sldChg>
      <pc:sldChg chg="delSp modSp mod">
        <pc:chgData name="Marta" userId="eac6eb22-5f14-46b4-a4ea-a86e6e8c4acc" providerId="ADAL" clId="{493B601D-AED1-4458-9C3D-290220ACCFB4}" dt="2022-05-20T13:46:18.131" v="853" actId="1076"/>
        <pc:sldMkLst>
          <pc:docMk/>
          <pc:sldMk cId="1484635905" sldId="753"/>
        </pc:sldMkLst>
        <pc:spChg chg="mod">
          <ac:chgData name="Marta" userId="eac6eb22-5f14-46b4-a4ea-a86e6e8c4acc" providerId="ADAL" clId="{493B601D-AED1-4458-9C3D-290220ACCFB4}" dt="2022-05-20T13:46:18.131" v="853" actId="1076"/>
          <ac:spMkLst>
            <pc:docMk/>
            <pc:sldMk cId="1484635905" sldId="753"/>
            <ac:spMk id="3" creationId="{49BBA79F-5F7E-4DC1-BE4A-E43D184D8E06}"/>
          </ac:spMkLst>
        </pc:spChg>
        <pc:spChg chg="mod">
          <ac:chgData name="Marta" userId="eac6eb22-5f14-46b4-a4ea-a86e6e8c4acc" providerId="ADAL" clId="{493B601D-AED1-4458-9C3D-290220ACCFB4}" dt="2022-05-20T13:08:46.985" v="622" actId="20577"/>
          <ac:spMkLst>
            <pc:docMk/>
            <pc:sldMk cId="1484635905" sldId="753"/>
            <ac:spMk id="6" creationId="{00000000-0000-0000-0000-000000000000}"/>
          </ac:spMkLst>
        </pc:spChg>
        <pc:spChg chg="del">
          <ac:chgData name="Marta" userId="eac6eb22-5f14-46b4-a4ea-a86e6e8c4acc" providerId="ADAL" clId="{493B601D-AED1-4458-9C3D-290220ACCFB4}" dt="2022-05-20T13:13:34.596" v="670" actId="478"/>
          <ac:spMkLst>
            <pc:docMk/>
            <pc:sldMk cId="1484635905" sldId="753"/>
            <ac:spMk id="15" creationId="{6C45A98E-AC80-44DF-B63D-4507B8B5C8C3}"/>
          </ac:spMkLst>
        </pc:spChg>
        <pc:spChg chg="del">
          <ac:chgData name="Marta" userId="eac6eb22-5f14-46b4-a4ea-a86e6e8c4acc" providerId="ADAL" clId="{493B601D-AED1-4458-9C3D-290220ACCFB4}" dt="2022-05-20T13:13:34.596" v="670" actId="478"/>
          <ac:spMkLst>
            <pc:docMk/>
            <pc:sldMk cId="1484635905" sldId="753"/>
            <ac:spMk id="16" creationId="{20BCA566-E139-4F03-8BBC-585AFB6B99A6}"/>
          </ac:spMkLst>
        </pc:spChg>
        <pc:picChg chg="del">
          <ac:chgData name="Marta" userId="eac6eb22-5f14-46b4-a4ea-a86e6e8c4acc" providerId="ADAL" clId="{493B601D-AED1-4458-9C3D-290220ACCFB4}" dt="2022-05-20T13:13:34.596" v="670" actId="478"/>
          <ac:picMkLst>
            <pc:docMk/>
            <pc:sldMk cId="1484635905" sldId="753"/>
            <ac:picMk id="17" creationId="{D170D516-A40D-417F-8421-7D89F1C8E25C}"/>
          </ac:picMkLst>
        </pc:picChg>
      </pc:sldChg>
      <pc:sldChg chg="delSp modSp mod">
        <pc:chgData name="Marta" userId="eac6eb22-5f14-46b4-a4ea-a86e6e8c4acc" providerId="ADAL" clId="{493B601D-AED1-4458-9C3D-290220ACCFB4}" dt="2022-05-20T13:13:43.672" v="673" actId="478"/>
        <pc:sldMkLst>
          <pc:docMk/>
          <pc:sldMk cId="2932444859" sldId="756"/>
        </pc:sldMkLst>
        <pc:spChg chg="mod">
          <ac:chgData name="Marta" userId="eac6eb22-5f14-46b4-a4ea-a86e6e8c4acc" providerId="ADAL" clId="{493B601D-AED1-4458-9C3D-290220ACCFB4}" dt="2022-05-20T13:09:09.851" v="625"/>
          <ac:spMkLst>
            <pc:docMk/>
            <pc:sldMk cId="2932444859" sldId="756"/>
            <ac:spMk id="4" creationId="{00000000-0000-0000-0000-000000000000}"/>
          </ac:spMkLst>
        </pc:spChg>
        <pc:spChg chg="mod">
          <ac:chgData name="Marta" userId="eac6eb22-5f14-46b4-a4ea-a86e6e8c4acc" providerId="ADAL" clId="{493B601D-AED1-4458-9C3D-290220ACCFB4}" dt="2022-05-20T13:08:13.112" v="582" actId="20577"/>
          <ac:spMkLst>
            <pc:docMk/>
            <pc:sldMk cId="2932444859" sldId="756"/>
            <ac:spMk id="8" creationId="{994CAA25-984D-4484-838B-9B092E7155F2}"/>
          </ac:spMkLst>
        </pc:spChg>
        <pc:spChg chg="del">
          <ac:chgData name="Marta" userId="eac6eb22-5f14-46b4-a4ea-a86e6e8c4acc" providerId="ADAL" clId="{493B601D-AED1-4458-9C3D-290220ACCFB4}" dt="2022-05-20T13:13:43.672" v="673" actId="478"/>
          <ac:spMkLst>
            <pc:docMk/>
            <pc:sldMk cId="2932444859" sldId="756"/>
            <ac:spMk id="11" creationId="{0D988C80-95C6-42A4-B26B-145B0BC7C404}"/>
          </ac:spMkLst>
        </pc:spChg>
        <pc:spChg chg="del">
          <ac:chgData name="Marta" userId="eac6eb22-5f14-46b4-a4ea-a86e6e8c4acc" providerId="ADAL" clId="{493B601D-AED1-4458-9C3D-290220ACCFB4}" dt="2022-05-20T13:13:43.672" v="673" actId="478"/>
          <ac:spMkLst>
            <pc:docMk/>
            <pc:sldMk cId="2932444859" sldId="756"/>
            <ac:spMk id="13" creationId="{69CDC71E-2ADC-4E43-86EC-45ECC0628026}"/>
          </ac:spMkLst>
        </pc:spChg>
        <pc:picChg chg="del">
          <ac:chgData name="Marta" userId="eac6eb22-5f14-46b4-a4ea-a86e6e8c4acc" providerId="ADAL" clId="{493B601D-AED1-4458-9C3D-290220ACCFB4}" dt="2022-05-20T13:13:43.672" v="673" actId="478"/>
          <ac:picMkLst>
            <pc:docMk/>
            <pc:sldMk cId="2932444859" sldId="756"/>
            <ac:picMk id="14" creationId="{DBAA60BC-8150-45D5-90CE-79DE208AD16B}"/>
          </ac:picMkLst>
        </pc:picChg>
      </pc:sldChg>
      <pc:sldChg chg="addSp delSp modSp mod">
        <pc:chgData name="Marta" userId="eac6eb22-5f14-46b4-a4ea-a86e6e8c4acc" providerId="ADAL" clId="{493B601D-AED1-4458-9C3D-290220ACCFB4}" dt="2022-05-20T13:13:01.293" v="665" actId="478"/>
        <pc:sldMkLst>
          <pc:docMk/>
          <pc:sldMk cId="4279644075" sldId="759"/>
        </pc:sldMkLst>
        <pc:spChg chg="mod">
          <ac:chgData name="Marta" userId="eac6eb22-5f14-46b4-a4ea-a86e6e8c4acc" providerId="ADAL" clId="{493B601D-AED1-4458-9C3D-290220ACCFB4}" dt="2022-05-20T12:31:49.703" v="76"/>
          <ac:spMkLst>
            <pc:docMk/>
            <pc:sldMk cId="4279644075" sldId="759"/>
            <ac:spMk id="3" creationId="{00000000-0000-0000-0000-000000000000}"/>
          </ac:spMkLst>
        </pc:spChg>
        <pc:spChg chg="del">
          <ac:chgData name="Marta" userId="eac6eb22-5f14-46b4-a4ea-a86e6e8c4acc" providerId="ADAL" clId="{493B601D-AED1-4458-9C3D-290220ACCFB4}" dt="2022-05-20T12:30:44.695" v="70" actId="478"/>
          <ac:spMkLst>
            <pc:docMk/>
            <pc:sldMk cId="4279644075" sldId="759"/>
            <ac:spMk id="7" creationId="{C542E130-C53F-4C9B-A35D-CF6E6831ABC8}"/>
          </ac:spMkLst>
        </pc:spChg>
        <pc:spChg chg="add mod">
          <ac:chgData name="Marta" userId="eac6eb22-5f14-46b4-a4ea-a86e6e8c4acc" providerId="ADAL" clId="{493B601D-AED1-4458-9C3D-290220ACCFB4}" dt="2022-05-20T12:31:28.547" v="74" actId="20577"/>
          <ac:spMkLst>
            <pc:docMk/>
            <pc:sldMk cId="4279644075" sldId="759"/>
            <ac:spMk id="9" creationId="{5EB1A567-6EC8-4912-9C2F-000067B6D567}"/>
          </ac:spMkLst>
        </pc:spChg>
        <pc:spChg chg="del">
          <ac:chgData name="Marta" userId="eac6eb22-5f14-46b4-a4ea-a86e6e8c4acc" providerId="ADAL" clId="{493B601D-AED1-4458-9C3D-290220ACCFB4}" dt="2022-05-20T13:13:01.293" v="665" actId="478"/>
          <ac:spMkLst>
            <pc:docMk/>
            <pc:sldMk cId="4279644075" sldId="759"/>
            <ac:spMk id="11" creationId="{D346C285-4B4E-4B4C-86CA-03EE65A9E806}"/>
          </ac:spMkLst>
        </pc:spChg>
        <pc:spChg chg="del">
          <ac:chgData name="Marta" userId="eac6eb22-5f14-46b4-a4ea-a86e6e8c4acc" providerId="ADAL" clId="{493B601D-AED1-4458-9C3D-290220ACCFB4}" dt="2022-05-20T13:13:01.293" v="665" actId="478"/>
          <ac:spMkLst>
            <pc:docMk/>
            <pc:sldMk cId="4279644075" sldId="759"/>
            <ac:spMk id="12" creationId="{0861272F-5156-463C-9C6F-4527EAAA90F2}"/>
          </ac:spMkLst>
        </pc:spChg>
        <pc:picChg chg="del">
          <ac:chgData name="Marta" userId="eac6eb22-5f14-46b4-a4ea-a86e6e8c4acc" providerId="ADAL" clId="{493B601D-AED1-4458-9C3D-290220ACCFB4}" dt="2022-05-20T13:13:01.293" v="665" actId="478"/>
          <ac:picMkLst>
            <pc:docMk/>
            <pc:sldMk cId="4279644075" sldId="759"/>
            <ac:picMk id="13" creationId="{9E1787E6-A7FA-4562-B615-C9D88C8267E5}"/>
          </ac:picMkLst>
        </pc:picChg>
        <pc:picChg chg="add mod">
          <ac:chgData name="Marta" userId="eac6eb22-5f14-46b4-a4ea-a86e6e8c4acc" providerId="ADAL" clId="{493B601D-AED1-4458-9C3D-290220ACCFB4}" dt="2022-05-20T12:30:11.512" v="61"/>
          <ac:picMkLst>
            <pc:docMk/>
            <pc:sldMk cId="4279644075" sldId="759"/>
            <ac:picMk id="14" creationId="{E94AA244-FAD6-4D15-9003-5EA0AE20608F}"/>
          </ac:picMkLst>
        </pc:picChg>
        <pc:picChg chg="del">
          <ac:chgData name="Marta" userId="eac6eb22-5f14-46b4-a4ea-a86e6e8c4acc" providerId="ADAL" clId="{493B601D-AED1-4458-9C3D-290220ACCFB4}" dt="2022-05-20T12:30:10.392" v="60" actId="478"/>
          <ac:picMkLst>
            <pc:docMk/>
            <pc:sldMk cId="4279644075" sldId="759"/>
            <ac:picMk id="17" creationId="{FB05D3D8-F9EA-47C7-80E6-01BF7DFC367A}"/>
          </ac:picMkLst>
        </pc:picChg>
      </pc:sldChg>
      <pc:sldChg chg="del">
        <pc:chgData name="Marta" userId="eac6eb22-5f14-46b4-a4ea-a86e6e8c4acc" providerId="ADAL" clId="{493B601D-AED1-4458-9C3D-290220ACCFB4}" dt="2022-05-20T13:05:24.303" v="532" actId="47"/>
        <pc:sldMkLst>
          <pc:docMk/>
          <pc:sldMk cId="1299466057" sldId="769"/>
        </pc:sldMkLst>
      </pc:sldChg>
      <pc:sldChg chg="del">
        <pc:chgData name="Marta" userId="eac6eb22-5f14-46b4-a4ea-a86e6e8c4acc" providerId="ADAL" clId="{493B601D-AED1-4458-9C3D-290220ACCFB4}" dt="2022-05-20T13:05:26.776" v="533" actId="47"/>
        <pc:sldMkLst>
          <pc:docMk/>
          <pc:sldMk cId="720284508" sldId="770"/>
        </pc:sldMkLst>
      </pc:sldChg>
      <pc:sldChg chg="addSp delSp modSp mod ord">
        <pc:chgData name="Marta" userId="eac6eb22-5f14-46b4-a4ea-a86e6e8c4acc" providerId="ADAL" clId="{493B601D-AED1-4458-9C3D-290220ACCFB4}" dt="2022-05-20T13:13:10.027" v="667" actId="478"/>
        <pc:sldMkLst>
          <pc:docMk/>
          <pc:sldMk cId="3888553813" sldId="879"/>
        </pc:sldMkLst>
        <pc:spChg chg="mod">
          <ac:chgData name="Marta" userId="eac6eb22-5f14-46b4-a4ea-a86e6e8c4acc" providerId="ADAL" clId="{493B601D-AED1-4458-9C3D-290220ACCFB4}" dt="2022-05-20T12:31:54.488" v="77"/>
          <ac:spMkLst>
            <pc:docMk/>
            <pc:sldMk cId="3888553813" sldId="879"/>
            <ac:spMk id="2" creationId="{91383D11-DEC4-4BFF-88BB-8FB2206CEB37}"/>
          </ac:spMkLst>
        </pc:spChg>
        <pc:spChg chg="add mod">
          <ac:chgData name="Marta" userId="eac6eb22-5f14-46b4-a4ea-a86e6e8c4acc" providerId="ADAL" clId="{493B601D-AED1-4458-9C3D-290220ACCFB4}" dt="2022-05-20T12:45:18.650" v="346" actId="20577"/>
          <ac:spMkLst>
            <pc:docMk/>
            <pc:sldMk cId="3888553813" sldId="879"/>
            <ac:spMk id="3" creationId="{3B1DFF75-F040-4E8B-993F-2558423D2ACD}"/>
          </ac:spMkLst>
        </pc:spChg>
        <pc:spChg chg="del mod">
          <ac:chgData name="Marta" userId="eac6eb22-5f14-46b4-a4ea-a86e6e8c4acc" providerId="ADAL" clId="{493B601D-AED1-4458-9C3D-290220ACCFB4}" dt="2022-05-20T12:45:21.596" v="347" actId="478"/>
          <ac:spMkLst>
            <pc:docMk/>
            <pc:sldMk cId="3888553813" sldId="879"/>
            <ac:spMk id="4" creationId="{E8E02AC0-EA95-4CA2-B250-70F98D25C504}"/>
          </ac:spMkLst>
        </pc:spChg>
        <pc:spChg chg="add del mod">
          <ac:chgData name="Marta" userId="eac6eb22-5f14-46b4-a4ea-a86e6e8c4acc" providerId="ADAL" clId="{493B601D-AED1-4458-9C3D-290220ACCFB4}" dt="2022-05-20T12:45:24.398" v="348" actId="478"/>
          <ac:spMkLst>
            <pc:docMk/>
            <pc:sldMk cId="3888553813" sldId="879"/>
            <ac:spMk id="8" creationId="{3A54F7B0-835F-4FBD-8D7D-39706F904D66}"/>
          </ac:spMkLst>
        </pc:spChg>
        <pc:spChg chg="del">
          <ac:chgData name="Marta" userId="eac6eb22-5f14-46b4-a4ea-a86e6e8c4acc" providerId="ADAL" clId="{493B601D-AED1-4458-9C3D-290220ACCFB4}" dt="2022-05-20T13:13:10.027" v="667" actId="478"/>
          <ac:spMkLst>
            <pc:docMk/>
            <pc:sldMk cId="3888553813" sldId="879"/>
            <ac:spMk id="18" creationId="{C4506E1A-E304-4CB4-8660-6D724E0B06AD}"/>
          </ac:spMkLst>
        </pc:spChg>
        <pc:spChg chg="del">
          <ac:chgData name="Marta" userId="eac6eb22-5f14-46b4-a4ea-a86e6e8c4acc" providerId="ADAL" clId="{493B601D-AED1-4458-9C3D-290220ACCFB4}" dt="2022-05-20T13:13:10.027" v="667" actId="478"/>
          <ac:spMkLst>
            <pc:docMk/>
            <pc:sldMk cId="3888553813" sldId="879"/>
            <ac:spMk id="19" creationId="{3B4D6011-62B7-42F0-9442-638B6CEF922D}"/>
          </ac:spMkLst>
        </pc:spChg>
        <pc:picChg chg="del">
          <ac:chgData name="Marta" userId="eac6eb22-5f14-46b4-a4ea-a86e6e8c4acc" providerId="ADAL" clId="{493B601D-AED1-4458-9C3D-290220ACCFB4}" dt="2022-05-20T13:13:10.027" v="667" actId="478"/>
          <ac:picMkLst>
            <pc:docMk/>
            <pc:sldMk cId="3888553813" sldId="879"/>
            <ac:picMk id="20" creationId="{7A71E7BE-3ED4-40E3-A4DD-B53305B980A0}"/>
          </ac:picMkLst>
        </pc:picChg>
      </pc:sldChg>
      <pc:sldChg chg="delSp modSp mod">
        <pc:chgData name="Marta" userId="eac6eb22-5f14-46b4-a4ea-a86e6e8c4acc" providerId="ADAL" clId="{493B601D-AED1-4458-9C3D-290220ACCFB4}" dt="2022-05-20T13:13:40.846" v="672" actId="478"/>
        <pc:sldMkLst>
          <pc:docMk/>
          <pc:sldMk cId="644561616" sldId="901"/>
        </pc:sldMkLst>
        <pc:spChg chg="mod">
          <ac:chgData name="Marta" userId="eac6eb22-5f14-46b4-a4ea-a86e6e8c4acc" providerId="ADAL" clId="{493B601D-AED1-4458-9C3D-290220ACCFB4}" dt="2022-05-20T13:06:40.590" v="564" actId="21"/>
          <ac:spMkLst>
            <pc:docMk/>
            <pc:sldMk cId="644561616" sldId="901"/>
            <ac:spMk id="2" creationId="{F49F4E2B-EEB0-4736-A001-E9CD8947E750}"/>
          </ac:spMkLst>
        </pc:spChg>
        <pc:spChg chg="mod">
          <ac:chgData name="Marta" userId="eac6eb22-5f14-46b4-a4ea-a86e6e8c4acc" providerId="ADAL" clId="{493B601D-AED1-4458-9C3D-290220ACCFB4}" dt="2022-05-20T13:09:03.687" v="624"/>
          <ac:spMkLst>
            <pc:docMk/>
            <pc:sldMk cId="644561616" sldId="901"/>
            <ac:spMk id="6" creationId="{00000000-0000-0000-0000-000000000000}"/>
          </ac:spMkLst>
        </pc:spChg>
        <pc:spChg chg="del">
          <ac:chgData name="Marta" userId="eac6eb22-5f14-46b4-a4ea-a86e6e8c4acc" providerId="ADAL" clId="{493B601D-AED1-4458-9C3D-290220ACCFB4}" dt="2022-05-20T13:13:40.846" v="672" actId="478"/>
          <ac:spMkLst>
            <pc:docMk/>
            <pc:sldMk cId="644561616" sldId="901"/>
            <ac:spMk id="9" creationId="{5A7A5259-8D24-4DAF-A13B-D1C02E9A1165}"/>
          </ac:spMkLst>
        </pc:spChg>
        <pc:spChg chg="del">
          <ac:chgData name="Marta" userId="eac6eb22-5f14-46b4-a4ea-a86e6e8c4acc" providerId="ADAL" clId="{493B601D-AED1-4458-9C3D-290220ACCFB4}" dt="2022-05-20T13:13:40.846" v="672" actId="478"/>
          <ac:spMkLst>
            <pc:docMk/>
            <pc:sldMk cId="644561616" sldId="901"/>
            <ac:spMk id="11" creationId="{7A6FFD4D-A740-46D2-B767-11FF65B7A9E3}"/>
          </ac:spMkLst>
        </pc:spChg>
        <pc:picChg chg="del">
          <ac:chgData name="Marta" userId="eac6eb22-5f14-46b4-a4ea-a86e6e8c4acc" providerId="ADAL" clId="{493B601D-AED1-4458-9C3D-290220ACCFB4}" dt="2022-05-20T13:13:40.846" v="672" actId="478"/>
          <ac:picMkLst>
            <pc:docMk/>
            <pc:sldMk cId="644561616" sldId="901"/>
            <ac:picMk id="12" creationId="{A4775AD3-1CB4-4F03-A27C-36B67B65582D}"/>
          </ac:picMkLst>
        </pc:picChg>
      </pc:sldChg>
      <pc:sldChg chg="del">
        <pc:chgData name="Marta" userId="eac6eb22-5f14-46b4-a4ea-a86e6e8c4acc" providerId="ADAL" clId="{493B601D-AED1-4458-9C3D-290220ACCFB4}" dt="2022-05-20T13:05:22.522" v="531" actId="47"/>
        <pc:sldMkLst>
          <pc:docMk/>
          <pc:sldMk cId="2970493180" sldId="920"/>
        </pc:sldMkLst>
      </pc:sldChg>
      <pc:sldChg chg="addSp delSp modSp mod">
        <pc:chgData name="Marta" userId="eac6eb22-5f14-46b4-a4ea-a86e6e8c4acc" providerId="ADAL" clId="{493B601D-AED1-4458-9C3D-290220ACCFB4}" dt="2022-05-20T13:13:38.351" v="671" actId="478"/>
        <pc:sldMkLst>
          <pc:docMk/>
          <pc:sldMk cId="1397072693" sldId="938"/>
        </pc:sldMkLst>
        <pc:spChg chg="mod">
          <ac:chgData name="Marta" userId="eac6eb22-5f14-46b4-a4ea-a86e6e8c4acc" providerId="ADAL" clId="{493B601D-AED1-4458-9C3D-290220ACCFB4}" dt="2022-05-20T13:07:05.276" v="569" actId="20577"/>
          <ac:spMkLst>
            <pc:docMk/>
            <pc:sldMk cId="1397072693" sldId="938"/>
            <ac:spMk id="2" creationId="{F49F4E2B-EEB0-4736-A001-E9CD8947E750}"/>
          </ac:spMkLst>
        </pc:spChg>
        <pc:spChg chg="mod">
          <ac:chgData name="Marta" userId="eac6eb22-5f14-46b4-a4ea-a86e6e8c4acc" providerId="ADAL" clId="{493B601D-AED1-4458-9C3D-290220ACCFB4}" dt="2022-05-20T13:08:58.995" v="623"/>
          <ac:spMkLst>
            <pc:docMk/>
            <pc:sldMk cId="1397072693" sldId="938"/>
            <ac:spMk id="6" creationId="{00000000-0000-0000-0000-000000000000}"/>
          </ac:spMkLst>
        </pc:spChg>
        <pc:spChg chg="del">
          <ac:chgData name="Marta" userId="eac6eb22-5f14-46b4-a4ea-a86e6e8c4acc" providerId="ADAL" clId="{493B601D-AED1-4458-9C3D-290220ACCFB4}" dt="2022-05-20T13:13:38.351" v="671" actId="478"/>
          <ac:spMkLst>
            <pc:docMk/>
            <pc:sldMk cId="1397072693" sldId="938"/>
            <ac:spMk id="8" creationId="{9223B154-E083-489C-A80D-22DC05D31E33}"/>
          </ac:spMkLst>
        </pc:spChg>
        <pc:spChg chg="del">
          <ac:chgData name="Marta" userId="eac6eb22-5f14-46b4-a4ea-a86e6e8c4acc" providerId="ADAL" clId="{493B601D-AED1-4458-9C3D-290220ACCFB4}" dt="2022-05-20T13:13:38.351" v="671" actId="478"/>
          <ac:spMkLst>
            <pc:docMk/>
            <pc:sldMk cId="1397072693" sldId="938"/>
            <ac:spMk id="9" creationId="{E443DB69-46CA-4B4F-86F7-2723F51EC9DC}"/>
          </ac:spMkLst>
        </pc:spChg>
        <pc:picChg chg="add">
          <ac:chgData name="Marta" userId="eac6eb22-5f14-46b4-a4ea-a86e6e8c4acc" providerId="ADAL" clId="{493B601D-AED1-4458-9C3D-290220ACCFB4}" dt="2022-05-20T13:07:34.159" v="570" actId="22"/>
          <ac:picMkLst>
            <pc:docMk/>
            <pc:sldMk cId="1397072693" sldId="938"/>
            <ac:picMk id="3" creationId="{DCE8CCEF-FE53-4CB2-A36C-1E74395FE22B}"/>
          </ac:picMkLst>
        </pc:picChg>
        <pc:picChg chg="del">
          <ac:chgData name="Marta" userId="eac6eb22-5f14-46b4-a4ea-a86e6e8c4acc" providerId="ADAL" clId="{493B601D-AED1-4458-9C3D-290220ACCFB4}" dt="2022-05-20T13:13:38.351" v="671" actId="478"/>
          <ac:picMkLst>
            <pc:docMk/>
            <pc:sldMk cId="1397072693" sldId="938"/>
            <ac:picMk id="11" creationId="{0D1F3D81-B57B-473B-BE8A-409038421DEE}"/>
          </ac:picMkLst>
        </pc:picChg>
      </pc:sldChg>
      <pc:sldChg chg="addSp delSp modSp mod">
        <pc:chgData name="Marta" userId="eac6eb22-5f14-46b4-a4ea-a86e6e8c4acc" providerId="ADAL" clId="{493B601D-AED1-4458-9C3D-290220ACCFB4}" dt="2022-05-20T13:13:04.691" v="666" actId="478"/>
        <pc:sldMkLst>
          <pc:docMk/>
          <pc:sldMk cId="3712657699" sldId="939"/>
        </pc:sldMkLst>
        <pc:spChg chg="del mod">
          <ac:chgData name="Marta" userId="eac6eb22-5f14-46b4-a4ea-a86e6e8c4acc" providerId="ADAL" clId="{493B601D-AED1-4458-9C3D-290220ACCFB4}" dt="2022-05-20T12:39:02.696" v="193" actId="478"/>
          <ac:spMkLst>
            <pc:docMk/>
            <pc:sldMk cId="3712657699" sldId="939"/>
            <ac:spMk id="4" creationId="{E8E02AC0-EA95-4CA2-B250-70F98D25C504}"/>
          </ac:spMkLst>
        </pc:spChg>
        <pc:spChg chg="add del mod">
          <ac:chgData name="Marta" userId="eac6eb22-5f14-46b4-a4ea-a86e6e8c4acc" providerId="ADAL" clId="{493B601D-AED1-4458-9C3D-290220ACCFB4}" dt="2022-05-20T12:39:05.700" v="194" actId="478"/>
          <ac:spMkLst>
            <pc:docMk/>
            <pc:sldMk cId="3712657699" sldId="939"/>
            <ac:spMk id="7" creationId="{3DF28615-4FC2-4F31-B549-F2E3C42F546D}"/>
          </ac:spMkLst>
        </pc:spChg>
        <pc:spChg chg="add mod">
          <ac:chgData name="Marta" userId="eac6eb22-5f14-46b4-a4ea-a86e6e8c4acc" providerId="ADAL" clId="{493B601D-AED1-4458-9C3D-290220ACCFB4}" dt="2022-05-20T12:45:29.993" v="350" actId="20577"/>
          <ac:spMkLst>
            <pc:docMk/>
            <pc:sldMk cId="3712657699" sldId="939"/>
            <ac:spMk id="10" creationId="{0331A5F1-7904-40A2-A8F1-875643455C5C}"/>
          </ac:spMkLst>
        </pc:spChg>
        <pc:spChg chg="del">
          <ac:chgData name="Marta" userId="eac6eb22-5f14-46b4-a4ea-a86e6e8c4acc" providerId="ADAL" clId="{493B601D-AED1-4458-9C3D-290220ACCFB4}" dt="2022-05-20T13:13:04.691" v="666" actId="478"/>
          <ac:spMkLst>
            <pc:docMk/>
            <pc:sldMk cId="3712657699" sldId="939"/>
            <ac:spMk id="18" creationId="{C4506E1A-E304-4CB4-8660-6D724E0B06AD}"/>
          </ac:spMkLst>
        </pc:spChg>
        <pc:spChg chg="del">
          <ac:chgData name="Marta" userId="eac6eb22-5f14-46b4-a4ea-a86e6e8c4acc" providerId="ADAL" clId="{493B601D-AED1-4458-9C3D-290220ACCFB4}" dt="2022-05-20T13:13:04.691" v="666" actId="478"/>
          <ac:spMkLst>
            <pc:docMk/>
            <pc:sldMk cId="3712657699" sldId="939"/>
            <ac:spMk id="19" creationId="{3B4D6011-62B7-42F0-9442-638B6CEF922D}"/>
          </ac:spMkLst>
        </pc:spChg>
        <pc:picChg chg="add mod ord">
          <ac:chgData name="Marta" userId="eac6eb22-5f14-46b4-a4ea-a86e6e8c4acc" providerId="ADAL" clId="{493B601D-AED1-4458-9C3D-290220ACCFB4}" dt="2022-05-20T12:37:50.980" v="86" actId="167"/>
          <ac:picMkLst>
            <pc:docMk/>
            <pc:sldMk cId="3712657699" sldId="939"/>
            <ac:picMk id="5" creationId="{280FAEBB-BF7D-48CC-AF31-569E01CEA278}"/>
          </ac:picMkLst>
        </pc:picChg>
        <pc:picChg chg="add del">
          <ac:chgData name="Marta" userId="eac6eb22-5f14-46b4-a4ea-a86e6e8c4acc" providerId="ADAL" clId="{493B601D-AED1-4458-9C3D-290220ACCFB4}" dt="2022-05-20T12:43:10.924" v="197" actId="478"/>
          <ac:picMkLst>
            <pc:docMk/>
            <pc:sldMk cId="3712657699" sldId="939"/>
            <ac:picMk id="8" creationId="{948DE5B0-2699-4823-B2B8-79BE9E5FFED0}"/>
          </ac:picMkLst>
        </pc:picChg>
        <pc:picChg chg="add mod">
          <ac:chgData name="Marta" userId="eac6eb22-5f14-46b4-a4ea-a86e6e8c4acc" providerId="ADAL" clId="{493B601D-AED1-4458-9C3D-290220ACCFB4}" dt="2022-05-20T12:44:06.544" v="319" actId="14100"/>
          <ac:picMkLst>
            <pc:docMk/>
            <pc:sldMk cId="3712657699" sldId="939"/>
            <ac:picMk id="9" creationId="{6E06E896-5750-4AF5-B7B9-32A6B56D4C4B}"/>
          </ac:picMkLst>
        </pc:picChg>
        <pc:picChg chg="add mod">
          <ac:chgData name="Marta" userId="eac6eb22-5f14-46b4-a4ea-a86e6e8c4acc" providerId="ADAL" clId="{493B601D-AED1-4458-9C3D-290220ACCFB4}" dt="2022-05-20T12:44:01.448" v="312" actId="1076"/>
          <ac:picMkLst>
            <pc:docMk/>
            <pc:sldMk cId="3712657699" sldId="939"/>
            <ac:picMk id="11" creationId="{FA8A3114-0D6A-4FFF-8DD7-F045F278DE16}"/>
          </ac:picMkLst>
        </pc:picChg>
        <pc:picChg chg="del">
          <ac:chgData name="Marta" userId="eac6eb22-5f14-46b4-a4ea-a86e6e8c4acc" providerId="ADAL" clId="{493B601D-AED1-4458-9C3D-290220ACCFB4}" dt="2022-05-20T13:13:04.691" v="666" actId="478"/>
          <ac:picMkLst>
            <pc:docMk/>
            <pc:sldMk cId="3712657699" sldId="939"/>
            <ac:picMk id="20" creationId="{7A71E7BE-3ED4-40E3-A4DD-B53305B980A0}"/>
          </ac:picMkLst>
        </pc:picChg>
      </pc:sldChg>
      <pc:sldChg chg="addSp delSp modSp new mod">
        <pc:chgData name="Marta" userId="eac6eb22-5f14-46b4-a4ea-a86e6e8c4acc" providerId="ADAL" clId="{493B601D-AED1-4458-9C3D-290220ACCFB4}" dt="2022-05-20T12:56:35.239" v="490" actId="1035"/>
        <pc:sldMkLst>
          <pc:docMk/>
          <pc:sldMk cId="7962108" sldId="940"/>
        </pc:sldMkLst>
        <pc:spChg chg="del">
          <ac:chgData name="Marta" userId="eac6eb22-5f14-46b4-a4ea-a86e6e8c4acc" providerId="ADAL" clId="{493B601D-AED1-4458-9C3D-290220ACCFB4}" dt="2022-05-20T12:55:38.168" v="483" actId="478"/>
          <ac:spMkLst>
            <pc:docMk/>
            <pc:sldMk cId="7962108" sldId="940"/>
            <ac:spMk id="2" creationId="{C8C3E137-DB53-46A6-833E-2EC528AA6F7B}"/>
          </ac:spMkLst>
        </pc:spChg>
        <pc:spChg chg="del">
          <ac:chgData name="Marta" userId="eac6eb22-5f14-46b4-a4ea-a86e6e8c4acc" providerId="ADAL" clId="{493B601D-AED1-4458-9C3D-290220ACCFB4}" dt="2022-05-20T12:55:36.093" v="481" actId="478"/>
          <ac:spMkLst>
            <pc:docMk/>
            <pc:sldMk cId="7962108" sldId="940"/>
            <ac:spMk id="3" creationId="{8D037577-E4E8-4331-9FD9-6F4D94F1A94F}"/>
          </ac:spMkLst>
        </pc:spChg>
        <pc:spChg chg="del">
          <ac:chgData name="Marta" userId="eac6eb22-5f14-46b4-a4ea-a86e6e8c4acc" providerId="ADAL" clId="{493B601D-AED1-4458-9C3D-290220ACCFB4}" dt="2022-05-20T12:55:37.212" v="482" actId="478"/>
          <ac:spMkLst>
            <pc:docMk/>
            <pc:sldMk cId="7962108" sldId="940"/>
            <ac:spMk id="4" creationId="{BA2A8BAD-3DBF-4039-BF66-3CE30A09CB36}"/>
          </ac:spMkLst>
        </pc:spChg>
        <pc:picChg chg="add mod">
          <ac:chgData name="Marta" userId="eac6eb22-5f14-46b4-a4ea-a86e6e8c4acc" providerId="ADAL" clId="{493B601D-AED1-4458-9C3D-290220ACCFB4}" dt="2022-05-20T12:56:35.239" v="490" actId="1035"/>
          <ac:picMkLst>
            <pc:docMk/>
            <pc:sldMk cId="7962108" sldId="940"/>
            <ac:picMk id="7" creationId="{B7AA5E59-3C8B-4B24-A678-2E173A673184}"/>
          </ac:picMkLst>
        </pc:picChg>
      </pc:sldChg>
      <pc:sldChg chg="del">
        <pc:chgData name="Marta" userId="eac6eb22-5f14-46b4-a4ea-a86e6e8c4acc" providerId="ADAL" clId="{493B601D-AED1-4458-9C3D-290220ACCFB4}" dt="2022-05-20T12:53:13.434" v="452" actId="47"/>
        <pc:sldMkLst>
          <pc:docMk/>
          <pc:sldMk cId="4117986438" sldId="940"/>
        </pc:sldMkLst>
      </pc:sldChg>
      <pc:sldChg chg="del">
        <pc:chgData name="Marta" userId="eac6eb22-5f14-46b4-a4ea-a86e6e8c4acc" providerId="ADAL" clId="{493B601D-AED1-4458-9C3D-290220ACCFB4}" dt="2022-05-20T12:53:14.068" v="453" actId="47"/>
        <pc:sldMkLst>
          <pc:docMk/>
          <pc:sldMk cId="102967549" sldId="941"/>
        </pc:sldMkLst>
      </pc:sldChg>
      <pc:sldChg chg="addSp delSp new mod">
        <pc:chgData name="Marta" userId="eac6eb22-5f14-46b4-a4ea-a86e6e8c4acc" providerId="ADAL" clId="{493B601D-AED1-4458-9C3D-290220ACCFB4}" dt="2022-05-20T13:04:13.311" v="530" actId="22"/>
        <pc:sldMkLst>
          <pc:docMk/>
          <pc:sldMk cId="3466213424" sldId="941"/>
        </pc:sldMkLst>
        <pc:spChg chg="del">
          <ac:chgData name="Marta" userId="eac6eb22-5f14-46b4-a4ea-a86e6e8c4acc" providerId="ADAL" clId="{493B601D-AED1-4458-9C3D-290220ACCFB4}" dt="2022-05-20T12:56:48.143" v="492" actId="478"/>
          <ac:spMkLst>
            <pc:docMk/>
            <pc:sldMk cId="3466213424" sldId="941"/>
            <ac:spMk id="2" creationId="{2D463E17-AE54-4BA0-A964-C823E4C9642A}"/>
          </ac:spMkLst>
        </pc:spChg>
        <pc:spChg chg="del">
          <ac:chgData name="Marta" userId="eac6eb22-5f14-46b4-a4ea-a86e6e8c4acc" providerId="ADAL" clId="{493B601D-AED1-4458-9C3D-290220ACCFB4}" dt="2022-05-20T12:56:49.817" v="494" actId="478"/>
          <ac:spMkLst>
            <pc:docMk/>
            <pc:sldMk cId="3466213424" sldId="941"/>
            <ac:spMk id="3" creationId="{3DC477C8-5124-419D-978B-460D38CB0859}"/>
          </ac:spMkLst>
        </pc:spChg>
        <pc:spChg chg="del">
          <ac:chgData name="Marta" userId="eac6eb22-5f14-46b4-a4ea-a86e6e8c4acc" providerId="ADAL" clId="{493B601D-AED1-4458-9C3D-290220ACCFB4}" dt="2022-05-20T12:56:49.074" v="493" actId="478"/>
          <ac:spMkLst>
            <pc:docMk/>
            <pc:sldMk cId="3466213424" sldId="941"/>
            <ac:spMk id="4" creationId="{064E310D-F643-495E-9DE2-E44B6E8BD49B}"/>
          </ac:spMkLst>
        </pc:spChg>
        <pc:picChg chg="add">
          <ac:chgData name="Marta" userId="eac6eb22-5f14-46b4-a4ea-a86e6e8c4acc" providerId="ADAL" clId="{493B601D-AED1-4458-9C3D-290220ACCFB4}" dt="2022-05-20T13:04:13.311" v="530" actId="22"/>
          <ac:picMkLst>
            <pc:docMk/>
            <pc:sldMk cId="3466213424" sldId="941"/>
            <ac:picMk id="7" creationId="{876B26AD-ADB3-469D-A0BB-99DDE96B0004}"/>
          </ac:picMkLst>
        </pc:picChg>
      </pc:sldChg>
      <pc:sldChg chg="del">
        <pc:chgData name="Marta" userId="eac6eb22-5f14-46b4-a4ea-a86e6e8c4acc" providerId="ADAL" clId="{493B601D-AED1-4458-9C3D-290220ACCFB4}" dt="2022-05-20T12:53:14.614" v="454" actId="47"/>
        <pc:sldMkLst>
          <pc:docMk/>
          <pc:sldMk cId="2149241807" sldId="942"/>
        </pc:sldMkLst>
      </pc:sldChg>
      <pc:sldChg chg="addSp delSp new mod">
        <pc:chgData name="Marta" userId="eac6eb22-5f14-46b4-a4ea-a86e6e8c4acc" providerId="ADAL" clId="{493B601D-AED1-4458-9C3D-290220ACCFB4}" dt="2022-05-20T12:58:57.140" v="518" actId="22"/>
        <pc:sldMkLst>
          <pc:docMk/>
          <pc:sldMk cId="3670777090" sldId="942"/>
        </pc:sldMkLst>
        <pc:spChg chg="del">
          <ac:chgData name="Marta" userId="eac6eb22-5f14-46b4-a4ea-a86e6e8c4acc" providerId="ADAL" clId="{493B601D-AED1-4458-9C3D-290220ACCFB4}" dt="2022-05-20T12:57:05.784" v="497" actId="478"/>
          <ac:spMkLst>
            <pc:docMk/>
            <pc:sldMk cId="3670777090" sldId="942"/>
            <ac:spMk id="2" creationId="{98E1568A-D81D-448E-B9F2-CFB30BE0A79C}"/>
          </ac:spMkLst>
        </pc:spChg>
        <pc:spChg chg="del">
          <ac:chgData name="Marta" userId="eac6eb22-5f14-46b4-a4ea-a86e6e8c4acc" providerId="ADAL" clId="{493B601D-AED1-4458-9C3D-290220ACCFB4}" dt="2022-05-20T12:57:03.634" v="496" actId="478"/>
          <ac:spMkLst>
            <pc:docMk/>
            <pc:sldMk cId="3670777090" sldId="942"/>
            <ac:spMk id="3" creationId="{FBFFB67A-6A62-498F-9CBB-87CAED647A7B}"/>
          </ac:spMkLst>
        </pc:spChg>
        <pc:spChg chg="del">
          <ac:chgData name="Marta" userId="eac6eb22-5f14-46b4-a4ea-a86e6e8c4acc" providerId="ADAL" clId="{493B601D-AED1-4458-9C3D-290220ACCFB4}" dt="2022-05-20T12:57:06.639" v="498" actId="478"/>
          <ac:spMkLst>
            <pc:docMk/>
            <pc:sldMk cId="3670777090" sldId="942"/>
            <ac:spMk id="4" creationId="{40884D5B-4874-47AB-9FD4-9FD9209D225C}"/>
          </ac:spMkLst>
        </pc:spChg>
        <pc:picChg chg="add">
          <ac:chgData name="Marta" userId="eac6eb22-5f14-46b4-a4ea-a86e6e8c4acc" providerId="ADAL" clId="{493B601D-AED1-4458-9C3D-290220ACCFB4}" dt="2022-05-20T12:58:57.140" v="518" actId="22"/>
          <ac:picMkLst>
            <pc:docMk/>
            <pc:sldMk cId="3670777090" sldId="942"/>
            <ac:picMk id="7" creationId="{66652888-F5BC-4217-A025-0FFCA8B59515}"/>
          </ac:picMkLst>
        </pc:picChg>
      </pc:sldChg>
      <pc:sldChg chg="addSp add mod">
        <pc:chgData name="Marta" userId="eac6eb22-5f14-46b4-a4ea-a86e6e8c4acc" providerId="ADAL" clId="{493B601D-AED1-4458-9C3D-290220ACCFB4}" dt="2022-05-20T13:03:47.529" v="529" actId="22"/>
        <pc:sldMkLst>
          <pc:docMk/>
          <pc:sldMk cId="956744883" sldId="943"/>
        </pc:sldMkLst>
        <pc:picChg chg="add">
          <ac:chgData name="Marta" userId="eac6eb22-5f14-46b4-a4ea-a86e6e8c4acc" providerId="ADAL" clId="{493B601D-AED1-4458-9C3D-290220ACCFB4}" dt="2022-05-20T13:03:47.529" v="529" actId="22"/>
          <ac:picMkLst>
            <pc:docMk/>
            <pc:sldMk cId="956744883" sldId="943"/>
            <ac:picMk id="3" creationId="{C7E0A449-1B2E-4D64-8F91-DE52BABC8ADF}"/>
          </ac:picMkLst>
        </pc:picChg>
      </pc:sldChg>
      <pc:sldChg chg="del">
        <pc:chgData name="Marta" userId="eac6eb22-5f14-46b4-a4ea-a86e6e8c4acc" providerId="ADAL" clId="{493B601D-AED1-4458-9C3D-290220ACCFB4}" dt="2022-05-20T12:53:15.127" v="455" actId="47"/>
        <pc:sldMkLst>
          <pc:docMk/>
          <pc:sldMk cId="2322778213" sldId="943"/>
        </pc:sldMkLst>
      </pc:sldChg>
      <pc:sldChg chg="del">
        <pc:chgData name="Marta" userId="eac6eb22-5f14-46b4-a4ea-a86e6e8c4acc" providerId="ADAL" clId="{493B601D-AED1-4458-9C3D-290220ACCFB4}" dt="2022-05-20T12:53:16.049" v="456" actId="47"/>
        <pc:sldMkLst>
          <pc:docMk/>
          <pc:sldMk cId="258813626" sldId="944"/>
        </pc:sldMkLst>
      </pc:sldChg>
      <pc:sldChg chg="addSp add mod">
        <pc:chgData name="Marta" userId="eac6eb22-5f14-46b4-a4ea-a86e6e8c4acc" providerId="ADAL" clId="{493B601D-AED1-4458-9C3D-290220ACCFB4}" dt="2022-05-20T12:59:19.360" v="519" actId="22"/>
        <pc:sldMkLst>
          <pc:docMk/>
          <pc:sldMk cId="799015635" sldId="944"/>
        </pc:sldMkLst>
        <pc:picChg chg="add">
          <ac:chgData name="Marta" userId="eac6eb22-5f14-46b4-a4ea-a86e6e8c4acc" providerId="ADAL" clId="{493B601D-AED1-4458-9C3D-290220ACCFB4}" dt="2022-05-20T12:59:19.360" v="519" actId="22"/>
          <ac:picMkLst>
            <pc:docMk/>
            <pc:sldMk cId="799015635" sldId="944"/>
            <ac:picMk id="3" creationId="{F16D3263-A60D-4CE0-9AF5-2F669F1D0616}"/>
          </ac:picMkLst>
        </pc:picChg>
      </pc:sldChg>
      <pc:sldChg chg="addSp add mod">
        <pc:chgData name="Marta" userId="eac6eb22-5f14-46b4-a4ea-a86e6e8c4acc" providerId="ADAL" clId="{493B601D-AED1-4458-9C3D-290220ACCFB4}" dt="2022-05-20T12:59:54.456" v="520" actId="22"/>
        <pc:sldMkLst>
          <pc:docMk/>
          <pc:sldMk cId="811183675" sldId="945"/>
        </pc:sldMkLst>
        <pc:picChg chg="add">
          <ac:chgData name="Marta" userId="eac6eb22-5f14-46b4-a4ea-a86e6e8c4acc" providerId="ADAL" clId="{493B601D-AED1-4458-9C3D-290220ACCFB4}" dt="2022-05-20T12:59:54.456" v="520" actId="22"/>
          <ac:picMkLst>
            <pc:docMk/>
            <pc:sldMk cId="811183675" sldId="945"/>
            <ac:picMk id="3" creationId="{E8EC02FE-AD1D-4CC0-B6E2-B265C787BBBE}"/>
          </ac:picMkLst>
        </pc:picChg>
      </pc:sldChg>
      <pc:sldChg chg="del">
        <pc:chgData name="Marta" userId="eac6eb22-5f14-46b4-a4ea-a86e6e8c4acc" providerId="ADAL" clId="{493B601D-AED1-4458-9C3D-290220ACCFB4}" dt="2022-05-20T12:53:16.556" v="457" actId="47"/>
        <pc:sldMkLst>
          <pc:docMk/>
          <pc:sldMk cId="867503054" sldId="945"/>
        </pc:sldMkLst>
      </pc:sldChg>
      <pc:sldChg chg="addSp add mod">
        <pc:chgData name="Marta" userId="eac6eb22-5f14-46b4-a4ea-a86e6e8c4acc" providerId="ADAL" clId="{493B601D-AED1-4458-9C3D-290220ACCFB4}" dt="2022-05-20T13:00:16.149" v="521" actId="22"/>
        <pc:sldMkLst>
          <pc:docMk/>
          <pc:sldMk cId="2348044656" sldId="946"/>
        </pc:sldMkLst>
        <pc:picChg chg="add">
          <ac:chgData name="Marta" userId="eac6eb22-5f14-46b4-a4ea-a86e6e8c4acc" providerId="ADAL" clId="{493B601D-AED1-4458-9C3D-290220ACCFB4}" dt="2022-05-20T13:00:16.149" v="521" actId="22"/>
          <ac:picMkLst>
            <pc:docMk/>
            <pc:sldMk cId="2348044656" sldId="946"/>
            <ac:picMk id="3" creationId="{AFDD0781-9DAE-4A81-896B-1A173D6D01FB}"/>
          </ac:picMkLst>
        </pc:picChg>
      </pc:sldChg>
      <pc:sldChg chg="del">
        <pc:chgData name="Marta" userId="eac6eb22-5f14-46b4-a4ea-a86e6e8c4acc" providerId="ADAL" clId="{493B601D-AED1-4458-9C3D-290220ACCFB4}" dt="2022-05-20T12:53:17.014" v="458" actId="47"/>
        <pc:sldMkLst>
          <pc:docMk/>
          <pc:sldMk cId="4248608486" sldId="946"/>
        </pc:sldMkLst>
      </pc:sldChg>
      <pc:sldChg chg="addSp add mod">
        <pc:chgData name="Marta" userId="eac6eb22-5f14-46b4-a4ea-a86e6e8c4acc" providerId="ADAL" clId="{493B601D-AED1-4458-9C3D-290220ACCFB4}" dt="2022-05-20T13:00:53.473" v="522" actId="22"/>
        <pc:sldMkLst>
          <pc:docMk/>
          <pc:sldMk cId="3370285080" sldId="947"/>
        </pc:sldMkLst>
        <pc:picChg chg="add">
          <ac:chgData name="Marta" userId="eac6eb22-5f14-46b4-a4ea-a86e6e8c4acc" providerId="ADAL" clId="{493B601D-AED1-4458-9C3D-290220ACCFB4}" dt="2022-05-20T13:00:53.473" v="522" actId="22"/>
          <ac:picMkLst>
            <pc:docMk/>
            <pc:sldMk cId="3370285080" sldId="947"/>
            <ac:picMk id="3" creationId="{31C042FD-4D6D-4154-9A16-ED75E204D028}"/>
          </ac:picMkLst>
        </pc:picChg>
      </pc:sldChg>
      <pc:sldChg chg="del">
        <pc:chgData name="Marta" userId="eac6eb22-5f14-46b4-a4ea-a86e6e8c4acc" providerId="ADAL" clId="{493B601D-AED1-4458-9C3D-290220ACCFB4}" dt="2022-05-20T12:53:17.482" v="459" actId="47"/>
        <pc:sldMkLst>
          <pc:docMk/>
          <pc:sldMk cId="3557807244" sldId="947"/>
        </pc:sldMkLst>
      </pc:sldChg>
      <pc:sldChg chg="del">
        <pc:chgData name="Marta" userId="eac6eb22-5f14-46b4-a4ea-a86e6e8c4acc" providerId="ADAL" clId="{493B601D-AED1-4458-9C3D-290220ACCFB4}" dt="2022-05-20T12:53:17.900" v="460" actId="47"/>
        <pc:sldMkLst>
          <pc:docMk/>
          <pc:sldMk cId="707745755" sldId="948"/>
        </pc:sldMkLst>
      </pc:sldChg>
      <pc:sldChg chg="addSp add mod">
        <pc:chgData name="Marta" userId="eac6eb22-5f14-46b4-a4ea-a86e6e8c4acc" providerId="ADAL" clId="{493B601D-AED1-4458-9C3D-290220ACCFB4}" dt="2022-05-20T13:01:27.439" v="523" actId="22"/>
        <pc:sldMkLst>
          <pc:docMk/>
          <pc:sldMk cId="3120640163" sldId="948"/>
        </pc:sldMkLst>
        <pc:picChg chg="add">
          <ac:chgData name="Marta" userId="eac6eb22-5f14-46b4-a4ea-a86e6e8c4acc" providerId="ADAL" clId="{493B601D-AED1-4458-9C3D-290220ACCFB4}" dt="2022-05-20T13:01:27.439" v="523" actId="22"/>
          <ac:picMkLst>
            <pc:docMk/>
            <pc:sldMk cId="3120640163" sldId="948"/>
            <ac:picMk id="3" creationId="{DBD0A2B5-EF34-4DDC-B9FD-139D83809539}"/>
          </ac:picMkLst>
        </pc:picChg>
      </pc:sldChg>
      <pc:sldChg chg="addSp add mod">
        <pc:chgData name="Marta" userId="eac6eb22-5f14-46b4-a4ea-a86e6e8c4acc" providerId="ADAL" clId="{493B601D-AED1-4458-9C3D-290220ACCFB4}" dt="2022-05-20T13:01:45.369" v="524" actId="22"/>
        <pc:sldMkLst>
          <pc:docMk/>
          <pc:sldMk cId="28271892" sldId="949"/>
        </pc:sldMkLst>
        <pc:picChg chg="add">
          <ac:chgData name="Marta" userId="eac6eb22-5f14-46b4-a4ea-a86e6e8c4acc" providerId="ADAL" clId="{493B601D-AED1-4458-9C3D-290220ACCFB4}" dt="2022-05-20T13:01:45.369" v="524" actId="22"/>
          <ac:picMkLst>
            <pc:docMk/>
            <pc:sldMk cId="28271892" sldId="949"/>
            <ac:picMk id="3" creationId="{A30BCC65-0BBF-4254-849B-FAAC2E3F6BA2}"/>
          </ac:picMkLst>
        </pc:picChg>
      </pc:sldChg>
      <pc:sldChg chg="del">
        <pc:chgData name="Marta" userId="eac6eb22-5f14-46b4-a4ea-a86e6e8c4acc" providerId="ADAL" clId="{493B601D-AED1-4458-9C3D-290220ACCFB4}" dt="2022-05-20T12:53:18.347" v="461" actId="47"/>
        <pc:sldMkLst>
          <pc:docMk/>
          <pc:sldMk cId="3200383792" sldId="949"/>
        </pc:sldMkLst>
      </pc:sldChg>
      <pc:sldChg chg="addSp add mod">
        <pc:chgData name="Marta" userId="eac6eb22-5f14-46b4-a4ea-a86e6e8c4acc" providerId="ADAL" clId="{493B601D-AED1-4458-9C3D-290220ACCFB4}" dt="2022-05-20T13:02:04.639" v="525" actId="22"/>
        <pc:sldMkLst>
          <pc:docMk/>
          <pc:sldMk cId="410567365" sldId="950"/>
        </pc:sldMkLst>
        <pc:picChg chg="add">
          <ac:chgData name="Marta" userId="eac6eb22-5f14-46b4-a4ea-a86e6e8c4acc" providerId="ADAL" clId="{493B601D-AED1-4458-9C3D-290220ACCFB4}" dt="2022-05-20T13:02:04.639" v="525" actId="22"/>
          <ac:picMkLst>
            <pc:docMk/>
            <pc:sldMk cId="410567365" sldId="950"/>
            <ac:picMk id="3" creationId="{9AD07B18-A52B-4FE8-98B8-88EDE2D1950C}"/>
          </ac:picMkLst>
        </pc:picChg>
      </pc:sldChg>
      <pc:sldChg chg="del">
        <pc:chgData name="Marta" userId="eac6eb22-5f14-46b4-a4ea-a86e6e8c4acc" providerId="ADAL" clId="{493B601D-AED1-4458-9C3D-290220ACCFB4}" dt="2022-05-20T12:53:18.813" v="462" actId="47"/>
        <pc:sldMkLst>
          <pc:docMk/>
          <pc:sldMk cId="3796687518" sldId="950"/>
        </pc:sldMkLst>
      </pc:sldChg>
      <pc:sldChg chg="addSp add mod">
        <pc:chgData name="Marta" userId="eac6eb22-5f14-46b4-a4ea-a86e6e8c4acc" providerId="ADAL" clId="{493B601D-AED1-4458-9C3D-290220ACCFB4}" dt="2022-05-20T13:02:48.888" v="526" actId="22"/>
        <pc:sldMkLst>
          <pc:docMk/>
          <pc:sldMk cId="2235436417" sldId="951"/>
        </pc:sldMkLst>
        <pc:picChg chg="add">
          <ac:chgData name="Marta" userId="eac6eb22-5f14-46b4-a4ea-a86e6e8c4acc" providerId="ADAL" clId="{493B601D-AED1-4458-9C3D-290220ACCFB4}" dt="2022-05-20T13:02:48.888" v="526" actId="22"/>
          <ac:picMkLst>
            <pc:docMk/>
            <pc:sldMk cId="2235436417" sldId="951"/>
            <ac:picMk id="3" creationId="{A40CAD7C-9191-4961-B26E-36721A7E45F6}"/>
          </ac:picMkLst>
        </pc:picChg>
      </pc:sldChg>
      <pc:sldChg chg="del">
        <pc:chgData name="Marta" userId="eac6eb22-5f14-46b4-a4ea-a86e6e8c4acc" providerId="ADAL" clId="{493B601D-AED1-4458-9C3D-290220ACCFB4}" dt="2022-05-20T12:53:19.258" v="463" actId="47"/>
        <pc:sldMkLst>
          <pc:docMk/>
          <pc:sldMk cId="3342564520" sldId="951"/>
        </pc:sldMkLst>
      </pc:sldChg>
      <pc:sldChg chg="addSp add mod">
        <pc:chgData name="Marta" userId="eac6eb22-5f14-46b4-a4ea-a86e6e8c4acc" providerId="ADAL" clId="{493B601D-AED1-4458-9C3D-290220ACCFB4}" dt="2022-05-20T13:03:11.182" v="527" actId="22"/>
        <pc:sldMkLst>
          <pc:docMk/>
          <pc:sldMk cId="297809370" sldId="952"/>
        </pc:sldMkLst>
        <pc:picChg chg="add">
          <ac:chgData name="Marta" userId="eac6eb22-5f14-46b4-a4ea-a86e6e8c4acc" providerId="ADAL" clId="{493B601D-AED1-4458-9C3D-290220ACCFB4}" dt="2022-05-20T13:03:11.182" v="527" actId="22"/>
          <ac:picMkLst>
            <pc:docMk/>
            <pc:sldMk cId="297809370" sldId="952"/>
            <ac:picMk id="3" creationId="{5EBAB067-1FCC-417A-B18A-EAA1D5C1EC46}"/>
          </ac:picMkLst>
        </pc:picChg>
      </pc:sldChg>
      <pc:sldChg chg="del">
        <pc:chgData name="Marta" userId="eac6eb22-5f14-46b4-a4ea-a86e6e8c4acc" providerId="ADAL" clId="{493B601D-AED1-4458-9C3D-290220ACCFB4}" dt="2022-05-20T12:53:19.699" v="464" actId="47"/>
        <pc:sldMkLst>
          <pc:docMk/>
          <pc:sldMk cId="525359197" sldId="952"/>
        </pc:sldMkLst>
      </pc:sldChg>
      <pc:sldChg chg="del">
        <pc:chgData name="Marta" userId="eac6eb22-5f14-46b4-a4ea-a86e6e8c4acc" providerId="ADAL" clId="{493B601D-AED1-4458-9C3D-290220ACCFB4}" dt="2022-05-20T12:53:20.184" v="465" actId="47"/>
        <pc:sldMkLst>
          <pc:docMk/>
          <pc:sldMk cId="1321012257" sldId="953"/>
        </pc:sldMkLst>
      </pc:sldChg>
      <pc:sldChg chg="addSp add mod">
        <pc:chgData name="Marta" userId="eac6eb22-5f14-46b4-a4ea-a86e6e8c4acc" providerId="ADAL" clId="{493B601D-AED1-4458-9C3D-290220ACCFB4}" dt="2022-05-20T13:03:29.133" v="528" actId="22"/>
        <pc:sldMkLst>
          <pc:docMk/>
          <pc:sldMk cId="2593472074" sldId="953"/>
        </pc:sldMkLst>
        <pc:picChg chg="add">
          <ac:chgData name="Marta" userId="eac6eb22-5f14-46b4-a4ea-a86e6e8c4acc" providerId="ADAL" clId="{493B601D-AED1-4458-9C3D-290220ACCFB4}" dt="2022-05-20T13:03:29.133" v="528" actId="22"/>
          <ac:picMkLst>
            <pc:docMk/>
            <pc:sldMk cId="2593472074" sldId="953"/>
            <ac:picMk id="3" creationId="{2AE52812-D566-4DE1-96A1-44D28C16E1C4}"/>
          </ac:picMkLst>
        </pc:picChg>
      </pc:sldChg>
      <pc:sldChg chg="addSp add mod ord">
        <pc:chgData name="Marta" userId="eac6eb22-5f14-46b4-a4ea-a86e6e8c4acc" providerId="ADAL" clId="{493B601D-AED1-4458-9C3D-290220ACCFB4}" dt="2022-05-20T12:58:29.525" v="517"/>
        <pc:sldMkLst>
          <pc:docMk/>
          <pc:sldMk cId="301861899" sldId="954"/>
        </pc:sldMkLst>
        <pc:picChg chg="add">
          <ac:chgData name="Marta" userId="eac6eb22-5f14-46b4-a4ea-a86e6e8c4acc" providerId="ADAL" clId="{493B601D-AED1-4458-9C3D-290220ACCFB4}" dt="2022-05-20T12:58:18.747" v="511" actId="22"/>
          <ac:picMkLst>
            <pc:docMk/>
            <pc:sldMk cId="301861899" sldId="954"/>
            <ac:picMk id="3" creationId="{059E905B-A315-447D-A295-30555B73925C}"/>
          </ac:picMkLst>
        </pc:picChg>
      </pc:sldChg>
      <pc:sldChg chg="del">
        <pc:chgData name="Marta" userId="eac6eb22-5f14-46b4-a4ea-a86e6e8c4acc" providerId="ADAL" clId="{493B601D-AED1-4458-9C3D-290220ACCFB4}" dt="2022-05-20T12:53:20.717" v="466" actId="47"/>
        <pc:sldMkLst>
          <pc:docMk/>
          <pc:sldMk cId="636632436" sldId="954"/>
        </pc:sldMkLst>
      </pc:sldChg>
      <pc:sldChg chg="del">
        <pc:chgData name="Marta" userId="eac6eb22-5f14-46b4-a4ea-a86e6e8c4acc" providerId="ADAL" clId="{493B601D-AED1-4458-9C3D-290220ACCFB4}" dt="2022-05-20T12:53:21.176" v="467" actId="47"/>
        <pc:sldMkLst>
          <pc:docMk/>
          <pc:sldMk cId="4112636735" sldId="955"/>
        </pc:sldMkLst>
      </pc:sldChg>
      <pc:sldChg chg="del">
        <pc:chgData name="Marta" userId="eac6eb22-5f14-46b4-a4ea-a86e6e8c4acc" providerId="ADAL" clId="{493B601D-AED1-4458-9C3D-290220ACCFB4}" dt="2022-05-20T12:53:21.561" v="468" actId="47"/>
        <pc:sldMkLst>
          <pc:docMk/>
          <pc:sldMk cId="1580427306" sldId="956"/>
        </pc:sldMkLst>
      </pc:sldChg>
      <pc:sldChg chg="del">
        <pc:chgData name="Marta" userId="eac6eb22-5f14-46b4-a4ea-a86e6e8c4acc" providerId="ADAL" clId="{493B601D-AED1-4458-9C3D-290220ACCFB4}" dt="2022-05-20T12:53:22.031" v="469" actId="47"/>
        <pc:sldMkLst>
          <pc:docMk/>
          <pc:sldMk cId="1781309504" sldId="957"/>
        </pc:sldMkLst>
      </pc:sldChg>
      <pc:sldChg chg="del">
        <pc:chgData name="Marta" userId="eac6eb22-5f14-46b4-a4ea-a86e6e8c4acc" providerId="ADAL" clId="{493B601D-AED1-4458-9C3D-290220ACCFB4}" dt="2022-05-20T12:53:22.387" v="470" actId="47"/>
        <pc:sldMkLst>
          <pc:docMk/>
          <pc:sldMk cId="2477111662" sldId="958"/>
        </pc:sldMkLst>
      </pc:sldChg>
      <pc:sldChg chg="del">
        <pc:chgData name="Marta" userId="eac6eb22-5f14-46b4-a4ea-a86e6e8c4acc" providerId="ADAL" clId="{493B601D-AED1-4458-9C3D-290220ACCFB4}" dt="2022-05-20T12:53:22.942" v="471" actId="47"/>
        <pc:sldMkLst>
          <pc:docMk/>
          <pc:sldMk cId="3793172541" sldId="959"/>
        </pc:sldMkLst>
      </pc:sldChg>
      <pc:sldChg chg="del">
        <pc:chgData name="Marta" userId="eac6eb22-5f14-46b4-a4ea-a86e6e8c4acc" providerId="ADAL" clId="{493B601D-AED1-4458-9C3D-290220ACCFB4}" dt="2022-05-20T12:53:23.360" v="472" actId="47"/>
        <pc:sldMkLst>
          <pc:docMk/>
          <pc:sldMk cId="1495583960" sldId="960"/>
        </pc:sldMkLst>
      </pc:sldChg>
      <pc:sldChg chg="del">
        <pc:chgData name="Marta" userId="eac6eb22-5f14-46b4-a4ea-a86e6e8c4acc" providerId="ADAL" clId="{493B601D-AED1-4458-9C3D-290220ACCFB4}" dt="2022-05-20T12:53:23.666" v="473" actId="47"/>
        <pc:sldMkLst>
          <pc:docMk/>
          <pc:sldMk cId="4227625523" sldId="961"/>
        </pc:sldMkLst>
      </pc:sldChg>
      <pc:sldChg chg="del">
        <pc:chgData name="Marta" userId="eac6eb22-5f14-46b4-a4ea-a86e6e8c4acc" providerId="ADAL" clId="{493B601D-AED1-4458-9C3D-290220ACCFB4}" dt="2022-05-20T12:53:24.218" v="474" actId="47"/>
        <pc:sldMkLst>
          <pc:docMk/>
          <pc:sldMk cId="4117339498" sldId="962"/>
        </pc:sldMkLst>
      </pc:sldChg>
      <pc:sldChg chg="del">
        <pc:chgData name="Marta" userId="eac6eb22-5f14-46b4-a4ea-a86e6e8c4acc" providerId="ADAL" clId="{493B601D-AED1-4458-9C3D-290220ACCFB4}" dt="2022-05-20T12:53:24.611" v="475" actId="47"/>
        <pc:sldMkLst>
          <pc:docMk/>
          <pc:sldMk cId="4248731220" sldId="963"/>
        </pc:sldMkLst>
      </pc:sldChg>
      <pc:sldChg chg="del">
        <pc:chgData name="Marta" userId="eac6eb22-5f14-46b4-a4ea-a86e6e8c4acc" providerId="ADAL" clId="{493B601D-AED1-4458-9C3D-290220ACCFB4}" dt="2022-05-20T12:53:25.026" v="476" actId="47"/>
        <pc:sldMkLst>
          <pc:docMk/>
          <pc:sldMk cId="2394336915" sldId="964"/>
        </pc:sldMkLst>
      </pc:sldChg>
      <pc:sldChg chg="del">
        <pc:chgData name="Marta" userId="eac6eb22-5f14-46b4-a4ea-a86e6e8c4acc" providerId="ADAL" clId="{493B601D-AED1-4458-9C3D-290220ACCFB4}" dt="2022-05-20T12:53:25.369" v="477" actId="47"/>
        <pc:sldMkLst>
          <pc:docMk/>
          <pc:sldMk cId="1871208208" sldId="965"/>
        </pc:sldMkLst>
      </pc:sldChg>
      <pc:sldChg chg="del">
        <pc:chgData name="Marta" userId="eac6eb22-5f14-46b4-a4ea-a86e6e8c4acc" providerId="ADAL" clId="{493B601D-AED1-4458-9C3D-290220ACCFB4}" dt="2022-05-20T12:53:26.143" v="478" actId="47"/>
        <pc:sldMkLst>
          <pc:docMk/>
          <pc:sldMk cId="128121569" sldId="966"/>
        </pc:sldMkLst>
      </pc:sldChg>
      <pc:sldChg chg="del">
        <pc:chgData name="Marta" userId="eac6eb22-5f14-46b4-a4ea-a86e6e8c4acc" providerId="ADAL" clId="{493B601D-AED1-4458-9C3D-290220ACCFB4}" dt="2022-05-20T12:53:26.510" v="479" actId="47"/>
        <pc:sldMkLst>
          <pc:docMk/>
          <pc:sldMk cId="3076133610" sldId="967"/>
        </pc:sldMkLst>
      </pc:sldChg>
      <pc:sldMasterChg chg="del delSldLayout">
        <pc:chgData name="Marta" userId="eac6eb22-5f14-46b4-a4ea-a86e6e8c4acc" providerId="ADAL" clId="{493B601D-AED1-4458-9C3D-290220ACCFB4}" dt="2022-05-20T12:53:26.510" v="479" actId="47"/>
        <pc:sldMasterMkLst>
          <pc:docMk/>
          <pc:sldMasterMk cId="0" sldId="2147483648"/>
        </pc:sldMasterMkLst>
        <pc:sldLayoutChg chg="del">
          <pc:chgData name="Marta" userId="eac6eb22-5f14-46b4-a4ea-a86e6e8c4acc" providerId="ADAL" clId="{493B601D-AED1-4458-9C3D-290220ACCFB4}" dt="2022-05-20T12:53:26.510" v="479" actId="47"/>
          <pc:sldLayoutMkLst>
            <pc:docMk/>
            <pc:sldMasterMk cId="0" sldId="2147483648"/>
            <pc:sldLayoutMk cId="4260950116" sldId="2147483661"/>
          </pc:sldLayoutMkLst>
        </pc:sldLayoutChg>
        <pc:sldLayoutChg chg="del">
          <pc:chgData name="Marta" userId="eac6eb22-5f14-46b4-a4ea-a86e6e8c4acc" providerId="ADAL" clId="{493B601D-AED1-4458-9C3D-290220ACCFB4}" dt="2022-05-20T12:53:26.510" v="479" actId="47"/>
          <pc:sldLayoutMkLst>
            <pc:docMk/>
            <pc:sldMasterMk cId="0" sldId="2147483648"/>
            <pc:sldLayoutMk cId="2431866657" sldId="2147483664"/>
          </pc:sldLayoutMkLst>
        </pc:sldLayoutChg>
        <pc:sldLayoutChg chg="del">
          <pc:chgData name="Marta" userId="eac6eb22-5f14-46b4-a4ea-a86e6e8c4acc" providerId="ADAL" clId="{493B601D-AED1-4458-9C3D-290220ACCFB4}" dt="2022-05-20T12:53:26.510" v="479" actId="47"/>
          <pc:sldLayoutMkLst>
            <pc:docMk/>
            <pc:sldMasterMk cId="0" sldId="2147483648"/>
            <pc:sldLayoutMk cId="3998804859" sldId="2147483665"/>
          </pc:sldLayoutMkLst>
        </pc:sldLayoutChg>
        <pc:sldLayoutChg chg="del">
          <pc:chgData name="Marta" userId="eac6eb22-5f14-46b4-a4ea-a86e6e8c4acc" providerId="ADAL" clId="{493B601D-AED1-4458-9C3D-290220ACCFB4}" dt="2022-05-20T12:53:26.510" v="479" actId="47"/>
          <pc:sldLayoutMkLst>
            <pc:docMk/>
            <pc:sldMasterMk cId="0" sldId="2147483648"/>
            <pc:sldLayoutMk cId="2284147163" sldId="2147483666"/>
          </pc:sldLayoutMkLst>
        </pc:sldLayoutChg>
        <pc:sldLayoutChg chg="del">
          <pc:chgData name="Marta" userId="eac6eb22-5f14-46b4-a4ea-a86e6e8c4acc" providerId="ADAL" clId="{493B601D-AED1-4458-9C3D-290220ACCFB4}" dt="2022-05-20T12:53:26.510" v="479" actId="47"/>
          <pc:sldLayoutMkLst>
            <pc:docMk/>
            <pc:sldMasterMk cId="0" sldId="2147483648"/>
            <pc:sldLayoutMk cId="1860681604" sldId="2147483668"/>
          </pc:sldLayoutMkLst>
        </pc:sldLayoutChg>
        <pc:sldLayoutChg chg="del">
          <pc:chgData name="Marta" userId="eac6eb22-5f14-46b4-a4ea-a86e6e8c4acc" providerId="ADAL" clId="{493B601D-AED1-4458-9C3D-290220ACCFB4}" dt="2022-05-20T12:53:26.510" v="479" actId="47"/>
          <pc:sldLayoutMkLst>
            <pc:docMk/>
            <pc:sldMasterMk cId="0" sldId="2147483648"/>
            <pc:sldLayoutMk cId="1543846169" sldId="2147483671"/>
          </pc:sldLayoutMkLst>
        </pc:sldLayoutChg>
        <pc:sldLayoutChg chg="del">
          <pc:chgData name="Marta" userId="eac6eb22-5f14-46b4-a4ea-a86e6e8c4acc" providerId="ADAL" clId="{493B601D-AED1-4458-9C3D-290220ACCFB4}" dt="2022-05-20T12:53:26.510" v="479" actId="47"/>
          <pc:sldLayoutMkLst>
            <pc:docMk/>
            <pc:sldMasterMk cId="0" sldId="2147483648"/>
            <pc:sldLayoutMk cId="3259210329" sldId="2147483673"/>
          </pc:sldLayoutMkLst>
        </pc:sldLayoutChg>
      </pc:sldMasterChg>
      <pc:sldMasterChg chg="addSp delSp modSp mod">
        <pc:chgData name="Marta" userId="eac6eb22-5f14-46b4-a4ea-a86e6e8c4acc" providerId="ADAL" clId="{493B601D-AED1-4458-9C3D-290220ACCFB4}" dt="2022-05-20T13:15:00.408" v="694" actId="1038"/>
        <pc:sldMasterMkLst>
          <pc:docMk/>
          <pc:sldMasterMk cId="756595898" sldId="2147483863"/>
        </pc:sldMasterMkLst>
        <pc:spChg chg="mod">
          <ac:chgData name="Marta" userId="eac6eb22-5f14-46b4-a4ea-a86e6e8c4acc" providerId="ADAL" clId="{493B601D-AED1-4458-9C3D-290220ACCFB4}" dt="2022-05-20T13:11:59.251" v="656" actId="1076"/>
          <ac:spMkLst>
            <pc:docMk/>
            <pc:sldMasterMk cId="756595898" sldId="2147483863"/>
            <ac:spMk id="3" creationId="{00000000-0000-0000-0000-000000000000}"/>
          </ac:spMkLst>
        </pc:spChg>
        <pc:spChg chg="add mod">
          <ac:chgData name="Marta" userId="eac6eb22-5f14-46b4-a4ea-a86e6e8c4acc" providerId="ADAL" clId="{493B601D-AED1-4458-9C3D-290220ACCFB4}" dt="2022-05-20T13:12:37.192" v="660" actId="6549"/>
          <ac:spMkLst>
            <pc:docMk/>
            <pc:sldMasterMk cId="756595898" sldId="2147483863"/>
            <ac:spMk id="8" creationId="{E33FE46D-D6E4-4921-9DC5-84AC90E975E0}"/>
          </ac:spMkLst>
        </pc:spChg>
        <pc:spChg chg="add mod">
          <ac:chgData name="Marta" userId="eac6eb22-5f14-46b4-a4ea-a86e6e8c4acc" providerId="ADAL" clId="{493B601D-AED1-4458-9C3D-290220ACCFB4}" dt="2022-05-20T13:11:53.808" v="652" actId="1036"/>
          <ac:spMkLst>
            <pc:docMk/>
            <pc:sldMasterMk cId="756595898" sldId="2147483863"/>
            <ac:spMk id="10" creationId="{7F3EF41C-5F87-4A4D-BBE6-D28B04D67907}"/>
          </ac:spMkLst>
        </pc:spChg>
        <pc:spChg chg="add del mod">
          <ac:chgData name="Marta" userId="eac6eb22-5f14-46b4-a4ea-a86e6e8c4acc" providerId="ADAL" clId="{493B601D-AED1-4458-9C3D-290220ACCFB4}" dt="2022-05-20T13:11:43.280" v="640" actId="478"/>
          <ac:spMkLst>
            <pc:docMk/>
            <pc:sldMasterMk cId="756595898" sldId="2147483863"/>
            <ac:spMk id="13" creationId="{F3BE06E3-9E16-48E7-8488-88FA792C4E5E}"/>
          </ac:spMkLst>
        </pc:spChg>
        <pc:picChg chg="add mod">
          <ac:chgData name="Marta" userId="eac6eb22-5f14-46b4-a4ea-a86e6e8c4acc" providerId="ADAL" clId="{493B601D-AED1-4458-9C3D-290220ACCFB4}" dt="2022-05-20T13:15:00.408" v="694" actId="1038"/>
          <ac:picMkLst>
            <pc:docMk/>
            <pc:sldMasterMk cId="756595898" sldId="2147483863"/>
            <ac:picMk id="11" creationId="{F2F7D22C-B462-4FA5-80EF-2836B356C4D2}"/>
          </ac:picMkLst>
        </pc:picChg>
      </pc:sldMasterChg>
      <pc:sldMasterChg chg="delSp">
        <pc:chgData name="Marta" userId="eac6eb22-5f14-46b4-a4ea-a86e6e8c4acc" providerId="ADAL" clId="{493B601D-AED1-4458-9C3D-290220ACCFB4}" dt="2022-05-20T13:11:33.227" v="638" actId="21"/>
        <pc:sldMasterMkLst>
          <pc:docMk/>
          <pc:sldMasterMk cId="756595898" sldId="2147483890"/>
        </pc:sldMasterMkLst>
        <pc:spChg chg="del">
          <ac:chgData name="Marta" userId="eac6eb22-5f14-46b4-a4ea-a86e6e8c4acc" providerId="ADAL" clId="{493B601D-AED1-4458-9C3D-290220ACCFB4}" dt="2022-05-20T13:11:33.227" v="638" actId="21"/>
          <ac:spMkLst>
            <pc:docMk/>
            <pc:sldMasterMk cId="756595898" sldId="2147483890"/>
            <ac:spMk id="14" creationId="{7A1A9E8F-E2E2-4CF0-B0F8-BD0F27917FF9}"/>
          </ac:spMkLst>
        </pc:spChg>
        <pc:spChg chg="del">
          <ac:chgData name="Marta" userId="eac6eb22-5f14-46b4-a4ea-a86e6e8c4acc" providerId="ADAL" clId="{493B601D-AED1-4458-9C3D-290220ACCFB4}" dt="2022-05-20T13:11:33.227" v="638" actId="21"/>
          <ac:spMkLst>
            <pc:docMk/>
            <pc:sldMasterMk cId="756595898" sldId="2147483890"/>
            <ac:spMk id="15" creationId="{2C7BE194-01B8-446B-9A26-841715E59C0A}"/>
          </ac:spMkLst>
        </pc:spChg>
        <pc:spChg chg="del">
          <ac:chgData name="Marta" userId="eac6eb22-5f14-46b4-a4ea-a86e6e8c4acc" providerId="ADAL" clId="{493B601D-AED1-4458-9C3D-290220ACCFB4}" dt="2022-05-20T13:11:33.227" v="638" actId="21"/>
          <ac:spMkLst>
            <pc:docMk/>
            <pc:sldMasterMk cId="756595898" sldId="2147483890"/>
            <ac:spMk id="17" creationId="{BDCE6D23-1592-409E-A849-E4932543BC87}"/>
          </ac:spMkLst>
        </pc:spChg>
        <pc:picChg chg="del">
          <ac:chgData name="Marta" userId="eac6eb22-5f14-46b4-a4ea-a86e6e8c4acc" providerId="ADAL" clId="{493B601D-AED1-4458-9C3D-290220ACCFB4}" dt="2022-05-20T13:11:33.227" v="638" actId="21"/>
          <ac:picMkLst>
            <pc:docMk/>
            <pc:sldMasterMk cId="756595898" sldId="2147483890"/>
            <ac:picMk id="8" creationId="{9212C2F0-8925-4B19-A926-14CC64FB58E8}"/>
          </ac:picMkLst>
        </pc:picChg>
      </pc:sldMasterChg>
    </pc:docChg>
  </pc:docChgLst>
  <pc:docChgLst>
    <pc:chgData name="Marta" userId="eac6eb22-5f14-46b4-a4ea-a86e6e8c4acc" providerId="ADAL" clId="{3C61FE57-A02B-4D1D-8A45-F86177187684}"/>
    <pc:docChg chg="undo custSel addSld delSld modSld sldOrd addMainMaster delMainMaster modSection">
      <pc:chgData name="Marta" userId="eac6eb22-5f14-46b4-a4ea-a86e6e8c4acc" providerId="ADAL" clId="{3C61FE57-A02B-4D1D-8A45-F86177187684}" dt="2022-11-29T16:29:55.553" v="1375"/>
      <pc:docMkLst>
        <pc:docMk/>
      </pc:docMkLst>
      <pc:sldChg chg="modSp mod">
        <pc:chgData name="Marta" userId="eac6eb22-5f14-46b4-a4ea-a86e6e8c4acc" providerId="ADAL" clId="{3C61FE57-A02B-4D1D-8A45-F86177187684}" dt="2022-11-17T16:51:48.485" v="1089" actId="6549"/>
        <pc:sldMkLst>
          <pc:docMk/>
          <pc:sldMk cId="573922979" sldId="256"/>
        </pc:sldMkLst>
        <pc:spChg chg="mod">
          <ac:chgData name="Marta" userId="eac6eb22-5f14-46b4-a4ea-a86e6e8c4acc" providerId="ADAL" clId="{3C61FE57-A02B-4D1D-8A45-F86177187684}" dt="2022-11-17T16:51:48.485" v="1089" actId="6549"/>
          <ac:spMkLst>
            <pc:docMk/>
            <pc:sldMk cId="573922979" sldId="256"/>
            <ac:spMk id="3" creationId="{00000000-0000-0000-0000-000000000000}"/>
          </ac:spMkLst>
        </pc:spChg>
        <pc:spChg chg="mod">
          <ac:chgData name="Marta" userId="eac6eb22-5f14-46b4-a4ea-a86e6e8c4acc" providerId="ADAL" clId="{3C61FE57-A02B-4D1D-8A45-F86177187684}" dt="2022-10-25T15:20:31.163" v="495" actId="20577"/>
          <ac:spMkLst>
            <pc:docMk/>
            <pc:sldMk cId="573922979" sldId="256"/>
            <ac:spMk id="4" creationId="{00000000-0000-0000-0000-000000000000}"/>
          </ac:spMkLst>
        </pc:spChg>
      </pc:sldChg>
      <pc:sldChg chg="modSp mod">
        <pc:chgData name="Marta" userId="eac6eb22-5f14-46b4-a4ea-a86e6e8c4acc" providerId="ADAL" clId="{3C61FE57-A02B-4D1D-8A45-F86177187684}" dt="2022-10-25T16:54:00.437" v="1075"/>
        <pc:sldMkLst>
          <pc:docMk/>
          <pc:sldMk cId="2325718728" sldId="257"/>
        </pc:sldMkLst>
        <pc:spChg chg="mod">
          <ac:chgData name="Marta" userId="eac6eb22-5f14-46b4-a4ea-a86e6e8c4acc" providerId="ADAL" clId="{3C61FE57-A02B-4D1D-8A45-F86177187684}" dt="2022-10-25T16:54:00.437" v="1075"/>
          <ac:spMkLst>
            <pc:docMk/>
            <pc:sldMk cId="2325718728" sldId="257"/>
            <ac:spMk id="5" creationId="{00000000-0000-0000-0000-000000000000}"/>
          </ac:spMkLst>
        </pc:spChg>
        <pc:picChg chg="mod">
          <ac:chgData name="Marta" userId="eac6eb22-5f14-46b4-a4ea-a86e6e8c4acc" providerId="ADAL" clId="{3C61FE57-A02B-4D1D-8A45-F86177187684}" dt="2022-10-25T15:47:06.153" v="981" actId="1076"/>
          <ac:picMkLst>
            <pc:docMk/>
            <pc:sldMk cId="2325718728" sldId="257"/>
            <ac:picMk id="3" creationId="{B7C8E147-0753-4CE0-AFEF-9DC7AB03098B}"/>
          </ac:picMkLst>
        </pc:picChg>
      </pc:sldChg>
      <pc:sldChg chg="addSp delSp modSp mod">
        <pc:chgData name="Marta" userId="eac6eb22-5f14-46b4-a4ea-a86e6e8c4acc" providerId="ADAL" clId="{3C61FE57-A02B-4D1D-8A45-F86177187684}" dt="2022-10-25T16:58:32.022" v="1080" actId="164"/>
        <pc:sldMkLst>
          <pc:docMk/>
          <pc:sldMk cId="3528939462" sldId="258"/>
        </pc:sldMkLst>
        <pc:spChg chg="add mod">
          <ac:chgData name="Marta" userId="eac6eb22-5f14-46b4-a4ea-a86e6e8c4acc" providerId="ADAL" clId="{3C61FE57-A02B-4D1D-8A45-F86177187684}" dt="2022-10-25T16:58:32.022" v="1080" actId="164"/>
          <ac:spMkLst>
            <pc:docMk/>
            <pc:sldMk cId="3528939462" sldId="258"/>
            <ac:spMk id="3" creationId="{EE65FA61-F967-42F3-A89E-0B7E77091DE4}"/>
          </ac:spMkLst>
        </pc:spChg>
        <pc:spChg chg="mod">
          <ac:chgData name="Marta" userId="eac6eb22-5f14-46b4-a4ea-a86e6e8c4acc" providerId="ADAL" clId="{3C61FE57-A02B-4D1D-8A45-F86177187684}" dt="2022-10-25T15:45:10.876" v="956" actId="20577"/>
          <ac:spMkLst>
            <pc:docMk/>
            <pc:sldMk cId="3528939462" sldId="258"/>
            <ac:spMk id="4" creationId="{00000000-0000-0000-0000-000000000000}"/>
          </ac:spMkLst>
        </pc:spChg>
        <pc:spChg chg="mod">
          <ac:chgData name="Marta" userId="eac6eb22-5f14-46b4-a4ea-a86e6e8c4acc" providerId="ADAL" clId="{3C61FE57-A02B-4D1D-8A45-F86177187684}" dt="2022-10-20T12:49:10.498" v="3" actId="1076"/>
          <ac:spMkLst>
            <pc:docMk/>
            <pc:sldMk cId="3528939462" sldId="258"/>
            <ac:spMk id="5" creationId="{00000000-0000-0000-0000-000000000000}"/>
          </ac:spMkLst>
        </pc:spChg>
        <pc:spChg chg="mod topLvl">
          <ac:chgData name="Marta" userId="eac6eb22-5f14-46b4-a4ea-a86e6e8c4acc" providerId="ADAL" clId="{3C61FE57-A02B-4D1D-8A45-F86177187684}" dt="2022-10-25T16:58:32.022" v="1080" actId="164"/>
          <ac:spMkLst>
            <pc:docMk/>
            <pc:sldMk cId="3528939462" sldId="258"/>
            <ac:spMk id="19" creationId="{7A3DD77C-F4D1-4545-9802-4D2A6BDBF7AD}"/>
          </ac:spMkLst>
        </pc:spChg>
        <pc:grpChg chg="del">
          <ac:chgData name="Marta" userId="eac6eb22-5f14-46b4-a4ea-a86e6e8c4acc" providerId="ADAL" clId="{3C61FE57-A02B-4D1D-8A45-F86177187684}" dt="2022-10-20T12:48:58.810" v="0" actId="165"/>
          <ac:grpSpMkLst>
            <pc:docMk/>
            <pc:sldMk cId="3528939462" sldId="258"/>
            <ac:grpSpMk id="2" creationId="{15AD1636-3C84-4B7D-BAD1-04701E4888C3}"/>
          </ac:grpSpMkLst>
        </pc:grpChg>
        <pc:grpChg chg="add mod">
          <ac:chgData name="Marta" userId="eac6eb22-5f14-46b4-a4ea-a86e6e8c4acc" providerId="ADAL" clId="{3C61FE57-A02B-4D1D-8A45-F86177187684}" dt="2022-10-25T16:58:32.022" v="1080" actId="164"/>
          <ac:grpSpMkLst>
            <pc:docMk/>
            <pc:sldMk cId="3528939462" sldId="258"/>
            <ac:grpSpMk id="2" creationId="{7B7451F3-33C0-4577-BBD4-75275FFD0139}"/>
          </ac:grpSpMkLst>
        </pc:grpChg>
        <pc:picChg chg="add del mod">
          <ac:chgData name="Marta" userId="eac6eb22-5f14-46b4-a4ea-a86e6e8c4acc" providerId="ADAL" clId="{3C61FE57-A02B-4D1D-8A45-F86177187684}" dt="2022-10-20T12:53:15.065" v="145" actId="478"/>
          <ac:picMkLst>
            <pc:docMk/>
            <pc:sldMk cId="3528939462" sldId="258"/>
            <ac:picMk id="6" creationId="{196F27A8-2211-49BE-9992-03588FB17CDC}"/>
          </ac:picMkLst>
        </pc:picChg>
        <pc:picChg chg="add mod">
          <ac:chgData name="Marta" userId="eac6eb22-5f14-46b4-a4ea-a86e6e8c4acc" providerId="ADAL" clId="{3C61FE57-A02B-4D1D-8A45-F86177187684}" dt="2022-10-25T16:58:32.022" v="1080" actId="164"/>
          <ac:picMkLst>
            <pc:docMk/>
            <pc:sldMk cId="3528939462" sldId="258"/>
            <ac:picMk id="7" creationId="{286A5F57-8EBE-4ABB-9A26-EB426B491561}"/>
          </ac:picMkLst>
        </pc:picChg>
        <pc:picChg chg="mod topLvl">
          <ac:chgData name="Marta" userId="eac6eb22-5f14-46b4-a4ea-a86e6e8c4acc" providerId="ADAL" clId="{3C61FE57-A02B-4D1D-8A45-F86177187684}" dt="2022-10-25T16:58:32.022" v="1080" actId="164"/>
          <ac:picMkLst>
            <pc:docMk/>
            <pc:sldMk cId="3528939462" sldId="258"/>
            <ac:picMk id="31" creationId="{0594B47B-8C54-445C-9E42-7850FCDAF133}"/>
          </ac:picMkLst>
        </pc:picChg>
        <pc:picChg chg="mod topLvl">
          <ac:chgData name="Marta" userId="eac6eb22-5f14-46b4-a4ea-a86e6e8c4acc" providerId="ADAL" clId="{3C61FE57-A02B-4D1D-8A45-F86177187684}" dt="2022-10-25T16:58:32.022" v="1080" actId="164"/>
          <ac:picMkLst>
            <pc:docMk/>
            <pc:sldMk cId="3528939462" sldId="258"/>
            <ac:picMk id="35" creationId="{81F8D405-DC8B-4918-95E3-7B172FAD1A3C}"/>
          </ac:picMkLst>
        </pc:picChg>
        <pc:picChg chg="add mod">
          <ac:chgData name="Marta" userId="eac6eb22-5f14-46b4-a4ea-a86e6e8c4acc" providerId="ADAL" clId="{3C61FE57-A02B-4D1D-8A45-F86177187684}" dt="2022-10-25T16:58:32.022" v="1080" actId="164"/>
          <ac:picMkLst>
            <pc:docMk/>
            <pc:sldMk cId="3528939462" sldId="258"/>
            <ac:picMk id="1026" creationId="{3BBB4D25-9F5E-4ED7-953E-ECB6F64C1D36}"/>
          </ac:picMkLst>
        </pc:picChg>
        <pc:picChg chg="add del mod">
          <ac:chgData name="Marta" userId="eac6eb22-5f14-46b4-a4ea-a86e6e8c4acc" providerId="ADAL" clId="{3C61FE57-A02B-4D1D-8A45-F86177187684}" dt="2022-10-20T12:54:10.664" v="155" actId="478"/>
          <ac:picMkLst>
            <pc:docMk/>
            <pc:sldMk cId="3528939462" sldId="258"/>
            <ac:picMk id="1028" creationId="{D2BD830E-050E-4707-A64E-69226483DF56}"/>
          </ac:picMkLst>
        </pc:picChg>
        <pc:picChg chg="add mod">
          <ac:chgData name="Marta" userId="eac6eb22-5f14-46b4-a4ea-a86e6e8c4acc" providerId="ADAL" clId="{3C61FE57-A02B-4D1D-8A45-F86177187684}" dt="2022-10-25T16:58:32.022" v="1080" actId="164"/>
          <ac:picMkLst>
            <pc:docMk/>
            <pc:sldMk cId="3528939462" sldId="258"/>
            <ac:picMk id="1030" creationId="{BC1CDA0F-89FC-4404-BC0A-2508774D138C}"/>
          </ac:picMkLst>
        </pc:picChg>
      </pc:sldChg>
      <pc:sldChg chg="del">
        <pc:chgData name="Marta" userId="eac6eb22-5f14-46b4-a4ea-a86e6e8c4acc" providerId="ADAL" clId="{3C61FE57-A02B-4D1D-8A45-F86177187684}" dt="2022-10-25T15:09:06.932" v="260" actId="47"/>
        <pc:sldMkLst>
          <pc:docMk/>
          <pc:sldMk cId="3740286033" sldId="277"/>
        </pc:sldMkLst>
      </pc:sldChg>
      <pc:sldChg chg="del">
        <pc:chgData name="Marta" userId="eac6eb22-5f14-46b4-a4ea-a86e6e8c4acc" providerId="ADAL" clId="{3C61FE57-A02B-4D1D-8A45-F86177187684}" dt="2022-10-25T15:09:05.642" v="258" actId="47"/>
        <pc:sldMkLst>
          <pc:docMk/>
          <pc:sldMk cId="560021826" sldId="317"/>
        </pc:sldMkLst>
      </pc:sldChg>
      <pc:sldChg chg="del">
        <pc:chgData name="Marta" userId="eac6eb22-5f14-46b4-a4ea-a86e6e8c4acc" providerId="ADAL" clId="{3C61FE57-A02B-4D1D-8A45-F86177187684}" dt="2022-10-25T15:09:01.373" v="253" actId="47"/>
        <pc:sldMkLst>
          <pc:docMk/>
          <pc:sldMk cId="2158886557" sldId="384"/>
        </pc:sldMkLst>
      </pc:sldChg>
      <pc:sldChg chg="del">
        <pc:chgData name="Marta" userId="eac6eb22-5f14-46b4-a4ea-a86e6e8c4acc" providerId="ADAL" clId="{3C61FE57-A02B-4D1D-8A45-F86177187684}" dt="2022-10-25T15:09:19.189" v="279" actId="47"/>
        <pc:sldMkLst>
          <pc:docMk/>
          <pc:sldMk cId="3247798845" sldId="391"/>
        </pc:sldMkLst>
      </pc:sldChg>
      <pc:sldChg chg="del">
        <pc:chgData name="Marta" userId="eac6eb22-5f14-46b4-a4ea-a86e6e8c4acc" providerId="ADAL" clId="{3C61FE57-A02B-4D1D-8A45-F86177187684}" dt="2022-10-25T15:09:01.851" v="254" actId="47"/>
        <pc:sldMkLst>
          <pc:docMk/>
          <pc:sldMk cId="90443993" sldId="392"/>
        </pc:sldMkLst>
      </pc:sldChg>
      <pc:sldChg chg="del">
        <pc:chgData name="Marta" userId="eac6eb22-5f14-46b4-a4ea-a86e6e8c4acc" providerId="ADAL" clId="{3C61FE57-A02B-4D1D-8A45-F86177187684}" dt="2022-10-25T15:09:04.081" v="256" actId="47"/>
        <pc:sldMkLst>
          <pc:docMk/>
          <pc:sldMk cId="4181620258" sldId="393"/>
        </pc:sldMkLst>
      </pc:sldChg>
      <pc:sldChg chg="del">
        <pc:chgData name="Marta" userId="eac6eb22-5f14-46b4-a4ea-a86e6e8c4acc" providerId="ADAL" clId="{3C61FE57-A02B-4D1D-8A45-F86177187684}" dt="2022-10-25T15:09:03.520" v="255" actId="47"/>
        <pc:sldMkLst>
          <pc:docMk/>
          <pc:sldMk cId="4262670783" sldId="394"/>
        </pc:sldMkLst>
      </pc:sldChg>
      <pc:sldChg chg="del">
        <pc:chgData name="Marta" userId="eac6eb22-5f14-46b4-a4ea-a86e6e8c4acc" providerId="ADAL" clId="{3C61FE57-A02B-4D1D-8A45-F86177187684}" dt="2022-10-25T15:09:05.276" v="257" actId="47"/>
        <pc:sldMkLst>
          <pc:docMk/>
          <pc:sldMk cId="2023272645" sldId="395"/>
        </pc:sldMkLst>
      </pc:sldChg>
      <pc:sldChg chg="del">
        <pc:chgData name="Marta" userId="eac6eb22-5f14-46b4-a4ea-a86e6e8c4acc" providerId="ADAL" clId="{3C61FE57-A02B-4D1D-8A45-F86177187684}" dt="2022-10-25T15:09:09.384" v="263" actId="47"/>
        <pc:sldMkLst>
          <pc:docMk/>
          <pc:sldMk cId="1939490113" sldId="396"/>
        </pc:sldMkLst>
      </pc:sldChg>
      <pc:sldChg chg="del">
        <pc:chgData name="Marta" userId="eac6eb22-5f14-46b4-a4ea-a86e6e8c4acc" providerId="ADAL" clId="{3C61FE57-A02B-4D1D-8A45-F86177187684}" dt="2022-10-25T15:09:06.744" v="259" actId="47"/>
        <pc:sldMkLst>
          <pc:docMk/>
          <pc:sldMk cId="1098649409" sldId="397"/>
        </pc:sldMkLst>
      </pc:sldChg>
      <pc:sldChg chg="del">
        <pc:chgData name="Marta" userId="eac6eb22-5f14-46b4-a4ea-a86e6e8c4acc" providerId="ADAL" clId="{3C61FE57-A02B-4D1D-8A45-F86177187684}" dt="2022-10-25T15:09:08.078" v="262" actId="47"/>
        <pc:sldMkLst>
          <pc:docMk/>
          <pc:sldMk cId="2038971844" sldId="399"/>
        </pc:sldMkLst>
      </pc:sldChg>
      <pc:sldChg chg="del">
        <pc:chgData name="Marta" userId="eac6eb22-5f14-46b4-a4ea-a86e6e8c4acc" providerId="ADAL" clId="{3C61FE57-A02B-4D1D-8A45-F86177187684}" dt="2022-10-25T15:09:10.078" v="264" actId="47"/>
        <pc:sldMkLst>
          <pc:docMk/>
          <pc:sldMk cId="3849338369" sldId="400"/>
        </pc:sldMkLst>
      </pc:sldChg>
      <pc:sldChg chg="del">
        <pc:chgData name="Marta" userId="eac6eb22-5f14-46b4-a4ea-a86e6e8c4acc" providerId="ADAL" clId="{3C61FE57-A02B-4D1D-8A45-F86177187684}" dt="2022-10-25T15:09:11.115" v="265" actId="47"/>
        <pc:sldMkLst>
          <pc:docMk/>
          <pc:sldMk cId="695162734" sldId="402"/>
        </pc:sldMkLst>
      </pc:sldChg>
      <pc:sldChg chg="del">
        <pc:chgData name="Marta" userId="eac6eb22-5f14-46b4-a4ea-a86e6e8c4acc" providerId="ADAL" clId="{3C61FE57-A02B-4D1D-8A45-F86177187684}" dt="2022-10-25T15:09:11.482" v="266" actId="47"/>
        <pc:sldMkLst>
          <pc:docMk/>
          <pc:sldMk cId="1855386000" sldId="403"/>
        </pc:sldMkLst>
      </pc:sldChg>
      <pc:sldChg chg="del">
        <pc:chgData name="Marta" userId="eac6eb22-5f14-46b4-a4ea-a86e6e8c4acc" providerId="ADAL" clId="{3C61FE57-A02B-4D1D-8A45-F86177187684}" dt="2022-10-25T15:09:12.417" v="267" actId="47"/>
        <pc:sldMkLst>
          <pc:docMk/>
          <pc:sldMk cId="3760891298" sldId="404"/>
        </pc:sldMkLst>
      </pc:sldChg>
      <pc:sldChg chg="del">
        <pc:chgData name="Marta" userId="eac6eb22-5f14-46b4-a4ea-a86e6e8c4acc" providerId="ADAL" clId="{3C61FE57-A02B-4D1D-8A45-F86177187684}" dt="2022-10-25T15:09:13.768" v="269" actId="47"/>
        <pc:sldMkLst>
          <pc:docMk/>
          <pc:sldMk cId="1187584759" sldId="407"/>
        </pc:sldMkLst>
      </pc:sldChg>
      <pc:sldChg chg="del">
        <pc:chgData name="Marta" userId="eac6eb22-5f14-46b4-a4ea-a86e6e8c4acc" providerId="ADAL" clId="{3C61FE57-A02B-4D1D-8A45-F86177187684}" dt="2022-10-25T15:09:12.820" v="268" actId="47"/>
        <pc:sldMkLst>
          <pc:docMk/>
          <pc:sldMk cId="3782587774" sldId="408"/>
        </pc:sldMkLst>
      </pc:sldChg>
      <pc:sldChg chg="del">
        <pc:chgData name="Marta" userId="eac6eb22-5f14-46b4-a4ea-a86e6e8c4acc" providerId="ADAL" clId="{3C61FE57-A02B-4D1D-8A45-F86177187684}" dt="2022-10-25T15:09:14.220" v="270" actId="47"/>
        <pc:sldMkLst>
          <pc:docMk/>
          <pc:sldMk cId="845024425" sldId="409"/>
        </pc:sldMkLst>
      </pc:sldChg>
      <pc:sldChg chg="del">
        <pc:chgData name="Marta" userId="eac6eb22-5f14-46b4-a4ea-a86e6e8c4acc" providerId="ADAL" clId="{3C61FE57-A02B-4D1D-8A45-F86177187684}" dt="2022-10-25T15:09:15.040" v="271" actId="47"/>
        <pc:sldMkLst>
          <pc:docMk/>
          <pc:sldMk cId="1782779914" sldId="410"/>
        </pc:sldMkLst>
      </pc:sldChg>
      <pc:sldChg chg="del">
        <pc:chgData name="Marta" userId="eac6eb22-5f14-46b4-a4ea-a86e6e8c4acc" providerId="ADAL" clId="{3C61FE57-A02B-4D1D-8A45-F86177187684}" dt="2022-10-25T15:09:15.641" v="272" actId="47"/>
        <pc:sldMkLst>
          <pc:docMk/>
          <pc:sldMk cId="3378755196" sldId="411"/>
        </pc:sldMkLst>
      </pc:sldChg>
      <pc:sldChg chg="del">
        <pc:chgData name="Marta" userId="eac6eb22-5f14-46b4-a4ea-a86e6e8c4acc" providerId="ADAL" clId="{3C61FE57-A02B-4D1D-8A45-F86177187684}" dt="2022-10-25T15:09:16.278" v="273" actId="47"/>
        <pc:sldMkLst>
          <pc:docMk/>
          <pc:sldMk cId="2282196625" sldId="412"/>
        </pc:sldMkLst>
      </pc:sldChg>
      <pc:sldChg chg="del">
        <pc:chgData name="Marta" userId="eac6eb22-5f14-46b4-a4ea-a86e6e8c4acc" providerId="ADAL" clId="{3C61FE57-A02B-4D1D-8A45-F86177187684}" dt="2022-10-25T15:09:16.892" v="274" actId="47"/>
        <pc:sldMkLst>
          <pc:docMk/>
          <pc:sldMk cId="2368872694" sldId="414"/>
        </pc:sldMkLst>
      </pc:sldChg>
      <pc:sldChg chg="del">
        <pc:chgData name="Marta" userId="eac6eb22-5f14-46b4-a4ea-a86e6e8c4acc" providerId="ADAL" clId="{3C61FE57-A02B-4D1D-8A45-F86177187684}" dt="2022-10-25T15:09:17.326" v="275" actId="47"/>
        <pc:sldMkLst>
          <pc:docMk/>
          <pc:sldMk cId="2429259181" sldId="415"/>
        </pc:sldMkLst>
      </pc:sldChg>
      <pc:sldChg chg="del">
        <pc:chgData name="Marta" userId="eac6eb22-5f14-46b4-a4ea-a86e6e8c4acc" providerId="ADAL" clId="{3C61FE57-A02B-4D1D-8A45-F86177187684}" dt="2022-10-25T15:09:18.300" v="277" actId="47"/>
        <pc:sldMkLst>
          <pc:docMk/>
          <pc:sldMk cId="2970141981" sldId="416"/>
        </pc:sldMkLst>
      </pc:sldChg>
      <pc:sldChg chg="del">
        <pc:chgData name="Marta" userId="eac6eb22-5f14-46b4-a4ea-a86e6e8c4acc" providerId="ADAL" clId="{3C61FE57-A02B-4D1D-8A45-F86177187684}" dt="2022-10-25T15:09:17.704" v="276" actId="47"/>
        <pc:sldMkLst>
          <pc:docMk/>
          <pc:sldMk cId="2236300998" sldId="417"/>
        </pc:sldMkLst>
      </pc:sldChg>
      <pc:sldChg chg="del">
        <pc:chgData name="Marta" userId="eac6eb22-5f14-46b4-a4ea-a86e6e8c4acc" providerId="ADAL" clId="{3C61FE57-A02B-4D1D-8A45-F86177187684}" dt="2022-10-25T15:09:18.805" v="278" actId="47"/>
        <pc:sldMkLst>
          <pc:docMk/>
          <pc:sldMk cId="1178241170" sldId="418"/>
        </pc:sldMkLst>
      </pc:sldChg>
      <pc:sldChg chg="del">
        <pc:chgData name="Marta" userId="eac6eb22-5f14-46b4-a4ea-a86e6e8c4acc" providerId="ADAL" clId="{3C61FE57-A02B-4D1D-8A45-F86177187684}" dt="2022-10-25T15:09:07.945" v="261" actId="47"/>
        <pc:sldMkLst>
          <pc:docMk/>
          <pc:sldMk cId="2971210888" sldId="420"/>
        </pc:sldMkLst>
      </pc:sldChg>
      <pc:sldChg chg="modSp mod ord">
        <pc:chgData name="Marta" userId="eac6eb22-5f14-46b4-a4ea-a86e6e8c4acc" providerId="ADAL" clId="{3C61FE57-A02B-4D1D-8A45-F86177187684}" dt="2022-10-25T15:45:39.003" v="962" actId="20577"/>
        <pc:sldMkLst>
          <pc:docMk/>
          <pc:sldMk cId="3828261807" sldId="443"/>
        </pc:sldMkLst>
        <pc:spChg chg="mod">
          <ac:chgData name="Marta" userId="eac6eb22-5f14-46b4-a4ea-a86e6e8c4acc" providerId="ADAL" clId="{3C61FE57-A02B-4D1D-8A45-F86177187684}" dt="2022-10-25T15:45:39.003" v="962" actId="20577"/>
          <ac:spMkLst>
            <pc:docMk/>
            <pc:sldMk cId="3828261807" sldId="443"/>
            <ac:spMk id="6" creationId="{00000000-0000-0000-0000-000000000000}"/>
          </ac:spMkLst>
        </pc:spChg>
      </pc:sldChg>
      <pc:sldChg chg="addSp delSp modSp mod">
        <pc:chgData name="Marta" userId="eac6eb22-5f14-46b4-a4ea-a86e6e8c4acc" providerId="ADAL" clId="{3C61FE57-A02B-4D1D-8A45-F86177187684}" dt="2022-11-28T18:11:49.986" v="1299" actId="1076"/>
        <pc:sldMkLst>
          <pc:docMk/>
          <pc:sldMk cId="2693195115" sldId="461"/>
        </pc:sldMkLst>
        <pc:spChg chg="mod">
          <ac:chgData name="Marta" userId="eac6eb22-5f14-46b4-a4ea-a86e6e8c4acc" providerId="ADAL" clId="{3C61FE57-A02B-4D1D-8A45-F86177187684}" dt="2022-10-25T15:27:43.903" v="641"/>
          <ac:spMkLst>
            <pc:docMk/>
            <pc:sldMk cId="2693195115" sldId="461"/>
            <ac:spMk id="11" creationId="{4B37742C-E7B3-4B6F-B7F7-41C69047103B}"/>
          </ac:spMkLst>
        </pc:spChg>
        <pc:spChg chg="mod">
          <ac:chgData name="Marta" userId="eac6eb22-5f14-46b4-a4ea-a86e6e8c4acc" providerId="ADAL" clId="{3C61FE57-A02B-4D1D-8A45-F86177187684}" dt="2022-10-25T17:14:32.096" v="1081"/>
          <ac:spMkLst>
            <pc:docMk/>
            <pc:sldMk cId="2693195115" sldId="461"/>
            <ac:spMk id="16" creationId="{A188A548-96A8-4D2F-8179-7CB96D16B0F5}"/>
          </ac:spMkLst>
        </pc:spChg>
        <pc:graphicFrameChg chg="add mod">
          <ac:chgData name="Marta" userId="eac6eb22-5f14-46b4-a4ea-a86e6e8c4acc" providerId="ADAL" clId="{3C61FE57-A02B-4D1D-8A45-F86177187684}" dt="2022-11-28T18:11:49.986" v="1299" actId="1076"/>
          <ac:graphicFrameMkLst>
            <pc:docMk/>
            <pc:sldMk cId="2693195115" sldId="461"/>
            <ac:graphicFrameMk id="2" creationId="{93989665-6229-4EF5-B3DF-1F8CC62BF050}"/>
          </ac:graphicFrameMkLst>
        </pc:graphicFrameChg>
        <pc:picChg chg="del">
          <ac:chgData name="Marta" userId="eac6eb22-5f14-46b4-a4ea-a86e6e8c4acc" providerId="ADAL" clId="{3C61FE57-A02B-4D1D-8A45-F86177187684}" dt="2022-10-25T15:27:28.126" v="634" actId="478"/>
          <ac:picMkLst>
            <pc:docMk/>
            <pc:sldMk cId="2693195115" sldId="461"/>
            <ac:picMk id="3" creationId="{2025F764-7F9C-4152-BA35-DB2333178F24}"/>
          </ac:picMkLst>
        </pc:picChg>
        <pc:picChg chg="add mod modCrop">
          <ac:chgData name="Marta" userId="eac6eb22-5f14-46b4-a4ea-a86e6e8c4acc" providerId="ADAL" clId="{3C61FE57-A02B-4D1D-8A45-F86177187684}" dt="2022-11-28T18:11:08.327" v="1295" actId="732"/>
          <ac:picMkLst>
            <pc:docMk/>
            <pc:sldMk cId="2693195115" sldId="461"/>
            <ac:picMk id="4" creationId="{E979B96D-8F0E-4A4F-9284-FCFF6B2FE46E}"/>
          </ac:picMkLst>
        </pc:picChg>
      </pc:sldChg>
      <pc:sldChg chg="modSp mod">
        <pc:chgData name="Marta" userId="eac6eb22-5f14-46b4-a4ea-a86e6e8c4acc" providerId="ADAL" clId="{3C61FE57-A02B-4D1D-8A45-F86177187684}" dt="2022-10-25T15:57:54.387" v="984" actId="255"/>
        <pc:sldMkLst>
          <pc:docMk/>
          <pc:sldMk cId="1484635905" sldId="753"/>
        </pc:sldMkLst>
        <pc:spChg chg="mod">
          <ac:chgData name="Marta" userId="eac6eb22-5f14-46b4-a4ea-a86e6e8c4acc" providerId="ADAL" clId="{3C61FE57-A02B-4D1D-8A45-F86177187684}" dt="2022-10-25T15:57:54.387" v="984" actId="255"/>
          <ac:spMkLst>
            <pc:docMk/>
            <pc:sldMk cId="1484635905" sldId="753"/>
            <ac:spMk id="6" creationId="{00000000-0000-0000-0000-000000000000}"/>
          </ac:spMkLst>
        </pc:spChg>
      </pc:sldChg>
      <pc:sldChg chg="modSp mod">
        <pc:chgData name="Marta" userId="eac6eb22-5f14-46b4-a4ea-a86e6e8c4acc" providerId="ADAL" clId="{3C61FE57-A02B-4D1D-8A45-F86177187684}" dt="2022-10-25T15:57:17.678" v="982"/>
        <pc:sldMkLst>
          <pc:docMk/>
          <pc:sldMk cId="2932444859" sldId="756"/>
        </pc:sldMkLst>
        <pc:spChg chg="mod">
          <ac:chgData name="Marta" userId="eac6eb22-5f14-46b4-a4ea-a86e6e8c4acc" providerId="ADAL" clId="{3C61FE57-A02B-4D1D-8A45-F86177187684}" dt="2022-10-25T15:57:17.678" v="982"/>
          <ac:spMkLst>
            <pc:docMk/>
            <pc:sldMk cId="2932444859" sldId="756"/>
            <ac:spMk id="4" creationId="{00000000-0000-0000-0000-000000000000}"/>
          </ac:spMkLst>
        </pc:spChg>
        <pc:spChg chg="mod">
          <ac:chgData name="Marta" userId="eac6eb22-5f14-46b4-a4ea-a86e6e8c4acc" providerId="ADAL" clId="{3C61FE57-A02B-4D1D-8A45-F86177187684}" dt="2022-10-25T15:11:16.989" v="295" actId="20577"/>
          <ac:spMkLst>
            <pc:docMk/>
            <pc:sldMk cId="2932444859" sldId="756"/>
            <ac:spMk id="8" creationId="{994CAA25-984D-4484-838B-9B092E7155F2}"/>
          </ac:spMkLst>
        </pc:spChg>
      </pc:sldChg>
      <pc:sldChg chg="modSp mod">
        <pc:chgData name="Marta" userId="eac6eb22-5f14-46b4-a4ea-a86e6e8c4acc" providerId="ADAL" clId="{3C61FE57-A02B-4D1D-8A45-F86177187684}" dt="2022-11-28T18:14:10.665" v="1307" actId="20577"/>
        <pc:sldMkLst>
          <pc:docMk/>
          <pc:sldMk cId="4279644075" sldId="759"/>
        </pc:sldMkLst>
        <pc:spChg chg="mod">
          <ac:chgData name="Marta" userId="eac6eb22-5f14-46b4-a4ea-a86e6e8c4acc" providerId="ADAL" clId="{3C61FE57-A02B-4D1D-8A45-F86177187684}" dt="2022-10-25T15:45:13.891" v="958" actId="20577"/>
          <ac:spMkLst>
            <pc:docMk/>
            <pc:sldMk cId="4279644075" sldId="759"/>
            <ac:spMk id="3" creationId="{00000000-0000-0000-0000-000000000000}"/>
          </ac:spMkLst>
        </pc:spChg>
        <pc:spChg chg="mod">
          <ac:chgData name="Marta" userId="eac6eb22-5f14-46b4-a4ea-a86e6e8c4acc" providerId="ADAL" clId="{3C61FE57-A02B-4D1D-8A45-F86177187684}" dt="2022-11-28T18:14:10.665" v="1307" actId="20577"/>
          <ac:spMkLst>
            <pc:docMk/>
            <pc:sldMk cId="4279644075" sldId="759"/>
            <ac:spMk id="9" creationId="{5EB1A567-6EC8-4912-9C2F-000067B6D567}"/>
          </ac:spMkLst>
        </pc:spChg>
      </pc:sldChg>
      <pc:sldChg chg="addSp delSp modSp mod">
        <pc:chgData name="Marta" userId="eac6eb22-5f14-46b4-a4ea-a86e6e8c4acc" providerId="ADAL" clId="{3C61FE57-A02B-4D1D-8A45-F86177187684}" dt="2022-10-25T15:45:47.699" v="970" actId="20577"/>
        <pc:sldMkLst>
          <pc:docMk/>
          <pc:sldMk cId="644561616" sldId="901"/>
        </pc:sldMkLst>
        <pc:spChg chg="mod">
          <ac:chgData name="Marta" userId="eac6eb22-5f14-46b4-a4ea-a86e6e8c4acc" providerId="ADAL" clId="{3C61FE57-A02B-4D1D-8A45-F86177187684}" dt="2022-10-25T15:16:17.218" v="395" actId="27636"/>
          <ac:spMkLst>
            <pc:docMk/>
            <pc:sldMk cId="644561616" sldId="901"/>
            <ac:spMk id="2" creationId="{F49F4E2B-EEB0-4736-A001-E9CD8947E750}"/>
          </ac:spMkLst>
        </pc:spChg>
        <pc:spChg chg="mod">
          <ac:chgData name="Marta" userId="eac6eb22-5f14-46b4-a4ea-a86e6e8c4acc" providerId="ADAL" clId="{3C61FE57-A02B-4D1D-8A45-F86177187684}" dt="2022-10-25T15:45:45.352" v="967" actId="20577"/>
          <ac:spMkLst>
            <pc:docMk/>
            <pc:sldMk cId="644561616" sldId="901"/>
            <ac:spMk id="6" creationId="{00000000-0000-0000-0000-000000000000}"/>
          </ac:spMkLst>
        </pc:spChg>
        <pc:spChg chg="add del mod">
          <ac:chgData name="Marta" userId="eac6eb22-5f14-46b4-a4ea-a86e6e8c4acc" providerId="ADAL" clId="{3C61FE57-A02B-4D1D-8A45-F86177187684}" dt="2022-10-25T15:13:25.489" v="297"/>
          <ac:spMkLst>
            <pc:docMk/>
            <pc:sldMk cId="644561616" sldId="901"/>
            <ac:spMk id="7" creationId="{9D56176C-157C-4F67-BAC5-67666FAA3585}"/>
          </ac:spMkLst>
        </pc:spChg>
        <pc:spChg chg="mod">
          <ac:chgData name="Marta" userId="eac6eb22-5f14-46b4-a4ea-a86e6e8c4acc" providerId="ADAL" clId="{3C61FE57-A02B-4D1D-8A45-F86177187684}" dt="2022-10-25T15:45:47.699" v="970" actId="20577"/>
          <ac:spMkLst>
            <pc:docMk/>
            <pc:sldMk cId="644561616" sldId="901"/>
            <ac:spMk id="10" creationId="{66421E13-941D-487E-9F8E-DCFA3FE9C646}"/>
          </ac:spMkLst>
        </pc:spChg>
        <pc:graphicFrameChg chg="add del mod">
          <ac:chgData name="Marta" userId="eac6eb22-5f14-46b4-a4ea-a86e6e8c4acc" providerId="ADAL" clId="{3C61FE57-A02B-4D1D-8A45-F86177187684}" dt="2022-10-25T15:13:25.489" v="297"/>
          <ac:graphicFrameMkLst>
            <pc:docMk/>
            <pc:sldMk cId="644561616" sldId="901"/>
            <ac:graphicFrameMk id="3" creationId="{9F972C17-F874-4B6D-A9FC-41E08CBE9E30}"/>
          </ac:graphicFrameMkLst>
        </pc:graphicFrameChg>
        <pc:picChg chg="del">
          <ac:chgData name="Marta" userId="eac6eb22-5f14-46b4-a4ea-a86e6e8c4acc" providerId="ADAL" clId="{3C61FE57-A02B-4D1D-8A45-F86177187684}" dt="2022-10-25T15:14:57.552" v="320" actId="478"/>
          <ac:picMkLst>
            <pc:docMk/>
            <pc:sldMk cId="644561616" sldId="901"/>
            <ac:picMk id="5" creationId="{A7CE0624-DE4C-4238-8618-DC619B9FF7AB}"/>
          </ac:picMkLst>
        </pc:picChg>
        <pc:picChg chg="add mod">
          <ac:chgData name="Marta" userId="eac6eb22-5f14-46b4-a4ea-a86e6e8c4acc" providerId="ADAL" clId="{3C61FE57-A02B-4D1D-8A45-F86177187684}" dt="2022-10-25T15:16:19.430" v="396" actId="1076"/>
          <ac:picMkLst>
            <pc:docMk/>
            <pc:sldMk cId="644561616" sldId="901"/>
            <ac:picMk id="9" creationId="{B8D64328-8E47-45C4-B0B5-5CD2B02F6B83}"/>
          </ac:picMkLst>
        </pc:picChg>
        <pc:picChg chg="add del mod">
          <ac:chgData name="Marta" userId="eac6eb22-5f14-46b4-a4ea-a86e6e8c4acc" providerId="ADAL" clId="{3C61FE57-A02B-4D1D-8A45-F86177187684}" dt="2022-10-25T15:13:25.489" v="297"/>
          <ac:picMkLst>
            <pc:docMk/>
            <pc:sldMk cId="644561616" sldId="901"/>
            <ac:picMk id="2050" creationId="{73D91EAE-CC4A-40B6-B2FA-F5E1ACD3EE62}"/>
          </ac:picMkLst>
        </pc:picChg>
        <pc:picChg chg="add del mod">
          <ac:chgData name="Marta" userId="eac6eb22-5f14-46b4-a4ea-a86e6e8c4acc" providerId="ADAL" clId="{3C61FE57-A02B-4D1D-8A45-F86177187684}" dt="2022-10-25T15:13:25.489" v="297"/>
          <ac:picMkLst>
            <pc:docMk/>
            <pc:sldMk cId="644561616" sldId="901"/>
            <ac:picMk id="2051" creationId="{7DB0C81C-C681-4C19-B2D6-CE3BD1282E0A}"/>
          </ac:picMkLst>
        </pc:picChg>
        <pc:picChg chg="add del mod">
          <ac:chgData name="Marta" userId="eac6eb22-5f14-46b4-a4ea-a86e6e8c4acc" providerId="ADAL" clId="{3C61FE57-A02B-4D1D-8A45-F86177187684}" dt="2022-10-25T15:13:25.489" v="297"/>
          <ac:picMkLst>
            <pc:docMk/>
            <pc:sldMk cId="644561616" sldId="901"/>
            <ac:picMk id="2052" creationId="{4651586E-E95E-411C-B82C-9A035BB30D07}"/>
          </ac:picMkLst>
        </pc:picChg>
        <pc:picChg chg="add del mod">
          <ac:chgData name="Marta" userId="eac6eb22-5f14-46b4-a4ea-a86e6e8c4acc" providerId="ADAL" clId="{3C61FE57-A02B-4D1D-8A45-F86177187684}" dt="2022-10-25T15:13:25.489" v="297"/>
          <ac:picMkLst>
            <pc:docMk/>
            <pc:sldMk cId="644561616" sldId="901"/>
            <ac:picMk id="2053" creationId="{86DD6B76-3E1C-4DC9-A85E-7D9708140144}"/>
          </ac:picMkLst>
        </pc:picChg>
      </pc:sldChg>
      <pc:sldChg chg="addSp delSp modSp mod">
        <pc:chgData name="Marta" userId="eac6eb22-5f14-46b4-a4ea-a86e6e8c4acc" providerId="ADAL" clId="{3C61FE57-A02B-4D1D-8A45-F86177187684}" dt="2022-11-29T14:23:45.928" v="1362" actId="1076"/>
        <pc:sldMkLst>
          <pc:docMk/>
          <pc:sldMk cId="3712657699" sldId="939"/>
        </pc:sldMkLst>
        <pc:spChg chg="mod">
          <ac:chgData name="Marta" userId="eac6eb22-5f14-46b4-a4ea-a86e6e8c4acc" providerId="ADAL" clId="{3C61FE57-A02B-4D1D-8A45-F86177187684}" dt="2022-10-25T15:59:40.798" v="987" actId="255"/>
          <ac:spMkLst>
            <pc:docMk/>
            <pc:sldMk cId="3712657699" sldId="939"/>
            <ac:spMk id="2" creationId="{91383D11-DEC4-4BFF-88BB-8FB2206CEB37}"/>
          </ac:spMkLst>
        </pc:spChg>
        <pc:spChg chg="mod">
          <ac:chgData name="Marta" userId="eac6eb22-5f14-46b4-a4ea-a86e6e8c4acc" providerId="ADAL" clId="{3C61FE57-A02B-4D1D-8A45-F86177187684}" dt="2022-10-25T15:17:56.851" v="407" actId="20577"/>
          <ac:spMkLst>
            <pc:docMk/>
            <pc:sldMk cId="3712657699" sldId="939"/>
            <ac:spMk id="10" creationId="{0331A5F1-7904-40A2-A8F1-875643455C5C}"/>
          </ac:spMkLst>
        </pc:spChg>
        <pc:spChg chg="add del">
          <ac:chgData name="Marta" userId="eac6eb22-5f14-46b4-a4ea-a86e6e8c4acc" providerId="ADAL" clId="{3C61FE57-A02B-4D1D-8A45-F86177187684}" dt="2022-10-25T15:24:54.363" v="623" actId="478"/>
          <ac:spMkLst>
            <pc:docMk/>
            <pc:sldMk cId="3712657699" sldId="939"/>
            <ac:spMk id="12" creationId="{C9FE487A-67BE-425D-9EB0-EFE25EFA9F3F}"/>
          </ac:spMkLst>
        </pc:spChg>
        <pc:spChg chg="add del mod">
          <ac:chgData name="Marta" userId="eac6eb22-5f14-46b4-a4ea-a86e6e8c4acc" providerId="ADAL" clId="{3C61FE57-A02B-4D1D-8A45-F86177187684}" dt="2022-10-25T15:25:32.229" v="626" actId="478"/>
          <ac:spMkLst>
            <pc:docMk/>
            <pc:sldMk cId="3712657699" sldId="939"/>
            <ac:spMk id="13" creationId="{485B982E-7257-436C-9C5B-0A27FA9E0501}"/>
          </ac:spMkLst>
        </pc:spChg>
        <pc:grpChg chg="add del mod">
          <ac:chgData name="Marta" userId="eac6eb22-5f14-46b4-a4ea-a86e6e8c4acc" providerId="ADAL" clId="{3C61FE57-A02B-4D1D-8A45-F86177187684}" dt="2022-11-29T14:23:34.231" v="1356" actId="165"/>
          <ac:grpSpMkLst>
            <pc:docMk/>
            <pc:sldMk cId="3712657699" sldId="939"/>
            <ac:grpSpMk id="3" creationId="{5CC7D730-43B6-4AC9-AFF9-35BB48ADF23A}"/>
          </ac:grpSpMkLst>
        </pc:grpChg>
        <pc:grpChg chg="add del mod">
          <ac:chgData name="Marta" userId="eac6eb22-5f14-46b4-a4ea-a86e6e8c4acc" providerId="ADAL" clId="{3C61FE57-A02B-4D1D-8A45-F86177187684}" dt="2022-11-17T16:57:34.131" v="1253" actId="478"/>
          <ac:grpSpMkLst>
            <pc:docMk/>
            <pc:sldMk cId="3712657699" sldId="939"/>
            <ac:grpSpMk id="11" creationId="{2AB4D99B-4E15-4F3D-89D2-971C3F500B92}"/>
          </ac:grpSpMkLst>
        </pc:grpChg>
        <pc:grpChg chg="add del mod">
          <ac:chgData name="Marta" userId="eac6eb22-5f14-46b4-a4ea-a86e6e8c4acc" providerId="ADAL" clId="{3C61FE57-A02B-4D1D-8A45-F86177187684}" dt="2022-10-25T15:25:59.316" v="629" actId="478"/>
          <ac:grpSpMkLst>
            <pc:docMk/>
            <pc:sldMk cId="3712657699" sldId="939"/>
            <ac:grpSpMk id="14" creationId="{11FCD930-CAB4-4059-AB8D-36C2D8307194}"/>
          </ac:grpSpMkLst>
        </pc:grpChg>
        <pc:grpChg chg="add del mod">
          <ac:chgData name="Marta" userId="eac6eb22-5f14-46b4-a4ea-a86e6e8c4acc" providerId="ADAL" clId="{3C61FE57-A02B-4D1D-8A45-F86177187684}" dt="2022-11-28T18:15:35.698" v="1310" actId="165"/>
          <ac:grpSpMkLst>
            <pc:docMk/>
            <pc:sldMk cId="3712657699" sldId="939"/>
            <ac:grpSpMk id="18" creationId="{589DFFCA-8D63-43AC-8124-DA9C03CEFE4A}"/>
          </ac:grpSpMkLst>
        </pc:grpChg>
        <pc:grpChg chg="add del mod">
          <ac:chgData name="Marta" userId="eac6eb22-5f14-46b4-a4ea-a86e6e8c4acc" providerId="ADAL" clId="{3C61FE57-A02B-4D1D-8A45-F86177187684}" dt="2022-11-17T16:57:28.279" v="1250" actId="478"/>
          <ac:grpSpMkLst>
            <pc:docMk/>
            <pc:sldMk cId="3712657699" sldId="939"/>
            <ac:grpSpMk id="21" creationId="{517AC763-EDD5-413C-AC62-F30374062C4C}"/>
          </ac:grpSpMkLst>
        </pc:grpChg>
        <pc:graphicFrameChg chg="mod">
          <ac:chgData name="Marta" userId="eac6eb22-5f14-46b4-a4ea-a86e6e8c4acc" providerId="ADAL" clId="{3C61FE57-A02B-4D1D-8A45-F86177187684}" dt="2022-11-17T16:57:33.512" v="1252" actId="14100"/>
          <ac:graphicFrameMkLst>
            <pc:docMk/>
            <pc:sldMk cId="3712657699" sldId="939"/>
            <ac:graphicFrameMk id="17" creationId="{7ECAF2E0-EF65-455E-BF54-9EA3D6F06818}"/>
          </ac:graphicFrameMkLst>
        </pc:graphicFrameChg>
        <pc:graphicFrameChg chg="mod topLvl">
          <ac:chgData name="Marta" userId="eac6eb22-5f14-46b4-a4ea-a86e6e8c4acc" providerId="ADAL" clId="{3C61FE57-A02B-4D1D-8A45-F86177187684}" dt="2022-11-29T14:23:34.231" v="1356" actId="165"/>
          <ac:graphicFrameMkLst>
            <pc:docMk/>
            <pc:sldMk cId="3712657699" sldId="939"/>
            <ac:graphicFrameMk id="28" creationId="{29A46765-7495-4F45-A4B9-63F17490F4B0}"/>
          </ac:graphicFrameMkLst>
        </pc:graphicFrameChg>
        <pc:picChg chg="add del">
          <ac:chgData name="Marta" userId="eac6eb22-5f14-46b4-a4ea-a86e6e8c4acc" providerId="ADAL" clId="{3C61FE57-A02B-4D1D-8A45-F86177187684}" dt="2022-10-25T15:26:33.035" v="631" actId="478"/>
          <ac:picMkLst>
            <pc:docMk/>
            <pc:sldMk cId="3712657699" sldId="939"/>
            <ac:picMk id="6" creationId="{BDCB58BE-DE76-4469-B728-24D8668E4C3A}"/>
          </ac:picMkLst>
        </pc:picChg>
        <pc:picChg chg="del">
          <ac:chgData name="Marta" userId="eac6eb22-5f14-46b4-a4ea-a86e6e8c4acc" providerId="ADAL" clId="{3C61FE57-A02B-4D1D-8A45-F86177187684}" dt="2022-10-25T15:24:50.324" v="620" actId="478"/>
          <ac:picMkLst>
            <pc:docMk/>
            <pc:sldMk cId="3712657699" sldId="939"/>
            <ac:picMk id="9" creationId="{6E06E896-5750-4AF5-B7B9-32A6B56D4C4B}"/>
          </ac:picMkLst>
        </pc:picChg>
        <pc:picChg chg="del">
          <ac:chgData name="Marta" userId="eac6eb22-5f14-46b4-a4ea-a86e6e8c4acc" providerId="ADAL" clId="{3C61FE57-A02B-4D1D-8A45-F86177187684}" dt="2022-10-25T15:24:51.028" v="621" actId="478"/>
          <ac:picMkLst>
            <pc:docMk/>
            <pc:sldMk cId="3712657699" sldId="939"/>
            <ac:picMk id="11" creationId="{FA8A3114-0D6A-4FFF-8DD7-F045F278DE16}"/>
          </ac:picMkLst>
        </pc:picChg>
        <pc:picChg chg="mod">
          <ac:chgData name="Marta" userId="eac6eb22-5f14-46b4-a4ea-a86e6e8c4acc" providerId="ADAL" clId="{3C61FE57-A02B-4D1D-8A45-F86177187684}" dt="2022-11-17T16:57:33.512" v="1252" actId="14100"/>
          <ac:picMkLst>
            <pc:docMk/>
            <pc:sldMk cId="3712657699" sldId="939"/>
            <ac:picMk id="12" creationId="{D932D947-7CCB-4CDF-951B-C2130DDD83F4}"/>
          </ac:picMkLst>
        </pc:picChg>
        <pc:picChg chg="mod">
          <ac:chgData name="Marta" userId="eac6eb22-5f14-46b4-a4ea-a86e6e8c4acc" providerId="ADAL" clId="{3C61FE57-A02B-4D1D-8A45-F86177187684}" dt="2022-11-17T16:57:33.512" v="1252" actId="14100"/>
          <ac:picMkLst>
            <pc:docMk/>
            <pc:sldMk cId="3712657699" sldId="939"/>
            <ac:picMk id="13" creationId="{0C2D843E-3B5F-4E2E-8C02-7C20D5548734}"/>
          </ac:picMkLst>
        </pc:picChg>
        <pc:picChg chg="mod">
          <ac:chgData name="Marta" userId="eac6eb22-5f14-46b4-a4ea-a86e6e8c4acc" providerId="ADAL" clId="{3C61FE57-A02B-4D1D-8A45-F86177187684}" dt="2022-11-17T16:57:33.512" v="1252" actId="14100"/>
          <ac:picMkLst>
            <pc:docMk/>
            <pc:sldMk cId="3712657699" sldId="939"/>
            <ac:picMk id="14" creationId="{10288542-F468-4BDD-8C68-A1D30CF177EF}"/>
          </ac:picMkLst>
        </pc:picChg>
        <pc:picChg chg="mod">
          <ac:chgData name="Marta" userId="eac6eb22-5f14-46b4-a4ea-a86e6e8c4acc" providerId="ADAL" clId="{3C61FE57-A02B-4D1D-8A45-F86177187684}" dt="2022-11-17T16:57:33.512" v="1252" actId="14100"/>
          <ac:picMkLst>
            <pc:docMk/>
            <pc:sldMk cId="3712657699" sldId="939"/>
            <ac:picMk id="15" creationId="{63E8D0C1-77E2-4668-8B94-5D479E567A7D}"/>
          </ac:picMkLst>
        </pc:picChg>
        <pc:picChg chg="mod">
          <ac:chgData name="Marta" userId="eac6eb22-5f14-46b4-a4ea-a86e6e8c4acc" providerId="ADAL" clId="{3C61FE57-A02B-4D1D-8A45-F86177187684}" dt="2022-10-25T15:25:58.609" v="628" actId="14100"/>
          <ac:picMkLst>
            <pc:docMk/>
            <pc:sldMk cId="3712657699" sldId="939"/>
            <ac:picMk id="15" creationId="{D3F2A235-83EF-44A8-87A4-0A7DF928F114}"/>
          </ac:picMkLst>
        </pc:picChg>
        <pc:picChg chg="mod">
          <ac:chgData name="Marta" userId="eac6eb22-5f14-46b4-a4ea-a86e6e8c4acc" providerId="ADAL" clId="{3C61FE57-A02B-4D1D-8A45-F86177187684}" dt="2022-10-25T15:25:58.609" v="628" actId="14100"/>
          <ac:picMkLst>
            <pc:docMk/>
            <pc:sldMk cId="3712657699" sldId="939"/>
            <ac:picMk id="17" creationId="{5F480766-D040-4671-B2D3-47F97A76E8A4}"/>
          </ac:picMkLst>
        </pc:picChg>
        <pc:picChg chg="mod">
          <ac:chgData name="Marta" userId="eac6eb22-5f14-46b4-a4ea-a86e6e8c4acc" providerId="ADAL" clId="{3C61FE57-A02B-4D1D-8A45-F86177187684}" dt="2022-10-25T15:25:58.609" v="628" actId="14100"/>
          <ac:picMkLst>
            <pc:docMk/>
            <pc:sldMk cId="3712657699" sldId="939"/>
            <ac:picMk id="18" creationId="{A0B41B68-9FC3-4F00-8093-9CC45F72A1FC}"/>
          </ac:picMkLst>
        </pc:picChg>
        <pc:picChg chg="mod topLvl">
          <ac:chgData name="Marta" userId="eac6eb22-5f14-46b4-a4ea-a86e6e8c4acc" providerId="ADAL" clId="{3C61FE57-A02B-4D1D-8A45-F86177187684}" dt="2022-11-29T14:23:34.231" v="1356" actId="165"/>
          <ac:picMkLst>
            <pc:docMk/>
            <pc:sldMk cId="3712657699" sldId="939"/>
            <ac:picMk id="19" creationId="{9A2FD6AD-DF0C-45DD-A407-75260AABA954}"/>
          </ac:picMkLst>
        </pc:picChg>
        <pc:picChg chg="mod">
          <ac:chgData name="Marta" userId="eac6eb22-5f14-46b4-a4ea-a86e6e8c4acc" providerId="ADAL" clId="{3C61FE57-A02B-4D1D-8A45-F86177187684}" dt="2022-10-25T15:25:58.609" v="628" actId="14100"/>
          <ac:picMkLst>
            <pc:docMk/>
            <pc:sldMk cId="3712657699" sldId="939"/>
            <ac:picMk id="19" creationId="{9D03D872-7434-400F-A1C5-B5968FE59840}"/>
          </ac:picMkLst>
        </pc:picChg>
        <pc:picChg chg="mod topLvl">
          <ac:chgData name="Marta" userId="eac6eb22-5f14-46b4-a4ea-a86e6e8c4acc" providerId="ADAL" clId="{3C61FE57-A02B-4D1D-8A45-F86177187684}" dt="2022-11-29T14:23:34.231" v="1356" actId="165"/>
          <ac:picMkLst>
            <pc:docMk/>
            <pc:sldMk cId="3712657699" sldId="939"/>
            <ac:picMk id="20" creationId="{340EFFB1-9B52-4129-8863-90174B4D4F64}"/>
          </ac:picMkLst>
        </pc:picChg>
        <pc:picChg chg="mod">
          <ac:chgData name="Marta" userId="eac6eb22-5f14-46b4-a4ea-a86e6e8c4acc" providerId="ADAL" clId="{3C61FE57-A02B-4D1D-8A45-F86177187684}" dt="2022-10-25T15:26:40.076" v="633" actId="1076"/>
          <ac:picMkLst>
            <pc:docMk/>
            <pc:sldMk cId="3712657699" sldId="939"/>
            <ac:picMk id="22" creationId="{632B5B9D-5577-46A0-A90B-BBA39D6F66CC}"/>
          </ac:picMkLst>
        </pc:picChg>
        <pc:picChg chg="mod">
          <ac:chgData name="Marta" userId="eac6eb22-5f14-46b4-a4ea-a86e6e8c4acc" providerId="ADAL" clId="{3C61FE57-A02B-4D1D-8A45-F86177187684}" dt="2022-10-25T15:26:40.076" v="633" actId="1076"/>
          <ac:picMkLst>
            <pc:docMk/>
            <pc:sldMk cId="3712657699" sldId="939"/>
            <ac:picMk id="23" creationId="{9AC537EE-3A5F-458C-A6AA-7606E0616AC5}"/>
          </ac:picMkLst>
        </pc:picChg>
        <pc:picChg chg="mod">
          <ac:chgData name="Marta" userId="eac6eb22-5f14-46b4-a4ea-a86e6e8c4acc" providerId="ADAL" clId="{3C61FE57-A02B-4D1D-8A45-F86177187684}" dt="2022-10-25T15:26:40.076" v="633" actId="1076"/>
          <ac:picMkLst>
            <pc:docMk/>
            <pc:sldMk cId="3712657699" sldId="939"/>
            <ac:picMk id="24" creationId="{37A369F3-A7A7-4D14-9546-51C05009FD0B}"/>
          </ac:picMkLst>
        </pc:picChg>
        <pc:picChg chg="mod">
          <ac:chgData name="Marta" userId="eac6eb22-5f14-46b4-a4ea-a86e6e8c4acc" providerId="ADAL" clId="{3C61FE57-A02B-4D1D-8A45-F86177187684}" dt="2022-10-25T15:26:40.076" v="633" actId="1076"/>
          <ac:picMkLst>
            <pc:docMk/>
            <pc:sldMk cId="3712657699" sldId="939"/>
            <ac:picMk id="25" creationId="{DBE62E8E-19F4-40F6-BDD7-CCF03D7ABAD2}"/>
          </ac:picMkLst>
        </pc:picChg>
        <pc:picChg chg="mod topLvl">
          <ac:chgData name="Marta" userId="eac6eb22-5f14-46b4-a4ea-a86e6e8c4acc" providerId="ADAL" clId="{3C61FE57-A02B-4D1D-8A45-F86177187684}" dt="2022-11-29T14:23:44.516" v="1361" actId="1076"/>
          <ac:picMkLst>
            <pc:docMk/>
            <pc:sldMk cId="3712657699" sldId="939"/>
            <ac:picMk id="26" creationId="{4B116D93-30C6-4604-AF1B-A8EE50AF5496}"/>
          </ac:picMkLst>
        </pc:picChg>
        <pc:picChg chg="mod topLvl">
          <ac:chgData name="Marta" userId="eac6eb22-5f14-46b4-a4ea-a86e6e8c4acc" providerId="ADAL" clId="{3C61FE57-A02B-4D1D-8A45-F86177187684}" dt="2022-11-29T14:23:34.231" v="1356" actId="165"/>
          <ac:picMkLst>
            <pc:docMk/>
            <pc:sldMk cId="3712657699" sldId="939"/>
            <ac:picMk id="27" creationId="{10A23CA4-B96C-47D7-A513-4859CA3EFB15}"/>
          </ac:picMkLst>
        </pc:picChg>
        <pc:picChg chg="add mod topLvl">
          <ac:chgData name="Marta" userId="eac6eb22-5f14-46b4-a4ea-a86e6e8c4acc" providerId="ADAL" clId="{3C61FE57-A02B-4D1D-8A45-F86177187684}" dt="2022-11-29T14:23:45.928" v="1362" actId="1076"/>
          <ac:picMkLst>
            <pc:docMk/>
            <pc:sldMk cId="3712657699" sldId="939"/>
            <ac:picMk id="1028" creationId="{A2022067-A264-47BE-ABF8-2918C6D1E53C}"/>
          </ac:picMkLst>
        </pc:picChg>
      </pc:sldChg>
      <pc:sldChg chg="addSp delSp modSp mod">
        <pc:chgData name="Marta" userId="eac6eb22-5f14-46b4-a4ea-a86e6e8c4acc" providerId="ADAL" clId="{3C61FE57-A02B-4D1D-8A45-F86177187684}" dt="2022-11-17T16:58:43.397" v="1292" actId="20577"/>
        <pc:sldMkLst>
          <pc:docMk/>
          <pc:sldMk cId="198001124" sldId="940"/>
        </pc:sldMkLst>
        <pc:spChg chg="del">
          <ac:chgData name="Marta" userId="eac6eb22-5f14-46b4-a4ea-a86e6e8c4acc" providerId="ADAL" clId="{3C61FE57-A02B-4D1D-8A45-F86177187684}" dt="2022-10-25T16:00:16.755" v="988" actId="478"/>
          <ac:spMkLst>
            <pc:docMk/>
            <pc:sldMk cId="198001124" sldId="940"/>
            <ac:spMk id="2" creationId="{336D7662-30CC-465F-B484-884B38F6F8BF}"/>
          </ac:spMkLst>
        </pc:spChg>
        <pc:spChg chg="mod">
          <ac:chgData name="Marta" userId="eac6eb22-5f14-46b4-a4ea-a86e6e8c4acc" providerId="ADAL" clId="{3C61FE57-A02B-4D1D-8A45-F86177187684}" dt="2022-10-25T15:59:35.342" v="986" actId="255"/>
          <ac:spMkLst>
            <pc:docMk/>
            <pc:sldMk cId="198001124" sldId="940"/>
            <ac:spMk id="6" creationId="{00000000-0000-0000-0000-000000000000}"/>
          </ac:spMkLst>
        </pc:spChg>
        <pc:spChg chg="add del">
          <ac:chgData name="Marta" userId="eac6eb22-5f14-46b4-a4ea-a86e6e8c4acc" providerId="ADAL" clId="{3C61FE57-A02B-4D1D-8A45-F86177187684}" dt="2022-11-17T16:53:52.363" v="1098" actId="478"/>
          <ac:spMkLst>
            <pc:docMk/>
            <pc:sldMk cId="198001124" sldId="940"/>
            <ac:spMk id="8" creationId="{151FC44B-8152-4E8F-B8BB-5CA472BE1BF1}"/>
          </ac:spMkLst>
        </pc:spChg>
        <pc:spChg chg="add del">
          <ac:chgData name="Marta" userId="eac6eb22-5f14-46b4-a4ea-a86e6e8c4acc" providerId="ADAL" clId="{3C61FE57-A02B-4D1D-8A45-F86177187684}" dt="2022-11-17T16:53:52.363" v="1098" actId="478"/>
          <ac:spMkLst>
            <pc:docMk/>
            <pc:sldMk cId="198001124" sldId="940"/>
            <ac:spMk id="10" creationId="{CFC0A7F5-734D-4CCA-99A3-66C8BB374CB2}"/>
          </ac:spMkLst>
        </pc:spChg>
        <pc:spChg chg="add">
          <ac:chgData name="Marta" userId="eac6eb22-5f14-46b4-a4ea-a86e6e8c4acc" providerId="ADAL" clId="{3C61FE57-A02B-4D1D-8A45-F86177187684}" dt="2022-11-17T16:53:52.882" v="1099" actId="22"/>
          <ac:spMkLst>
            <pc:docMk/>
            <pc:sldMk cId="198001124" sldId="940"/>
            <ac:spMk id="16" creationId="{8DAC8DFA-B94A-4ECD-8472-6276C0F015E4}"/>
          </ac:spMkLst>
        </pc:spChg>
        <pc:spChg chg="del">
          <ac:chgData name="Marta" userId="eac6eb22-5f14-46b4-a4ea-a86e6e8c4acc" providerId="ADAL" clId="{3C61FE57-A02B-4D1D-8A45-F86177187684}" dt="2022-10-25T16:02:41.909" v="989" actId="478"/>
          <ac:spMkLst>
            <pc:docMk/>
            <pc:sldMk cId="198001124" sldId="940"/>
            <ac:spMk id="16" creationId="{DD0F208D-BE7D-45D7-86C8-11A45240DF9F}"/>
          </ac:spMkLst>
        </pc:spChg>
        <pc:spChg chg="add">
          <ac:chgData name="Marta" userId="eac6eb22-5f14-46b4-a4ea-a86e6e8c4acc" providerId="ADAL" clId="{3C61FE57-A02B-4D1D-8A45-F86177187684}" dt="2022-11-17T16:53:52.882" v="1099" actId="22"/>
          <ac:spMkLst>
            <pc:docMk/>
            <pc:sldMk cId="198001124" sldId="940"/>
            <ac:spMk id="18" creationId="{0BA0956C-E97B-40B5-B6A6-314946729EE3}"/>
          </ac:spMkLst>
        </pc:spChg>
        <pc:spChg chg="add mod">
          <ac:chgData name="Marta" userId="eac6eb22-5f14-46b4-a4ea-a86e6e8c4acc" providerId="ADAL" clId="{3C61FE57-A02B-4D1D-8A45-F86177187684}" dt="2022-11-17T16:58:43.397" v="1292" actId="20577"/>
          <ac:spMkLst>
            <pc:docMk/>
            <pc:sldMk cId="198001124" sldId="940"/>
            <ac:spMk id="20" creationId="{9A5B8236-1DEC-4099-8440-0120734D500C}"/>
          </ac:spMkLst>
        </pc:spChg>
        <pc:picChg chg="add">
          <ac:chgData name="Marta" userId="eac6eb22-5f14-46b4-a4ea-a86e6e8c4acc" providerId="ADAL" clId="{3C61FE57-A02B-4D1D-8A45-F86177187684}" dt="2022-11-17T16:53:52.882" v="1099" actId="22"/>
          <ac:picMkLst>
            <pc:docMk/>
            <pc:sldMk cId="198001124" sldId="940"/>
            <ac:picMk id="2" creationId="{3F6386AA-8410-42EE-AFB3-618FE74FF7EA}"/>
          </ac:picMkLst>
        </pc:picChg>
        <pc:picChg chg="add del">
          <ac:chgData name="Marta" userId="eac6eb22-5f14-46b4-a4ea-a86e6e8c4acc" providerId="ADAL" clId="{3C61FE57-A02B-4D1D-8A45-F86177187684}" dt="2022-11-17T16:53:52.363" v="1098" actId="478"/>
          <ac:picMkLst>
            <pc:docMk/>
            <pc:sldMk cId="198001124" sldId="940"/>
            <ac:picMk id="3" creationId="{62E94919-D0A3-4BD4-B325-EE7F9B409AEE}"/>
          </ac:picMkLst>
        </pc:picChg>
        <pc:picChg chg="del">
          <ac:chgData name="Marta" userId="eac6eb22-5f14-46b4-a4ea-a86e6e8c4acc" providerId="ADAL" clId="{3C61FE57-A02B-4D1D-8A45-F86177187684}" dt="2022-10-25T16:02:41.909" v="989" actId="478"/>
          <ac:picMkLst>
            <pc:docMk/>
            <pc:sldMk cId="198001124" sldId="940"/>
            <ac:picMk id="4" creationId="{14EFDE39-FD1C-4A35-92AE-61DE381A4D0C}"/>
          </ac:picMkLst>
        </pc:picChg>
        <pc:picChg chg="add">
          <ac:chgData name="Marta" userId="eac6eb22-5f14-46b4-a4ea-a86e6e8c4acc" providerId="ADAL" clId="{3C61FE57-A02B-4D1D-8A45-F86177187684}" dt="2022-11-17T16:53:52.882" v="1099" actId="22"/>
          <ac:picMkLst>
            <pc:docMk/>
            <pc:sldMk cId="198001124" sldId="940"/>
            <ac:picMk id="4" creationId="{1716F5C8-E7D8-41D2-8E56-339356520358}"/>
          </ac:picMkLst>
        </pc:picChg>
        <pc:picChg chg="add del">
          <ac:chgData name="Marta" userId="eac6eb22-5f14-46b4-a4ea-a86e6e8c4acc" providerId="ADAL" clId="{3C61FE57-A02B-4D1D-8A45-F86177187684}" dt="2022-11-17T16:53:52.363" v="1098" actId="478"/>
          <ac:picMkLst>
            <pc:docMk/>
            <pc:sldMk cId="198001124" sldId="940"/>
            <ac:picMk id="5" creationId="{342162CC-395C-4906-94C2-FBD6582D3B93}"/>
          </ac:picMkLst>
        </pc:picChg>
        <pc:picChg chg="add del">
          <ac:chgData name="Marta" userId="eac6eb22-5f14-46b4-a4ea-a86e6e8c4acc" providerId="ADAL" clId="{3C61FE57-A02B-4D1D-8A45-F86177187684}" dt="2022-11-17T16:53:52.363" v="1098" actId="478"/>
          <ac:picMkLst>
            <pc:docMk/>
            <pc:sldMk cId="198001124" sldId="940"/>
            <ac:picMk id="7" creationId="{AAD79DDB-3C3F-4653-B706-1DF50F16F847}"/>
          </ac:picMkLst>
        </pc:picChg>
        <pc:picChg chg="add">
          <ac:chgData name="Marta" userId="eac6eb22-5f14-46b4-a4ea-a86e6e8c4acc" providerId="ADAL" clId="{3C61FE57-A02B-4D1D-8A45-F86177187684}" dt="2022-11-17T16:53:52.882" v="1099" actId="22"/>
          <ac:picMkLst>
            <pc:docMk/>
            <pc:sldMk cId="198001124" sldId="940"/>
            <ac:picMk id="14" creationId="{80CFA803-2ADE-40A3-BE5A-0B92C1713BB2}"/>
          </ac:picMkLst>
        </pc:picChg>
        <pc:picChg chg="del">
          <ac:chgData name="Marta" userId="eac6eb22-5f14-46b4-a4ea-a86e6e8c4acc" providerId="ADAL" clId="{3C61FE57-A02B-4D1D-8A45-F86177187684}" dt="2022-10-25T16:02:41.909" v="989" actId="478"/>
          <ac:picMkLst>
            <pc:docMk/>
            <pc:sldMk cId="198001124" sldId="940"/>
            <ac:picMk id="1026" creationId="{F181F7E9-EEE2-416B-97F5-D1EA86ECD6BE}"/>
          </ac:picMkLst>
        </pc:picChg>
        <pc:picChg chg="del">
          <ac:chgData name="Marta" userId="eac6eb22-5f14-46b4-a4ea-a86e6e8c4acc" providerId="ADAL" clId="{3C61FE57-A02B-4D1D-8A45-F86177187684}" dt="2022-10-25T16:02:41.909" v="989" actId="478"/>
          <ac:picMkLst>
            <pc:docMk/>
            <pc:sldMk cId="198001124" sldId="940"/>
            <ac:picMk id="1032" creationId="{AD276CEC-DC02-4DD7-B958-9F7AF5F2A865}"/>
          </ac:picMkLst>
        </pc:picChg>
      </pc:sldChg>
      <pc:sldChg chg="del">
        <pc:chgData name="Marta" userId="eac6eb22-5f14-46b4-a4ea-a86e6e8c4acc" providerId="ADAL" clId="{3C61FE57-A02B-4D1D-8A45-F86177187684}" dt="2022-10-25T15:09:00.144" v="252" actId="47"/>
        <pc:sldMkLst>
          <pc:docMk/>
          <pc:sldMk cId="752814286" sldId="941"/>
        </pc:sldMkLst>
      </pc:sldChg>
      <pc:sldChg chg="addSp delSp modSp add mod setBg">
        <pc:chgData name="Marta" userId="eac6eb22-5f14-46b4-a4ea-a86e6e8c4acc" providerId="ADAL" clId="{3C61FE57-A02B-4D1D-8A45-F86177187684}" dt="2022-11-28T18:13:50.295" v="1301" actId="207"/>
        <pc:sldMkLst>
          <pc:docMk/>
          <pc:sldMk cId="1715774401" sldId="942"/>
        </pc:sldMkLst>
        <pc:spChg chg="mod">
          <ac:chgData name="Marta" userId="eac6eb22-5f14-46b4-a4ea-a86e6e8c4acc" providerId="ADAL" clId="{3C61FE57-A02B-4D1D-8A45-F86177187684}" dt="2022-10-25T15:08:26.402" v="248" actId="1076"/>
          <ac:spMkLst>
            <pc:docMk/>
            <pc:sldMk cId="1715774401" sldId="942"/>
            <ac:spMk id="2" creationId="{03E6F4FB-BF07-48AE-AFF6-D4E572C2D504}"/>
          </ac:spMkLst>
        </pc:spChg>
        <pc:spChg chg="mod">
          <ac:chgData name="Marta" userId="eac6eb22-5f14-46b4-a4ea-a86e6e8c4acc" providerId="ADAL" clId="{3C61FE57-A02B-4D1D-8A45-F86177187684}" dt="2022-10-25T15:44:44.798" v="954" actId="255"/>
          <ac:spMkLst>
            <pc:docMk/>
            <pc:sldMk cId="1715774401" sldId="942"/>
            <ac:spMk id="4" creationId="{00000000-0000-0000-0000-000000000000}"/>
          </ac:spMkLst>
        </pc:spChg>
        <pc:spChg chg="del mod">
          <ac:chgData name="Marta" userId="eac6eb22-5f14-46b4-a4ea-a86e6e8c4acc" providerId="ADAL" clId="{3C61FE57-A02B-4D1D-8A45-F86177187684}" dt="2022-10-25T14:58:22.898" v="165" actId="478"/>
          <ac:spMkLst>
            <pc:docMk/>
            <pc:sldMk cId="1715774401" sldId="942"/>
            <ac:spMk id="5" creationId="{00000000-0000-0000-0000-000000000000}"/>
          </ac:spMkLst>
        </pc:spChg>
        <pc:spChg chg="add del mod">
          <ac:chgData name="Marta" userId="eac6eb22-5f14-46b4-a4ea-a86e6e8c4acc" providerId="ADAL" clId="{3C61FE57-A02B-4D1D-8A45-F86177187684}" dt="2022-10-25T14:58:26.530" v="168" actId="478"/>
          <ac:spMkLst>
            <pc:docMk/>
            <pc:sldMk cId="1715774401" sldId="942"/>
            <ac:spMk id="8" creationId="{034F31F9-49BF-4041-8FDE-A9AE143B4405}"/>
          </ac:spMkLst>
        </pc:spChg>
        <pc:spChg chg="add del">
          <ac:chgData name="Marta" userId="eac6eb22-5f14-46b4-a4ea-a86e6e8c4acc" providerId="ADAL" clId="{3C61FE57-A02B-4D1D-8A45-F86177187684}" dt="2022-10-25T15:01:37.188" v="208" actId="478"/>
          <ac:spMkLst>
            <pc:docMk/>
            <pc:sldMk cId="1715774401" sldId="942"/>
            <ac:spMk id="10" creationId="{10EEDC6B-2EA2-4736-BE78-42D6C2D05B60}"/>
          </ac:spMkLst>
        </pc:spChg>
        <pc:spChg chg="add mod">
          <ac:chgData name="Marta" userId="eac6eb22-5f14-46b4-a4ea-a86e6e8c4acc" providerId="ADAL" clId="{3C61FE57-A02B-4D1D-8A45-F86177187684}" dt="2022-10-25T16:41:29.313" v="1046" actId="14100"/>
          <ac:spMkLst>
            <pc:docMk/>
            <pc:sldMk cId="1715774401" sldId="942"/>
            <ac:spMk id="14" creationId="{70D27011-350B-461D-B481-D06E1E2A61EC}"/>
          </ac:spMkLst>
        </pc:spChg>
        <pc:spChg chg="add del">
          <ac:chgData name="Marta" userId="eac6eb22-5f14-46b4-a4ea-a86e6e8c4acc" providerId="ADAL" clId="{3C61FE57-A02B-4D1D-8A45-F86177187684}" dt="2022-10-25T14:59:36.774" v="173" actId="478"/>
          <ac:spMkLst>
            <pc:docMk/>
            <pc:sldMk cId="1715774401" sldId="942"/>
            <ac:spMk id="16" creationId="{29DF43B8-35F1-4118-B29C-4D3566D9DEA0}"/>
          </ac:spMkLst>
        </pc:spChg>
        <pc:spChg chg="add mod">
          <ac:chgData name="Marta" userId="eac6eb22-5f14-46b4-a4ea-a86e6e8c4acc" providerId="ADAL" clId="{3C61FE57-A02B-4D1D-8A45-F86177187684}" dt="2022-10-25T15:08:26.402" v="248" actId="1076"/>
          <ac:spMkLst>
            <pc:docMk/>
            <pc:sldMk cId="1715774401" sldId="942"/>
            <ac:spMk id="22" creationId="{116D2F7C-6A54-4CBF-BFDE-414C33D71C95}"/>
          </ac:spMkLst>
        </pc:spChg>
        <pc:spChg chg="add mod">
          <ac:chgData name="Marta" userId="eac6eb22-5f14-46b4-a4ea-a86e6e8c4acc" providerId="ADAL" clId="{3C61FE57-A02B-4D1D-8A45-F86177187684}" dt="2022-10-25T15:08:26.402" v="248" actId="1076"/>
          <ac:spMkLst>
            <pc:docMk/>
            <pc:sldMk cId="1715774401" sldId="942"/>
            <ac:spMk id="26" creationId="{EA77F773-2675-470A-8D7B-43F4F8FC9921}"/>
          </ac:spMkLst>
        </pc:spChg>
        <pc:spChg chg="add mod">
          <ac:chgData name="Marta" userId="eac6eb22-5f14-46b4-a4ea-a86e6e8c4acc" providerId="ADAL" clId="{3C61FE57-A02B-4D1D-8A45-F86177187684}" dt="2022-11-28T18:13:50.295" v="1301" actId="207"/>
          <ac:spMkLst>
            <pc:docMk/>
            <pc:sldMk cId="1715774401" sldId="942"/>
            <ac:spMk id="32" creationId="{98807726-8F30-4576-A091-DA271F49F990}"/>
          </ac:spMkLst>
        </pc:spChg>
        <pc:spChg chg="add del mod">
          <ac:chgData name="Marta" userId="eac6eb22-5f14-46b4-a4ea-a86e6e8c4acc" providerId="ADAL" clId="{3C61FE57-A02B-4D1D-8A45-F86177187684}" dt="2022-10-25T15:05:29.424" v="237"/>
          <ac:spMkLst>
            <pc:docMk/>
            <pc:sldMk cId="1715774401" sldId="942"/>
            <ac:spMk id="39" creationId="{23D36D80-C721-4126-AB52-0BB73617588E}"/>
          </ac:spMkLst>
        </pc:spChg>
        <pc:spChg chg="add del mod">
          <ac:chgData name="Marta" userId="eac6eb22-5f14-46b4-a4ea-a86e6e8c4acc" providerId="ADAL" clId="{3C61FE57-A02B-4D1D-8A45-F86177187684}" dt="2022-10-25T15:05:29.420" v="235"/>
          <ac:spMkLst>
            <pc:docMk/>
            <pc:sldMk cId="1715774401" sldId="942"/>
            <ac:spMk id="41" creationId="{C9B5920B-C681-4AAD-9246-898772A32441}"/>
          </ac:spMkLst>
        </pc:spChg>
        <pc:spChg chg="add mod">
          <ac:chgData name="Marta" userId="eac6eb22-5f14-46b4-a4ea-a86e6e8c4acc" providerId="ADAL" clId="{3C61FE57-A02B-4D1D-8A45-F86177187684}" dt="2022-10-25T16:42:35.422" v="1053" actId="6549"/>
          <ac:spMkLst>
            <pc:docMk/>
            <pc:sldMk cId="1715774401" sldId="942"/>
            <ac:spMk id="42" creationId="{BC8873EA-44CA-4D2C-903F-661557289555}"/>
          </ac:spMkLst>
        </pc:spChg>
        <pc:graphicFrameChg chg="add del mod">
          <ac:chgData name="Marta" userId="eac6eb22-5f14-46b4-a4ea-a86e6e8c4acc" providerId="ADAL" clId="{3C61FE57-A02B-4D1D-8A45-F86177187684}" dt="2022-10-25T15:05:29.420" v="235"/>
          <ac:graphicFrameMkLst>
            <pc:docMk/>
            <pc:sldMk cId="1715774401" sldId="942"/>
            <ac:graphicFrameMk id="40" creationId="{75592ED5-1CDF-4344-805E-3BF197000F1E}"/>
          </ac:graphicFrameMkLst>
        </pc:graphicFrameChg>
        <pc:picChg chg="del">
          <ac:chgData name="Marta" userId="eac6eb22-5f14-46b4-a4ea-a86e6e8c4acc" providerId="ADAL" clId="{3C61FE57-A02B-4D1D-8A45-F86177187684}" dt="2022-10-25T14:58:23.635" v="166" actId="478"/>
          <ac:picMkLst>
            <pc:docMk/>
            <pc:sldMk cId="1715774401" sldId="942"/>
            <ac:picMk id="3" creationId="{B7C8E147-0753-4CE0-AFEF-9DC7AB03098B}"/>
          </ac:picMkLst>
        </pc:picChg>
        <pc:picChg chg="del">
          <ac:chgData name="Marta" userId="eac6eb22-5f14-46b4-a4ea-a86e6e8c4acc" providerId="ADAL" clId="{3C61FE57-A02B-4D1D-8A45-F86177187684}" dt="2022-10-25T14:58:24.552" v="167" actId="478"/>
          <ac:picMkLst>
            <pc:docMk/>
            <pc:sldMk cId="1715774401" sldId="942"/>
            <ac:picMk id="6" creationId="{00000000-0000-0000-0000-000000000000}"/>
          </ac:picMkLst>
        </pc:picChg>
        <pc:picChg chg="add del">
          <ac:chgData name="Marta" userId="eac6eb22-5f14-46b4-a4ea-a86e6e8c4acc" providerId="ADAL" clId="{3C61FE57-A02B-4D1D-8A45-F86177187684}" dt="2022-10-25T15:01:37.977" v="209" actId="478"/>
          <ac:picMkLst>
            <pc:docMk/>
            <pc:sldMk cId="1715774401" sldId="942"/>
            <ac:picMk id="12" creationId="{EEDB6FEE-8D59-427B-8EF6-937366964981}"/>
          </ac:picMkLst>
        </pc:picChg>
        <pc:picChg chg="add del">
          <ac:chgData name="Marta" userId="eac6eb22-5f14-46b4-a4ea-a86e6e8c4acc" providerId="ADAL" clId="{3C61FE57-A02B-4D1D-8A45-F86177187684}" dt="2022-10-25T14:59:34.208" v="172" actId="478"/>
          <ac:picMkLst>
            <pc:docMk/>
            <pc:sldMk cId="1715774401" sldId="942"/>
            <ac:picMk id="18" creationId="{7E9CF4D1-8A6B-432D-8841-DBC5FBFD156F}"/>
          </ac:picMkLst>
        </pc:picChg>
        <pc:picChg chg="add del">
          <ac:chgData name="Marta" userId="eac6eb22-5f14-46b4-a4ea-a86e6e8c4acc" providerId="ADAL" clId="{3C61FE57-A02B-4D1D-8A45-F86177187684}" dt="2022-10-25T14:59:36.774" v="173" actId="478"/>
          <ac:picMkLst>
            <pc:docMk/>
            <pc:sldMk cId="1715774401" sldId="942"/>
            <ac:picMk id="20" creationId="{66F4A009-DD1C-499C-8A06-CACEAA26775B}"/>
          </ac:picMkLst>
        </pc:picChg>
        <pc:picChg chg="add del">
          <ac:chgData name="Marta" userId="eac6eb22-5f14-46b4-a4ea-a86e6e8c4acc" providerId="ADAL" clId="{3C61FE57-A02B-4D1D-8A45-F86177187684}" dt="2022-10-25T15:01:38.786" v="210" actId="478"/>
          <ac:picMkLst>
            <pc:docMk/>
            <pc:sldMk cId="1715774401" sldId="942"/>
            <ac:picMk id="24" creationId="{CC6B9085-3F5A-438B-A840-426E264261B0}"/>
          </ac:picMkLst>
        </pc:picChg>
        <pc:picChg chg="add mod">
          <ac:chgData name="Marta" userId="eac6eb22-5f14-46b4-a4ea-a86e6e8c4acc" providerId="ADAL" clId="{3C61FE57-A02B-4D1D-8A45-F86177187684}" dt="2022-10-25T15:08:26.402" v="248" actId="1076"/>
          <ac:picMkLst>
            <pc:docMk/>
            <pc:sldMk cId="1715774401" sldId="942"/>
            <ac:picMk id="28" creationId="{F04E6BE9-40F9-4151-B497-3E0F8757AF99}"/>
          </ac:picMkLst>
        </pc:picChg>
        <pc:picChg chg="add mod">
          <ac:chgData name="Marta" userId="eac6eb22-5f14-46b4-a4ea-a86e6e8c4acc" providerId="ADAL" clId="{3C61FE57-A02B-4D1D-8A45-F86177187684}" dt="2022-10-25T15:08:26.402" v="248" actId="1076"/>
          <ac:picMkLst>
            <pc:docMk/>
            <pc:sldMk cId="1715774401" sldId="942"/>
            <ac:picMk id="30" creationId="{691A025F-5DE1-42A8-A642-732EDBE52C64}"/>
          </ac:picMkLst>
        </pc:picChg>
        <pc:picChg chg="add del mod">
          <ac:chgData name="Marta" userId="eac6eb22-5f14-46b4-a4ea-a86e6e8c4acc" providerId="ADAL" clId="{3C61FE57-A02B-4D1D-8A45-F86177187684}" dt="2022-10-25T15:01:47.424" v="212" actId="478"/>
          <ac:picMkLst>
            <pc:docMk/>
            <pc:sldMk cId="1715774401" sldId="942"/>
            <ac:picMk id="34" creationId="{1DD7F7E4-9691-4AA9-B254-80982AB3FAEB}"/>
          </ac:picMkLst>
        </pc:picChg>
        <pc:picChg chg="add mod">
          <ac:chgData name="Marta" userId="eac6eb22-5f14-46b4-a4ea-a86e6e8c4acc" providerId="ADAL" clId="{3C61FE57-A02B-4D1D-8A45-F86177187684}" dt="2022-10-25T16:40:47.102" v="1042" actId="1037"/>
          <ac:picMkLst>
            <pc:docMk/>
            <pc:sldMk cId="1715774401" sldId="942"/>
            <ac:picMk id="36" creationId="{5E597BB6-7CAC-4EEC-A039-B2077A6092AF}"/>
          </ac:picMkLst>
        </pc:picChg>
        <pc:picChg chg="add mod">
          <ac:chgData name="Marta" userId="eac6eb22-5f14-46b4-a4ea-a86e6e8c4acc" providerId="ADAL" clId="{3C61FE57-A02B-4D1D-8A45-F86177187684}" dt="2022-10-25T16:40:47.102" v="1042" actId="1037"/>
          <ac:picMkLst>
            <pc:docMk/>
            <pc:sldMk cId="1715774401" sldId="942"/>
            <ac:picMk id="38" creationId="{552EFE03-472F-4B35-A79C-809712607834}"/>
          </ac:picMkLst>
        </pc:picChg>
        <pc:picChg chg="add del mod">
          <ac:chgData name="Marta" userId="eac6eb22-5f14-46b4-a4ea-a86e6e8c4acc" providerId="ADAL" clId="{3C61FE57-A02B-4D1D-8A45-F86177187684}" dt="2022-10-25T15:05:29.420" v="235"/>
          <ac:picMkLst>
            <pc:docMk/>
            <pc:sldMk cId="1715774401" sldId="942"/>
            <ac:picMk id="1026" creationId="{741D26F1-D14A-432C-A7C9-D5588E447F1D}"/>
          </ac:picMkLst>
        </pc:picChg>
        <pc:picChg chg="add del mod">
          <ac:chgData name="Marta" userId="eac6eb22-5f14-46b4-a4ea-a86e6e8c4acc" providerId="ADAL" clId="{3C61FE57-A02B-4D1D-8A45-F86177187684}" dt="2022-10-25T15:05:29.420" v="235"/>
          <ac:picMkLst>
            <pc:docMk/>
            <pc:sldMk cId="1715774401" sldId="942"/>
            <ac:picMk id="1027" creationId="{B8A88D9B-D23E-4C8F-A4B7-F4B531563E50}"/>
          </ac:picMkLst>
        </pc:picChg>
        <pc:picChg chg="add del mod">
          <ac:chgData name="Marta" userId="eac6eb22-5f14-46b4-a4ea-a86e6e8c4acc" providerId="ADAL" clId="{3C61FE57-A02B-4D1D-8A45-F86177187684}" dt="2022-10-25T15:05:29.420" v="235"/>
          <ac:picMkLst>
            <pc:docMk/>
            <pc:sldMk cId="1715774401" sldId="942"/>
            <ac:picMk id="1028" creationId="{8763761B-6BD5-49EF-BF61-4773A478C60F}"/>
          </ac:picMkLst>
        </pc:picChg>
        <pc:picChg chg="add del mod">
          <ac:chgData name="Marta" userId="eac6eb22-5f14-46b4-a4ea-a86e6e8c4acc" providerId="ADAL" clId="{3C61FE57-A02B-4D1D-8A45-F86177187684}" dt="2022-10-25T15:05:29.420" v="235"/>
          <ac:picMkLst>
            <pc:docMk/>
            <pc:sldMk cId="1715774401" sldId="942"/>
            <ac:picMk id="1029" creationId="{91993A18-5A8F-4A36-BA79-FD1CBACD073A}"/>
          </ac:picMkLst>
        </pc:picChg>
      </pc:sldChg>
      <pc:sldChg chg="modSp add del mod">
        <pc:chgData name="Marta" userId="eac6eb22-5f14-46b4-a4ea-a86e6e8c4acc" providerId="ADAL" clId="{3C61FE57-A02B-4D1D-8A45-F86177187684}" dt="2022-10-25T16:57:31.368" v="1079" actId="1076"/>
        <pc:sldMkLst>
          <pc:docMk/>
          <pc:sldMk cId="3432656581" sldId="943"/>
        </pc:sldMkLst>
        <pc:spChg chg="mod">
          <ac:chgData name="Marta" userId="eac6eb22-5f14-46b4-a4ea-a86e6e8c4acc" providerId="ADAL" clId="{3C61FE57-A02B-4D1D-8A45-F86177187684}" dt="2022-10-25T16:57:31.368" v="1079" actId="1076"/>
          <ac:spMkLst>
            <pc:docMk/>
            <pc:sldMk cId="3432656581" sldId="943"/>
            <ac:spMk id="2" creationId="{F49F4E2B-EEB0-4736-A001-E9CD8947E750}"/>
          </ac:spMkLst>
        </pc:spChg>
        <pc:spChg chg="mod">
          <ac:chgData name="Marta" userId="eac6eb22-5f14-46b4-a4ea-a86e6e8c4acc" providerId="ADAL" clId="{3C61FE57-A02B-4D1D-8A45-F86177187684}" dt="2022-10-25T15:45:52.925" v="976" actId="20577"/>
          <ac:spMkLst>
            <pc:docMk/>
            <pc:sldMk cId="3432656581" sldId="943"/>
            <ac:spMk id="6" creationId="{00000000-0000-0000-0000-000000000000}"/>
          </ac:spMkLst>
        </pc:spChg>
        <pc:spChg chg="mod">
          <ac:chgData name="Marta" userId="eac6eb22-5f14-46b4-a4ea-a86e6e8c4acc" providerId="ADAL" clId="{3C61FE57-A02B-4D1D-8A45-F86177187684}" dt="2022-10-25T16:57:23.744" v="1076" actId="1076"/>
          <ac:spMkLst>
            <pc:docMk/>
            <pc:sldMk cId="3432656581" sldId="943"/>
            <ac:spMk id="10" creationId="{66421E13-941D-487E-9F8E-DCFA3FE9C646}"/>
          </ac:spMkLst>
        </pc:spChg>
        <pc:picChg chg="mod">
          <ac:chgData name="Marta" userId="eac6eb22-5f14-46b4-a4ea-a86e6e8c4acc" providerId="ADAL" clId="{3C61FE57-A02B-4D1D-8A45-F86177187684}" dt="2022-10-25T15:38:50.824" v="943" actId="1076"/>
          <ac:picMkLst>
            <pc:docMk/>
            <pc:sldMk cId="3432656581" sldId="943"/>
            <ac:picMk id="5" creationId="{A7CE0624-DE4C-4238-8618-DC619B9FF7AB}"/>
          </ac:picMkLst>
        </pc:picChg>
      </pc:sldChg>
      <pc:sldChg chg="add del">
        <pc:chgData name="Marta" userId="eac6eb22-5f14-46b4-a4ea-a86e6e8c4acc" providerId="ADAL" clId="{3C61FE57-A02B-4D1D-8A45-F86177187684}" dt="2022-11-29T16:29:55.553" v="1375"/>
        <pc:sldMkLst>
          <pc:docMk/>
          <pc:sldMk cId="890681955" sldId="944"/>
        </pc:sldMkLst>
      </pc:sldChg>
      <pc:sldChg chg="add del">
        <pc:chgData name="Marta" userId="eac6eb22-5f14-46b4-a4ea-a86e6e8c4acc" providerId="ADAL" clId="{3C61FE57-A02B-4D1D-8A45-F86177187684}" dt="2022-11-29T16:29:55.553" v="1375"/>
        <pc:sldMkLst>
          <pc:docMk/>
          <pc:sldMk cId="111582250" sldId="945"/>
        </pc:sldMkLst>
      </pc:sldChg>
      <pc:sldChg chg="add del">
        <pc:chgData name="Marta" userId="eac6eb22-5f14-46b4-a4ea-a86e6e8c4acc" providerId="ADAL" clId="{3C61FE57-A02B-4D1D-8A45-F86177187684}" dt="2022-11-29T16:29:55.553" v="1375"/>
        <pc:sldMkLst>
          <pc:docMk/>
          <pc:sldMk cId="974107895" sldId="946"/>
        </pc:sldMkLst>
      </pc:sldChg>
      <pc:sldChg chg="add del">
        <pc:chgData name="Marta" userId="eac6eb22-5f14-46b4-a4ea-a86e6e8c4acc" providerId="ADAL" clId="{3C61FE57-A02B-4D1D-8A45-F86177187684}" dt="2022-11-29T16:29:55.553" v="1375"/>
        <pc:sldMkLst>
          <pc:docMk/>
          <pc:sldMk cId="4242984627" sldId="947"/>
        </pc:sldMkLst>
      </pc:sldChg>
      <pc:sldChg chg="add del">
        <pc:chgData name="Marta" userId="eac6eb22-5f14-46b4-a4ea-a86e6e8c4acc" providerId="ADAL" clId="{3C61FE57-A02B-4D1D-8A45-F86177187684}" dt="2022-11-29T16:29:55.553" v="1375"/>
        <pc:sldMkLst>
          <pc:docMk/>
          <pc:sldMk cId="4124398999" sldId="948"/>
        </pc:sldMkLst>
      </pc:sldChg>
      <pc:sldChg chg="add del">
        <pc:chgData name="Marta" userId="eac6eb22-5f14-46b4-a4ea-a86e6e8c4acc" providerId="ADAL" clId="{3C61FE57-A02B-4D1D-8A45-F86177187684}" dt="2022-11-29T16:29:55.553" v="1375"/>
        <pc:sldMkLst>
          <pc:docMk/>
          <pc:sldMk cId="1849435754" sldId="949"/>
        </pc:sldMkLst>
      </pc:sldChg>
      <pc:sldChg chg="add del">
        <pc:chgData name="Marta" userId="eac6eb22-5f14-46b4-a4ea-a86e6e8c4acc" providerId="ADAL" clId="{3C61FE57-A02B-4D1D-8A45-F86177187684}" dt="2022-11-29T16:29:55.553" v="1375"/>
        <pc:sldMkLst>
          <pc:docMk/>
          <pc:sldMk cId="1560383876" sldId="950"/>
        </pc:sldMkLst>
      </pc:sldChg>
      <pc:sldChg chg="add del">
        <pc:chgData name="Marta" userId="eac6eb22-5f14-46b4-a4ea-a86e6e8c4acc" providerId="ADAL" clId="{3C61FE57-A02B-4D1D-8A45-F86177187684}" dt="2022-11-29T16:29:55.553" v="1375"/>
        <pc:sldMkLst>
          <pc:docMk/>
          <pc:sldMk cId="3505265330" sldId="951"/>
        </pc:sldMkLst>
      </pc:sldChg>
      <pc:sldChg chg="add del">
        <pc:chgData name="Marta" userId="eac6eb22-5f14-46b4-a4ea-a86e6e8c4acc" providerId="ADAL" clId="{3C61FE57-A02B-4D1D-8A45-F86177187684}" dt="2022-11-29T16:29:55.553" v="1375"/>
        <pc:sldMkLst>
          <pc:docMk/>
          <pc:sldMk cId="3733317656" sldId="952"/>
        </pc:sldMkLst>
      </pc:sldChg>
      <pc:sldChg chg="add del">
        <pc:chgData name="Marta" userId="eac6eb22-5f14-46b4-a4ea-a86e6e8c4acc" providerId="ADAL" clId="{3C61FE57-A02B-4D1D-8A45-F86177187684}" dt="2022-11-29T16:29:55.553" v="1375"/>
        <pc:sldMkLst>
          <pc:docMk/>
          <pc:sldMk cId="936962136" sldId="953"/>
        </pc:sldMkLst>
      </pc:sldChg>
      <pc:sldChg chg="add del">
        <pc:chgData name="Marta" userId="eac6eb22-5f14-46b4-a4ea-a86e6e8c4acc" providerId="ADAL" clId="{3C61FE57-A02B-4D1D-8A45-F86177187684}" dt="2022-11-29T16:29:55.553" v="1375"/>
        <pc:sldMkLst>
          <pc:docMk/>
          <pc:sldMk cId="1178802896" sldId="954"/>
        </pc:sldMkLst>
      </pc:sldChg>
      <pc:sldMasterChg chg="add del addSldLayout delSldLayout">
        <pc:chgData name="Marta" userId="eac6eb22-5f14-46b4-a4ea-a86e6e8c4acc" providerId="ADAL" clId="{3C61FE57-A02B-4D1D-8A45-F86177187684}" dt="2022-11-29T16:29:55.510" v="1374" actId="27028"/>
        <pc:sldMasterMkLst>
          <pc:docMk/>
          <pc:sldMasterMk cId="235801889" sldId="2147483754"/>
        </pc:sldMasterMkLst>
        <pc:sldLayoutChg chg="add del">
          <pc:chgData name="Marta" userId="eac6eb22-5f14-46b4-a4ea-a86e6e8c4acc" providerId="ADAL" clId="{3C61FE57-A02B-4D1D-8A45-F86177187684}" dt="2022-11-29T16:29:55.510" v="1374" actId="27028"/>
          <pc:sldLayoutMkLst>
            <pc:docMk/>
            <pc:sldMasterMk cId="235801889" sldId="2147483754"/>
            <pc:sldLayoutMk cId="1170918171" sldId="2147483701"/>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2749013029" sldId="2147483755"/>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2401638066" sldId="2147483766"/>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799152841" sldId="2147483789"/>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202722804" sldId="2147483791"/>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2819944493" sldId="2147483793"/>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4267226339" sldId="2147483814"/>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1926973244" sldId="2147483815"/>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3607340212" sldId="2147483816"/>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163655632" sldId="2147483821"/>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3565915337" sldId="2147483850"/>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2520835976" sldId="2147483851"/>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2521565361" sldId="2147483852"/>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2136131447" sldId="2147483853"/>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1835223315" sldId="2147483854"/>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904295386" sldId="2147483855"/>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1472345967" sldId="2147483856"/>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664301614" sldId="2147483857"/>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3166177130" sldId="2147483858"/>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2700206461" sldId="2147483859"/>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2595361479" sldId="2147483860"/>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2960901844" sldId="2147483872"/>
          </pc:sldLayoutMkLst>
        </pc:sldLayoutChg>
        <pc:sldLayoutChg chg="add del">
          <pc:chgData name="Marta" userId="eac6eb22-5f14-46b4-a4ea-a86e6e8c4acc" providerId="ADAL" clId="{3C61FE57-A02B-4D1D-8A45-F86177187684}" dt="2022-11-29T16:29:55.510" v="1374" actId="27028"/>
          <pc:sldLayoutMkLst>
            <pc:docMk/>
            <pc:sldMasterMk cId="235801889" sldId="2147483754"/>
            <pc:sldLayoutMk cId="690617651" sldId="2147483873"/>
          </pc:sldLayoutMkLst>
        </pc:sldLayoutChg>
      </pc:sldMasterChg>
      <pc:sldMasterChg chg="add addSldLayout delSldLayout">
        <pc:chgData name="Marta" userId="eac6eb22-5f14-46b4-a4ea-a86e6e8c4acc" providerId="ADAL" clId="{3C61FE57-A02B-4D1D-8A45-F86177187684}" dt="2022-11-29T16:29:55.510" v="1374" actId="27028"/>
        <pc:sldMasterMkLst>
          <pc:docMk/>
          <pc:sldMasterMk cId="3213887996" sldId="2147483807"/>
        </pc:sldMasterMkLst>
        <pc:sldLayoutChg chg="add">
          <pc:chgData name="Marta" userId="eac6eb22-5f14-46b4-a4ea-a86e6e8c4acc" providerId="ADAL" clId="{3C61FE57-A02B-4D1D-8A45-F86177187684}" dt="2022-11-28T18:09:51.525" v="1293" actId="27028"/>
          <pc:sldLayoutMkLst>
            <pc:docMk/>
            <pc:sldMasterMk cId="3213887996" sldId="2147483807"/>
            <pc:sldLayoutMk cId="692701714" sldId="2147483678"/>
          </pc:sldLayoutMkLst>
        </pc:sldLayoutChg>
        <pc:sldLayoutChg chg="add">
          <pc:chgData name="Marta" userId="eac6eb22-5f14-46b4-a4ea-a86e6e8c4acc" providerId="ADAL" clId="{3C61FE57-A02B-4D1D-8A45-F86177187684}" dt="2022-11-28T18:09:51.525" v="1293" actId="27028"/>
          <pc:sldLayoutMkLst>
            <pc:docMk/>
            <pc:sldMasterMk cId="3213887996" sldId="2147483807"/>
            <pc:sldLayoutMk cId="618554500" sldId="2147483808"/>
          </pc:sldLayoutMkLst>
        </pc:sldLayoutChg>
        <pc:sldLayoutChg chg="add">
          <pc:chgData name="Marta" userId="eac6eb22-5f14-46b4-a4ea-a86e6e8c4acc" providerId="ADAL" clId="{3C61FE57-A02B-4D1D-8A45-F86177187684}" dt="2022-11-28T18:09:51.525" v="1293" actId="27028"/>
          <pc:sldLayoutMkLst>
            <pc:docMk/>
            <pc:sldMasterMk cId="3213887996" sldId="2147483807"/>
            <pc:sldLayoutMk cId="1855018528" sldId="2147483809"/>
          </pc:sldLayoutMkLst>
        </pc:sldLayoutChg>
        <pc:sldLayoutChg chg="add del">
          <pc:chgData name="Marta" userId="eac6eb22-5f14-46b4-a4ea-a86e6e8c4acc" providerId="ADAL" clId="{3C61FE57-A02B-4D1D-8A45-F86177187684}" dt="2022-11-29T16:29:55.510" v="1374" actId="27028"/>
          <pc:sldLayoutMkLst>
            <pc:docMk/>
            <pc:sldMasterMk cId="3213887996" sldId="2147483807"/>
            <pc:sldLayoutMk cId="3310183657" sldId="2147483810"/>
          </pc:sldLayoutMkLst>
        </pc:sldLayoutChg>
      </pc:sldMasterChg>
      <pc:sldMasterChg chg="del delSldLayout">
        <pc:chgData name="Marta" userId="eac6eb22-5f14-46b4-a4ea-a86e6e8c4acc" providerId="ADAL" clId="{3C61FE57-A02B-4D1D-8A45-F86177187684}" dt="2022-10-25T15:09:19.189" v="279" actId="47"/>
        <pc:sldMasterMkLst>
          <pc:docMk/>
          <pc:sldMasterMk cId="289797418" sldId="2147483897"/>
        </pc:sldMasterMkLst>
        <pc:sldLayoutChg chg="del">
          <pc:chgData name="Marta" userId="eac6eb22-5f14-46b4-a4ea-a86e6e8c4acc" providerId="ADAL" clId="{3C61FE57-A02B-4D1D-8A45-F86177187684}" dt="2022-10-25T15:09:19.189" v="279" actId="47"/>
          <pc:sldLayoutMkLst>
            <pc:docMk/>
            <pc:sldMasterMk cId="289797418" sldId="2147483897"/>
            <pc:sldLayoutMk cId="390192736" sldId="2147483898"/>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1006747071" sldId="2147483899"/>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445240314" sldId="2147483900"/>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904524679" sldId="2147483901"/>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414772162" sldId="2147483902"/>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3726714681" sldId="2147483903"/>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484573994" sldId="2147483904"/>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2866390319" sldId="2147483905"/>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4246344821" sldId="2147483906"/>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2450529560" sldId="2147483907"/>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2327571642" sldId="2147483908"/>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1799199224" sldId="2147483909"/>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2951080609" sldId="2147483910"/>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3893481666" sldId="2147483911"/>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2880064579" sldId="2147483912"/>
          </pc:sldLayoutMkLst>
        </pc:sldLayoutChg>
        <pc:sldLayoutChg chg="del">
          <pc:chgData name="Marta" userId="eac6eb22-5f14-46b4-a4ea-a86e6e8c4acc" providerId="ADAL" clId="{3C61FE57-A02B-4D1D-8A45-F86177187684}" dt="2022-10-25T15:09:19.189" v="279" actId="47"/>
          <pc:sldLayoutMkLst>
            <pc:docMk/>
            <pc:sldMasterMk cId="289797418" sldId="2147483897"/>
            <pc:sldLayoutMk cId="1164609144" sldId="2147483913"/>
          </pc:sldLayoutMkLst>
        </pc:sldLayoutChg>
      </pc:sldMasterChg>
    </pc:docChg>
  </pc:docChgLst>
  <pc:docChgLst>
    <pc:chgData name="Greg Walker" userId="590d7d16-d4e2-4ce6-a1d7-ae9cc51fa2bb" providerId="ADAL" clId="{20556DAF-1CB3-4C62-A041-CBC6DC7F11A3}"/>
    <pc:docChg chg="modSld">
      <pc:chgData name="Greg Walker" userId="590d7d16-d4e2-4ce6-a1d7-ae9cc51fa2bb" providerId="ADAL" clId="{20556DAF-1CB3-4C62-A041-CBC6DC7F11A3}" dt="2021-09-30T13:01:26.960" v="54" actId="6549"/>
      <pc:docMkLst>
        <pc:docMk/>
      </pc:docMkLst>
      <pc:sldChg chg="modSp mod">
        <pc:chgData name="Greg Walker" userId="590d7d16-d4e2-4ce6-a1d7-ae9cc51fa2bb" providerId="ADAL" clId="{20556DAF-1CB3-4C62-A041-CBC6DC7F11A3}" dt="2021-09-30T13:01:26.960" v="54" actId="6549"/>
        <pc:sldMkLst>
          <pc:docMk/>
          <pc:sldMk cId="3888553813" sldId="879"/>
        </pc:sldMkLst>
        <pc:spChg chg="mod">
          <ac:chgData name="Greg Walker" userId="590d7d16-d4e2-4ce6-a1d7-ae9cc51fa2bb" providerId="ADAL" clId="{20556DAF-1CB3-4C62-A041-CBC6DC7F11A3}" dt="2021-09-30T13:01:26.960" v="54" actId="6549"/>
          <ac:spMkLst>
            <pc:docMk/>
            <pc:sldMk cId="3888553813" sldId="879"/>
            <ac:spMk id="2" creationId="{91383D11-DEC4-4BFF-88BB-8FB2206CEB37}"/>
          </ac:spMkLst>
        </pc:sp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9.xlsx"/><Relationship Id="rId1" Type="http://schemas.openxmlformats.org/officeDocument/2006/relationships/themeOverride" Target="../theme/themeOverride6.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5.xml"/><Relationship Id="rId1" Type="http://schemas.microsoft.com/office/2011/relationships/chartStyle" Target="style5.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3.xml"/><Relationship Id="rId1" Type="http://schemas.microsoft.com/office/2011/relationships/chartStyle" Target="style3.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4.xml"/></Relationships>
</file>

<file path=ppt/charts/_rels/chart8.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7.xlsx"/><Relationship Id="rId1" Type="http://schemas.openxmlformats.org/officeDocument/2006/relationships/themeOverride" Target="../theme/themeOverrid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45124269906829"/>
          <c:y val="4.0653113559860933E-2"/>
          <c:w val="0.86714539512368982"/>
          <c:h val="0.69130415282804447"/>
        </c:manualLayout>
      </c:layout>
      <c:areaChart>
        <c:grouping val="stacked"/>
        <c:varyColors val="0"/>
        <c:ser>
          <c:idx val="0"/>
          <c:order val="0"/>
          <c:tx>
            <c:strRef>
              <c:f>Sheet1!$B$1</c:f>
              <c:strCache>
                <c:ptCount val="1"/>
                <c:pt idx="0">
                  <c:v>Passenger 
Evs</c:v>
                </c:pt>
              </c:strCache>
            </c:strRef>
          </c:tx>
          <c:cat>
            <c:numRef>
              <c:f>Sheet1!$A$2:$A$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1!$B$2:$B$13</c:f>
              <c:numCache>
                <c:formatCode>General</c:formatCode>
                <c:ptCount val="12"/>
                <c:pt idx="0">
                  <c:v>100</c:v>
                </c:pt>
                <c:pt idx="1">
                  <c:v>138</c:v>
                </c:pt>
                <c:pt idx="2">
                  <c:v>235</c:v>
                </c:pt>
                <c:pt idx="3">
                  <c:v>335</c:v>
                </c:pt>
                <c:pt idx="4">
                  <c:v>451</c:v>
                </c:pt>
                <c:pt idx="5">
                  <c:v>595</c:v>
                </c:pt>
                <c:pt idx="6">
                  <c:v>788</c:v>
                </c:pt>
                <c:pt idx="7">
                  <c:v>959</c:v>
                </c:pt>
                <c:pt idx="8">
                  <c:v>1154</c:v>
                </c:pt>
                <c:pt idx="9">
                  <c:v>1362</c:v>
                </c:pt>
                <c:pt idx="10">
                  <c:v>1609</c:v>
                </c:pt>
                <c:pt idx="11">
                  <c:v>1888</c:v>
                </c:pt>
              </c:numCache>
            </c:numRef>
          </c:val>
          <c:extLst>
            <c:ext xmlns:c16="http://schemas.microsoft.com/office/drawing/2014/chart" uri="{C3380CC4-5D6E-409C-BE32-E72D297353CC}">
              <c16:uniqueId val="{00000000-EE29-47E7-B29C-A9B2BA5448ED}"/>
            </c:ext>
          </c:extLst>
        </c:ser>
        <c:ser>
          <c:idx val="1"/>
          <c:order val="1"/>
          <c:tx>
            <c:strRef>
              <c:f>Sheet1!$C$1</c:f>
              <c:strCache>
                <c:ptCount val="1"/>
                <c:pt idx="0">
                  <c:v>Commercial 
Evs</c:v>
                </c:pt>
              </c:strCache>
            </c:strRef>
          </c:tx>
          <c:cat>
            <c:numRef>
              <c:f>Sheet1!$A$2:$A$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1!$C$2:$C$13</c:f>
              <c:numCache>
                <c:formatCode>General</c:formatCode>
                <c:ptCount val="12"/>
                <c:pt idx="0">
                  <c:v>0</c:v>
                </c:pt>
                <c:pt idx="1">
                  <c:v>11</c:v>
                </c:pt>
                <c:pt idx="2">
                  <c:v>2</c:v>
                </c:pt>
                <c:pt idx="3">
                  <c:v>36</c:v>
                </c:pt>
                <c:pt idx="4">
                  <c:v>43</c:v>
                </c:pt>
                <c:pt idx="5">
                  <c:v>82</c:v>
                </c:pt>
                <c:pt idx="6">
                  <c:v>100</c:v>
                </c:pt>
                <c:pt idx="7">
                  <c:v>175</c:v>
                </c:pt>
                <c:pt idx="8">
                  <c:v>207</c:v>
                </c:pt>
                <c:pt idx="9">
                  <c:v>291</c:v>
                </c:pt>
                <c:pt idx="10">
                  <c:v>384</c:v>
                </c:pt>
                <c:pt idx="11">
                  <c:v>491</c:v>
                </c:pt>
              </c:numCache>
            </c:numRef>
          </c:val>
          <c:extLst>
            <c:ext xmlns:c16="http://schemas.microsoft.com/office/drawing/2014/chart" uri="{C3380CC4-5D6E-409C-BE32-E72D297353CC}">
              <c16:uniqueId val="{00000001-EE29-47E7-B29C-A9B2BA5448ED}"/>
            </c:ext>
          </c:extLst>
        </c:ser>
        <c:ser>
          <c:idx val="2"/>
          <c:order val="2"/>
          <c:tx>
            <c:strRef>
              <c:f>Sheet1!$D$1</c:f>
              <c:strCache>
                <c:ptCount val="1"/>
                <c:pt idx="0">
                  <c:v>Electric 
2W/3W</c:v>
                </c:pt>
              </c:strCache>
            </c:strRef>
          </c:tx>
          <c:cat>
            <c:numRef>
              <c:f>Sheet1!$A$2:$A$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1!$D$2:$D$13</c:f>
              <c:numCache>
                <c:formatCode>General</c:formatCode>
                <c:ptCount val="12"/>
                <c:pt idx="0">
                  <c:v>0</c:v>
                </c:pt>
                <c:pt idx="1">
                  <c:v>16</c:v>
                </c:pt>
                <c:pt idx="2">
                  <c:v>11</c:v>
                </c:pt>
                <c:pt idx="3">
                  <c:v>39</c:v>
                </c:pt>
                <c:pt idx="4">
                  <c:v>44</c:v>
                </c:pt>
                <c:pt idx="5">
                  <c:v>58</c:v>
                </c:pt>
                <c:pt idx="6">
                  <c:v>100</c:v>
                </c:pt>
                <c:pt idx="7">
                  <c:v>100</c:v>
                </c:pt>
                <c:pt idx="8">
                  <c:v>137</c:v>
                </c:pt>
                <c:pt idx="9">
                  <c:v>147</c:v>
                </c:pt>
                <c:pt idx="10">
                  <c:v>170</c:v>
                </c:pt>
                <c:pt idx="11">
                  <c:v>207</c:v>
                </c:pt>
              </c:numCache>
            </c:numRef>
          </c:val>
          <c:extLst>
            <c:ext xmlns:c16="http://schemas.microsoft.com/office/drawing/2014/chart" uri="{C3380CC4-5D6E-409C-BE32-E72D297353CC}">
              <c16:uniqueId val="{00000002-EE29-47E7-B29C-A9B2BA5448ED}"/>
            </c:ext>
          </c:extLst>
        </c:ser>
        <c:ser>
          <c:idx val="3"/>
          <c:order val="3"/>
          <c:tx>
            <c:strRef>
              <c:f>Sheet1!$E$1</c:f>
              <c:strCache>
                <c:ptCount val="1"/>
                <c:pt idx="0">
                  <c:v>E-Buses</c:v>
                </c:pt>
              </c:strCache>
            </c:strRef>
          </c:tx>
          <c:cat>
            <c:numRef>
              <c:f>Sheet1!$A$2:$A$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1!$E$2:$E$13</c:f>
              <c:numCache>
                <c:formatCode>General</c:formatCode>
                <c:ptCount val="12"/>
                <c:pt idx="0">
                  <c:v>28</c:v>
                </c:pt>
                <c:pt idx="1">
                  <c:v>14</c:v>
                </c:pt>
                <c:pt idx="2">
                  <c:v>42</c:v>
                </c:pt>
                <c:pt idx="3">
                  <c:v>28</c:v>
                </c:pt>
                <c:pt idx="4">
                  <c:v>56</c:v>
                </c:pt>
                <c:pt idx="5">
                  <c:v>32</c:v>
                </c:pt>
                <c:pt idx="6">
                  <c:v>37</c:v>
                </c:pt>
                <c:pt idx="7">
                  <c:v>60</c:v>
                </c:pt>
                <c:pt idx="8">
                  <c:v>46</c:v>
                </c:pt>
                <c:pt idx="9">
                  <c:v>98</c:v>
                </c:pt>
                <c:pt idx="10">
                  <c:v>93</c:v>
                </c:pt>
                <c:pt idx="11">
                  <c:v>84</c:v>
                </c:pt>
              </c:numCache>
            </c:numRef>
          </c:val>
          <c:extLst>
            <c:ext xmlns:c16="http://schemas.microsoft.com/office/drawing/2014/chart" uri="{C3380CC4-5D6E-409C-BE32-E72D297353CC}">
              <c16:uniqueId val="{00000003-EE29-47E7-B29C-A9B2BA5448ED}"/>
            </c:ext>
          </c:extLst>
        </c:ser>
        <c:ser>
          <c:idx val="4"/>
          <c:order val="4"/>
          <c:tx>
            <c:strRef>
              <c:f>Sheet1!$F$1</c:f>
              <c:strCache>
                <c:ptCount val="1"/>
                <c:pt idx="0">
                  <c:v>Consumer 
Electronics</c:v>
                </c:pt>
              </c:strCache>
            </c:strRef>
          </c:tx>
          <c:cat>
            <c:numRef>
              <c:f>Sheet1!$A$2:$A$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1!$F$2:$F$13</c:f>
              <c:numCache>
                <c:formatCode>General</c:formatCode>
                <c:ptCount val="12"/>
                <c:pt idx="0">
                  <c:v>60</c:v>
                </c:pt>
                <c:pt idx="1">
                  <c:v>84</c:v>
                </c:pt>
                <c:pt idx="2">
                  <c:v>79</c:v>
                </c:pt>
                <c:pt idx="3">
                  <c:v>74</c:v>
                </c:pt>
                <c:pt idx="4">
                  <c:v>93</c:v>
                </c:pt>
                <c:pt idx="5">
                  <c:v>107</c:v>
                </c:pt>
                <c:pt idx="6">
                  <c:v>135</c:v>
                </c:pt>
                <c:pt idx="7">
                  <c:v>111</c:v>
                </c:pt>
                <c:pt idx="8">
                  <c:v>100</c:v>
                </c:pt>
                <c:pt idx="9">
                  <c:v>98</c:v>
                </c:pt>
                <c:pt idx="10">
                  <c:v>116</c:v>
                </c:pt>
                <c:pt idx="11">
                  <c:v>139</c:v>
                </c:pt>
              </c:numCache>
            </c:numRef>
          </c:val>
          <c:extLst>
            <c:ext xmlns:c16="http://schemas.microsoft.com/office/drawing/2014/chart" uri="{C3380CC4-5D6E-409C-BE32-E72D297353CC}">
              <c16:uniqueId val="{00000004-EE29-47E7-B29C-A9B2BA5448ED}"/>
            </c:ext>
          </c:extLst>
        </c:ser>
        <c:ser>
          <c:idx val="5"/>
          <c:order val="5"/>
          <c:tx>
            <c:strRef>
              <c:f>Sheet1!$G$1</c:f>
              <c:strCache>
                <c:ptCount val="1"/>
                <c:pt idx="0">
                  <c:v>Stationary 
Storage</c:v>
                </c:pt>
              </c:strCache>
            </c:strRef>
          </c:tx>
          <c:spPr>
            <a:ln w="25400">
              <a:noFill/>
            </a:ln>
          </c:spPr>
          <c:cat>
            <c:numRef>
              <c:f>Sheet1!$A$2:$A$13</c:f>
              <c:numCache>
                <c:formatCode>General</c:formatCode>
                <c:ptCount val="12"/>
                <c:pt idx="0">
                  <c:v>2019</c:v>
                </c:pt>
                <c:pt idx="1">
                  <c:v>2020</c:v>
                </c:pt>
                <c:pt idx="2">
                  <c:v>2021</c:v>
                </c:pt>
                <c:pt idx="3">
                  <c:v>2022</c:v>
                </c:pt>
                <c:pt idx="4">
                  <c:v>2023</c:v>
                </c:pt>
                <c:pt idx="5">
                  <c:v>2024</c:v>
                </c:pt>
                <c:pt idx="6">
                  <c:v>2025</c:v>
                </c:pt>
                <c:pt idx="7">
                  <c:v>2026</c:v>
                </c:pt>
                <c:pt idx="8">
                  <c:v>2027</c:v>
                </c:pt>
                <c:pt idx="9">
                  <c:v>2028</c:v>
                </c:pt>
                <c:pt idx="10">
                  <c:v>2029</c:v>
                </c:pt>
                <c:pt idx="11">
                  <c:v>2030</c:v>
                </c:pt>
              </c:numCache>
            </c:numRef>
          </c:cat>
          <c:val>
            <c:numRef>
              <c:f>Sheet1!$G$2:$G$13</c:f>
              <c:numCache>
                <c:formatCode>General</c:formatCode>
                <c:ptCount val="12"/>
                <c:pt idx="0">
                  <c:v>4</c:v>
                </c:pt>
                <c:pt idx="1">
                  <c:v>9</c:v>
                </c:pt>
                <c:pt idx="2">
                  <c:v>18</c:v>
                </c:pt>
                <c:pt idx="3">
                  <c:v>32</c:v>
                </c:pt>
                <c:pt idx="4">
                  <c:v>37</c:v>
                </c:pt>
                <c:pt idx="5">
                  <c:v>51</c:v>
                </c:pt>
                <c:pt idx="6">
                  <c:v>74</c:v>
                </c:pt>
                <c:pt idx="7">
                  <c:v>93</c:v>
                </c:pt>
                <c:pt idx="8">
                  <c:v>98</c:v>
                </c:pt>
                <c:pt idx="9">
                  <c:v>126</c:v>
                </c:pt>
                <c:pt idx="10">
                  <c:v>121</c:v>
                </c:pt>
                <c:pt idx="11">
                  <c:v>116</c:v>
                </c:pt>
              </c:numCache>
            </c:numRef>
          </c:val>
          <c:extLst>
            <c:ext xmlns:c16="http://schemas.microsoft.com/office/drawing/2014/chart" uri="{C3380CC4-5D6E-409C-BE32-E72D297353CC}">
              <c16:uniqueId val="{00000005-EE29-47E7-B29C-A9B2BA5448ED}"/>
            </c:ext>
          </c:extLst>
        </c:ser>
        <c:dLbls>
          <c:showLegendKey val="0"/>
          <c:showVal val="0"/>
          <c:showCatName val="0"/>
          <c:showSerName val="0"/>
          <c:showPercent val="0"/>
          <c:showBubbleSize val="0"/>
        </c:dLbls>
        <c:axId val="435139976"/>
        <c:axId val="435140368"/>
      </c:areaChart>
      <c:catAx>
        <c:axId val="435139976"/>
        <c:scaling>
          <c:orientation val="minMax"/>
        </c:scaling>
        <c:delete val="0"/>
        <c:axPos val="b"/>
        <c:numFmt formatCode="General" sourceLinked="1"/>
        <c:majorTickMark val="none"/>
        <c:minorTickMark val="none"/>
        <c:tickLblPos val="nextTo"/>
        <c:crossAx val="435140368"/>
        <c:crosses val="autoZero"/>
        <c:auto val="1"/>
        <c:lblAlgn val="ctr"/>
        <c:lblOffset val="100"/>
        <c:noMultiLvlLbl val="0"/>
      </c:catAx>
      <c:valAx>
        <c:axId val="435140368"/>
        <c:scaling>
          <c:orientation val="minMax"/>
          <c:max val="3000"/>
        </c:scaling>
        <c:delete val="0"/>
        <c:axPos val="l"/>
        <c:title>
          <c:tx>
            <c:rich>
              <a:bodyPr rot="-5400000" vert="horz"/>
              <a:lstStyle/>
              <a:p>
                <a:pPr>
                  <a:defRPr>
                    <a:solidFill>
                      <a:schemeClr val="tx2"/>
                    </a:solidFill>
                  </a:defRPr>
                </a:pPr>
                <a:r>
                  <a:rPr lang="en-US">
                    <a:solidFill>
                      <a:schemeClr val="tx2"/>
                    </a:solidFill>
                  </a:rPr>
                  <a:t>Annual Demand (GWh/Year)</a:t>
                </a:r>
              </a:p>
            </c:rich>
          </c:tx>
          <c:layout>
            <c:manualLayout>
              <c:xMode val="edge"/>
              <c:yMode val="edge"/>
              <c:x val="6.2516490994181271E-3"/>
              <c:y val="0.13931266658123115"/>
            </c:manualLayout>
          </c:layout>
          <c:overlay val="0"/>
        </c:title>
        <c:numFmt formatCode="General" sourceLinked="1"/>
        <c:majorTickMark val="none"/>
        <c:minorTickMark val="none"/>
        <c:tickLblPos val="nextTo"/>
        <c:crossAx val="435139976"/>
        <c:crosses val="autoZero"/>
        <c:crossBetween val="midCat"/>
        <c:majorUnit val="500"/>
        <c:minorUnit val="500"/>
      </c:valAx>
    </c:plotArea>
    <c:legend>
      <c:legendPos val="b"/>
      <c:layout>
        <c:manualLayout>
          <c:xMode val="edge"/>
          <c:yMode val="edge"/>
          <c:x val="0"/>
          <c:y val="0.85498276513581473"/>
          <c:w val="0.99701139788082049"/>
          <c:h val="0.12934263140388291"/>
        </c:manualLayout>
      </c:layout>
      <c:overlay val="0"/>
    </c:legend>
    <c:plotVisOnly val="1"/>
    <c:dispBlanksAs val="zero"/>
    <c:showDLblsOverMax val="0"/>
  </c:chart>
  <c:txPr>
    <a:bodyPr/>
    <a:lstStyle/>
    <a:p>
      <a:pPr>
        <a:defRPr sz="16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314072604781092"/>
          <c:y val="4.0892474065709193E-2"/>
          <c:w val="0.82188021932530841"/>
          <c:h val="0.62158912117686893"/>
        </c:manualLayout>
      </c:layout>
      <c:barChart>
        <c:barDir val="col"/>
        <c:grouping val="stacked"/>
        <c:varyColors val="0"/>
        <c:ser>
          <c:idx val="1"/>
          <c:order val="0"/>
          <c:tx>
            <c:strRef>
              <c:f>Sheet1!$A$2</c:f>
              <c:strCache>
                <c:ptCount val="1"/>
                <c:pt idx="0">
                  <c:v>#REF!</c:v>
                </c:pt>
              </c:strCache>
            </c:strRef>
          </c:tx>
          <c:invertIfNegative val="0"/>
          <c:dLbls>
            <c:delete val="1"/>
          </c:dLbls>
          <c:cat>
            <c:strRef>
              <c:f>Sheet1!$B$1:$M$1</c:f>
              <c:strCache>
                <c:ptCount val="12"/>
                <c:pt idx="0">
                  <c:v>2020</c:v>
                </c:pt>
                <c:pt idx="1">
                  <c:v>2021</c:v>
                </c:pt>
                <c:pt idx="2">
                  <c:v>2022</c:v>
                </c:pt>
                <c:pt idx="3">
                  <c:v>2023</c:v>
                </c:pt>
                <c:pt idx="4">
                  <c:v>2024</c:v>
                </c:pt>
                <c:pt idx="5">
                  <c:v>2025</c:v>
                </c:pt>
                <c:pt idx="6">
                  <c:v>2026</c:v>
                </c:pt>
                <c:pt idx="7">
                  <c:v>2027</c:v>
                </c:pt>
                <c:pt idx="8">
                  <c:v>2028</c:v>
                </c:pt>
                <c:pt idx="9">
                  <c:v>2029</c:v>
                </c:pt>
                <c:pt idx="10">
                  <c:v>2030</c:v>
                </c:pt>
                <c:pt idx="11">
                  <c:v>CAGR (2021–2030)</c:v>
                </c:pt>
              </c:strCache>
            </c:strRef>
          </c:cat>
          <c:val>
            <c:numRef>
              <c:f>Sheet1!$B$2:$M$2</c:f>
            </c:numRef>
          </c:val>
          <c:extLst>
            <c:ext xmlns:c16="http://schemas.microsoft.com/office/drawing/2014/chart" uri="{C3380CC4-5D6E-409C-BE32-E72D297353CC}">
              <c16:uniqueId val="{00000000-0E5D-504D-A809-CAC9CA3F2938}"/>
            </c:ext>
          </c:extLst>
        </c:ser>
        <c:ser>
          <c:idx val="0"/>
          <c:order val="1"/>
          <c:tx>
            <c:strRef>
              <c:f>Sheet1!$A$3</c:f>
              <c:strCache>
                <c:ptCount val="1"/>
                <c:pt idx="0">
                  <c:v>#REF!</c:v>
                </c:pt>
              </c:strCache>
            </c:strRef>
          </c:tx>
          <c:invertIfNegative val="0"/>
          <c:dLbls>
            <c:delete val="1"/>
          </c:dLbls>
          <c:cat>
            <c:strRef>
              <c:f>Sheet1!$B$1:$M$1</c:f>
              <c:strCache>
                <c:ptCount val="12"/>
                <c:pt idx="0">
                  <c:v>2020</c:v>
                </c:pt>
                <c:pt idx="1">
                  <c:v>2021</c:v>
                </c:pt>
                <c:pt idx="2">
                  <c:v>2022</c:v>
                </c:pt>
                <c:pt idx="3">
                  <c:v>2023</c:v>
                </c:pt>
                <c:pt idx="4">
                  <c:v>2024</c:v>
                </c:pt>
                <c:pt idx="5">
                  <c:v>2025</c:v>
                </c:pt>
                <c:pt idx="6">
                  <c:v>2026</c:v>
                </c:pt>
                <c:pt idx="7">
                  <c:v>2027</c:v>
                </c:pt>
                <c:pt idx="8">
                  <c:v>2028</c:v>
                </c:pt>
                <c:pt idx="9">
                  <c:v>2029</c:v>
                </c:pt>
                <c:pt idx="10">
                  <c:v>2030</c:v>
                </c:pt>
                <c:pt idx="11">
                  <c:v>CAGR (2021–2030)</c:v>
                </c:pt>
              </c:strCache>
            </c:strRef>
          </c:cat>
          <c:val>
            <c:numRef>
              <c:f>Sheet1!$B$3:$M$3</c:f>
            </c:numRef>
          </c:val>
          <c:extLst>
            <c:ext xmlns:c16="http://schemas.microsoft.com/office/drawing/2014/chart" uri="{C3380CC4-5D6E-409C-BE32-E72D297353CC}">
              <c16:uniqueId val="{00000001-0E5D-504D-A809-CAC9CA3F2938}"/>
            </c:ext>
          </c:extLst>
        </c:ser>
        <c:ser>
          <c:idx val="2"/>
          <c:order val="2"/>
          <c:tx>
            <c:strRef>
              <c:f>Sheet1!$A$4</c:f>
              <c:strCache>
                <c:ptCount val="1"/>
                <c:pt idx="0">
                  <c:v>United States</c:v>
                </c:pt>
              </c:strCache>
            </c:strRef>
          </c:tx>
          <c:spPr>
            <a:solidFill>
              <a:srgbClr val="1582C5"/>
            </a:solidFill>
          </c:spPr>
          <c:invertIfNegative val="0"/>
          <c:dPt>
            <c:idx val="11"/>
            <c:invertIfNegative val="0"/>
            <c:bubble3D val="0"/>
            <c:spPr>
              <a:solidFill>
                <a:srgbClr val="1582C5"/>
              </a:solidFill>
              <a:ln>
                <a:noFill/>
              </a:ln>
              <a:effectLst/>
            </c:spPr>
            <c:extLst>
              <c:ext xmlns:c16="http://schemas.microsoft.com/office/drawing/2014/chart" uri="{C3380CC4-5D6E-409C-BE32-E72D297353CC}">
                <c16:uniqueId val="{00000001-EB51-4383-8517-9AFF2ED27EED}"/>
              </c:ext>
            </c:extLst>
          </c:dPt>
          <c:dLbls>
            <c:delete val="1"/>
          </c:dLbls>
          <c:cat>
            <c:strRef>
              <c:f>Sheet1!$B$1:$M$1</c:f>
              <c:strCache>
                <c:ptCount val="12"/>
                <c:pt idx="0">
                  <c:v>2020</c:v>
                </c:pt>
                <c:pt idx="1">
                  <c:v>2021</c:v>
                </c:pt>
                <c:pt idx="2">
                  <c:v>2022</c:v>
                </c:pt>
                <c:pt idx="3">
                  <c:v>2023</c:v>
                </c:pt>
                <c:pt idx="4">
                  <c:v>2024</c:v>
                </c:pt>
                <c:pt idx="5">
                  <c:v>2025</c:v>
                </c:pt>
                <c:pt idx="6">
                  <c:v>2026</c:v>
                </c:pt>
                <c:pt idx="7">
                  <c:v>2027</c:v>
                </c:pt>
                <c:pt idx="8">
                  <c:v>2028</c:v>
                </c:pt>
                <c:pt idx="9">
                  <c:v>2029</c:v>
                </c:pt>
                <c:pt idx="10">
                  <c:v>2030</c:v>
                </c:pt>
                <c:pt idx="11">
                  <c:v>CAGR (2021–2030)</c:v>
                </c:pt>
              </c:strCache>
            </c:strRef>
          </c:cat>
          <c:val>
            <c:numRef>
              <c:f>Sheet1!$B$4:$M$4</c:f>
              <c:numCache>
                <c:formatCode>_(* #,##0_);_(* \(#,##0\);_(* "-"??_);_(@_)</c:formatCode>
                <c:ptCount val="12"/>
                <c:pt idx="0">
                  <c:v>105000</c:v>
                </c:pt>
                <c:pt idx="1">
                  <c:v>130000</c:v>
                </c:pt>
                <c:pt idx="2">
                  <c:v>152100</c:v>
                </c:pt>
                <c:pt idx="3">
                  <c:v>182520</c:v>
                </c:pt>
                <c:pt idx="4">
                  <c:v>219024</c:v>
                </c:pt>
                <c:pt idx="5">
                  <c:v>256258.08</c:v>
                </c:pt>
                <c:pt idx="6">
                  <c:v>299821.95359999995</c:v>
                </c:pt>
                <c:pt idx="7">
                  <c:v>350791.68571199995</c:v>
                </c:pt>
                <c:pt idx="8">
                  <c:v>403410.43856879993</c:v>
                </c:pt>
                <c:pt idx="9">
                  <c:v>465939.05654696393</c:v>
                </c:pt>
                <c:pt idx="10">
                  <c:v>540489.30559447815</c:v>
                </c:pt>
                <c:pt idx="11" formatCode="0.0%">
                  <c:v>0.17154889026671249</c:v>
                </c:pt>
              </c:numCache>
            </c:numRef>
          </c:val>
          <c:extLst>
            <c:ext xmlns:c16="http://schemas.microsoft.com/office/drawing/2014/chart" uri="{C3380CC4-5D6E-409C-BE32-E72D297353CC}">
              <c16:uniqueId val="{00000002-0E5D-504D-A809-CAC9CA3F2938}"/>
            </c:ext>
          </c:extLst>
        </c:ser>
        <c:ser>
          <c:idx val="3"/>
          <c:order val="3"/>
          <c:tx>
            <c:strRef>
              <c:f>Sheet1!$A$5</c:f>
              <c:strCache>
                <c:ptCount val="1"/>
                <c:pt idx="0">
                  <c:v>Canada</c:v>
                </c:pt>
              </c:strCache>
            </c:strRef>
          </c:tx>
          <c:spPr>
            <a:solidFill>
              <a:srgbClr val="F26722"/>
            </a:solidFill>
          </c:spPr>
          <c:invertIfNegative val="0"/>
          <c:dPt>
            <c:idx val="11"/>
            <c:invertIfNegative val="0"/>
            <c:bubble3D val="0"/>
            <c:spPr>
              <a:solidFill>
                <a:srgbClr val="F26722"/>
              </a:solidFill>
              <a:ln>
                <a:noFill/>
              </a:ln>
              <a:effectLst/>
            </c:spPr>
            <c:extLst>
              <c:ext xmlns:c16="http://schemas.microsoft.com/office/drawing/2014/chart" uri="{C3380CC4-5D6E-409C-BE32-E72D297353CC}">
                <c16:uniqueId val="{00000003-EB51-4383-8517-9AFF2ED27EED}"/>
              </c:ext>
            </c:extLst>
          </c:dPt>
          <c:dLbls>
            <c:delete val="1"/>
          </c:dLbls>
          <c:cat>
            <c:strRef>
              <c:f>Sheet1!$B$1:$M$1</c:f>
              <c:strCache>
                <c:ptCount val="12"/>
                <c:pt idx="0">
                  <c:v>2020</c:v>
                </c:pt>
                <c:pt idx="1">
                  <c:v>2021</c:v>
                </c:pt>
                <c:pt idx="2">
                  <c:v>2022</c:v>
                </c:pt>
                <c:pt idx="3">
                  <c:v>2023</c:v>
                </c:pt>
                <c:pt idx="4">
                  <c:v>2024</c:v>
                </c:pt>
                <c:pt idx="5">
                  <c:v>2025</c:v>
                </c:pt>
                <c:pt idx="6">
                  <c:v>2026</c:v>
                </c:pt>
                <c:pt idx="7">
                  <c:v>2027</c:v>
                </c:pt>
                <c:pt idx="8">
                  <c:v>2028</c:v>
                </c:pt>
                <c:pt idx="9">
                  <c:v>2029</c:v>
                </c:pt>
                <c:pt idx="10">
                  <c:v>2030</c:v>
                </c:pt>
                <c:pt idx="11">
                  <c:v>CAGR (2021–2030)</c:v>
                </c:pt>
              </c:strCache>
            </c:strRef>
          </c:cat>
          <c:val>
            <c:numRef>
              <c:f>Sheet1!$B$5:$M$5</c:f>
              <c:numCache>
                <c:formatCode>_(* #,##0_);_(* \(#,##0\);_(* "-"??_);_(@_)</c:formatCode>
                <c:ptCount val="12"/>
                <c:pt idx="0">
                  <c:v>3000</c:v>
                </c:pt>
                <c:pt idx="1">
                  <c:v>3449.9999999999995</c:v>
                </c:pt>
                <c:pt idx="2">
                  <c:v>3967.4999999999991</c:v>
                </c:pt>
                <c:pt idx="3">
                  <c:v>4364.2499999999991</c:v>
                </c:pt>
                <c:pt idx="4">
                  <c:v>4669.7474999999995</c:v>
                </c:pt>
                <c:pt idx="5">
                  <c:v>5603.6969999999992</c:v>
                </c:pt>
                <c:pt idx="6">
                  <c:v>6500.2885199999982</c:v>
                </c:pt>
                <c:pt idx="7">
                  <c:v>7800.3462239999972</c:v>
                </c:pt>
                <c:pt idx="8">
                  <c:v>9360.4154687999962</c:v>
                </c:pt>
                <c:pt idx="9">
                  <c:v>11232.498562559995</c:v>
                </c:pt>
                <c:pt idx="10">
                  <c:v>13478.998275071994</c:v>
                </c:pt>
                <c:pt idx="11" formatCode="0.0%">
                  <c:v>0.16348244755838232</c:v>
                </c:pt>
              </c:numCache>
            </c:numRef>
          </c:val>
          <c:extLst>
            <c:ext xmlns:c16="http://schemas.microsoft.com/office/drawing/2014/chart" uri="{C3380CC4-5D6E-409C-BE32-E72D297353CC}">
              <c16:uniqueId val="{00000003-0E5D-504D-A809-CAC9CA3F2938}"/>
            </c:ext>
          </c:extLst>
        </c:ser>
        <c:dLbls>
          <c:showLegendKey val="0"/>
          <c:showVal val="1"/>
          <c:showCatName val="0"/>
          <c:showSerName val="0"/>
          <c:showPercent val="0"/>
          <c:showBubbleSize val="0"/>
        </c:dLbls>
        <c:gapWidth val="50"/>
        <c:overlap val="100"/>
        <c:axId val="823440448"/>
        <c:axId val="823436920"/>
      </c:barChart>
      <c:catAx>
        <c:axId val="823440448"/>
        <c:scaling>
          <c:orientation val="minMax"/>
        </c:scaling>
        <c:delete val="0"/>
        <c:axPos val="b"/>
        <c:numFmt formatCode="#,##0.00" sourceLinked="0"/>
        <c:majorTickMark val="none"/>
        <c:minorTickMark val="none"/>
        <c:tickLblPos val="nextTo"/>
        <c:txPr>
          <a:bodyPr rot="0" vert="horz"/>
          <a:lstStyle/>
          <a:p>
            <a:pPr>
              <a:defRPr/>
            </a:pPr>
            <a:endParaRPr lang="en-US"/>
          </a:p>
        </c:txPr>
        <c:crossAx val="823436920"/>
        <c:crosses val="autoZero"/>
        <c:auto val="0"/>
        <c:lblAlgn val="ctr"/>
        <c:lblOffset val="50"/>
        <c:tickLblSkip val="1"/>
        <c:tickMarkSkip val="1"/>
        <c:noMultiLvlLbl val="0"/>
      </c:catAx>
      <c:valAx>
        <c:axId val="823436920"/>
        <c:scaling>
          <c:orientation val="minMax"/>
          <c:min val="0"/>
        </c:scaling>
        <c:delete val="0"/>
        <c:axPos val="l"/>
        <c:numFmt formatCode="#,##0" sourceLinked="0"/>
        <c:majorTickMark val="in"/>
        <c:minorTickMark val="none"/>
        <c:tickLblPos val="nextTo"/>
        <c:txPr>
          <a:bodyPr rot="0" vert="horz"/>
          <a:lstStyle/>
          <a:p>
            <a:pPr>
              <a:defRPr/>
            </a:pPr>
            <a:endParaRPr lang="en-US"/>
          </a:p>
        </c:txPr>
        <c:crossAx val="823440448"/>
        <c:crosses val="autoZero"/>
        <c:crossBetween val="between"/>
      </c:valAx>
      <c:dTable>
        <c:showHorzBorder val="1"/>
        <c:showVertBorder val="1"/>
        <c:showOutline val="0"/>
        <c:showKeys val="1"/>
      </c:dTable>
    </c:plotArea>
    <c:plotVisOnly val="1"/>
    <c:dispBlanksAs val="gap"/>
    <c:showDLblsOverMax val="0"/>
  </c:chart>
  <c:txPr>
    <a:bodyPr/>
    <a:lstStyle/>
    <a:p>
      <a:pPr>
        <a:defRPr sz="1200">
          <a:solidFill>
            <a:srgbClr val="000000"/>
          </a:solidFill>
        </a:defRPr>
      </a:pPr>
      <a:endParaRPr lang="en-US"/>
    </a:p>
  </c:txPr>
  <c:externalData r:id="rId2">
    <c:autoUpdate val="0"/>
  </c:externalData>
  <c:userShapes r:id="rId3"/>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7.8872572975840216E-3"/>
          <c:y val="2.2403274424626719E-4"/>
          <c:w val="0.99211286089238837"/>
          <c:h val="0.99977596725575368"/>
        </c:manualLayout>
      </c:layout>
      <c:barChart>
        <c:barDir val="bar"/>
        <c:grouping val="clustered"/>
        <c:varyColors val="0"/>
        <c:ser>
          <c:idx val="0"/>
          <c:order val="0"/>
          <c:tx>
            <c:strRef>
              <c:f>Sheet1!$B$1</c:f>
              <c:strCache>
                <c:ptCount val="1"/>
                <c:pt idx="0">
                  <c:v>United
States</c:v>
                </c:pt>
              </c:strCache>
            </c:strRef>
          </c:tx>
          <c:spPr>
            <a:solidFill>
              <a:srgbClr val="0091C4"/>
            </a:solidFill>
          </c:spPr>
          <c:invertIfNegative val="0"/>
          <c:dPt>
            <c:idx val="0"/>
            <c:invertIfNegative val="0"/>
            <c:bubble3D val="0"/>
            <c:spPr>
              <a:solidFill>
                <a:schemeClr val="accent3"/>
              </a:solidFill>
            </c:spPr>
            <c:extLst>
              <c:ext xmlns:c16="http://schemas.microsoft.com/office/drawing/2014/chart" uri="{C3380CC4-5D6E-409C-BE32-E72D297353CC}">
                <c16:uniqueId val="{00000002-767D-4EF7-B233-C111F459D19A}"/>
              </c:ext>
            </c:extLst>
          </c:dPt>
          <c:dPt>
            <c:idx val="1"/>
            <c:invertIfNegative val="0"/>
            <c:bubble3D val="0"/>
            <c:spPr>
              <a:solidFill>
                <a:schemeClr val="accent3"/>
              </a:solidFill>
            </c:spPr>
            <c:extLst>
              <c:ext xmlns:c16="http://schemas.microsoft.com/office/drawing/2014/chart" uri="{C3380CC4-5D6E-409C-BE32-E72D297353CC}">
                <c16:uniqueId val="{00000004-767D-4EF7-B233-C111F459D19A}"/>
              </c:ext>
            </c:extLst>
          </c:dPt>
          <c:dPt>
            <c:idx val="3"/>
            <c:invertIfNegative val="0"/>
            <c:bubble3D val="0"/>
            <c:spPr>
              <a:solidFill>
                <a:schemeClr val="accent3"/>
              </a:solidFill>
            </c:spPr>
            <c:extLst>
              <c:ext xmlns:c16="http://schemas.microsoft.com/office/drawing/2014/chart" uri="{C3380CC4-5D6E-409C-BE32-E72D297353CC}">
                <c16:uniqueId val="{00000003-767D-4EF7-B233-C111F459D19A}"/>
              </c:ext>
            </c:extLst>
          </c:dPt>
          <c:dLbls>
            <c:dLbl>
              <c:idx val="13"/>
              <c:delete val="1"/>
              <c:extLst>
                <c:ext xmlns:c15="http://schemas.microsoft.com/office/drawing/2012/chart" uri="{CE6537A1-D6FC-4f65-9D91-7224C49458BB}"/>
                <c:ext xmlns:c16="http://schemas.microsoft.com/office/drawing/2014/chart" uri="{C3380CC4-5D6E-409C-BE32-E72D297353CC}">
                  <c16:uniqueId val="{00000000-767D-4EF7-B233-C111F459D19A}"/>
                </c:ext>
              </c:extLst>
            </c:dLbl>
            <c:spPr>
              <a:noFill/>
              <a:ln>
                <a:noFill/>
              </a:ln>
              <a:effectLst/>
            </c:spPr>
            <c:txPr>
              <a:bodyPr/>
              <a:lstStyle/>
              <a:p>
                <a:pPr algn="r" rtl="0">
                  <a:defRPr sz="14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Incentives from government</c:v>
                </c:pt>
                <c:pt idx="1">
                  <c:v>Payback in shorter timeframe</c:v>
                </c:pt>
                <c:pt idx="2">
                  <c:v>More matured/reliable technology</c:v>
                </c:pt>
                <c:pt idx="3">
                  <c:v>More explanation on what benefits I can expect from battery energy storage</c:v>
                </c:pt>
                <c:pt idx="4">
                  <c:v>Flexible payment options</c:v>
                </c:pt>
                <c:pt idx="5">
                  <c:v>Detailed training on how to use this battery energy storage</c:v>
                </c:pt>
                <c:pt idx="6">
                  <c:v>More tests of the devices to better investigates all possible effects of the solution</c:v>
                </c:pt>
                <c:pt idx="7">
                  <c:v>Lease based model with zero installation and operational effort for households (you).</c:v>
                </c:pt>
                <c:pt idx="8">
                  <c:v>Bundled with PV contract</c:v>
                </c:pt>
              </c:strCache>
            </c:strRef>
          </c:cat>
          <c:val>
            <c:numRef>
              <c:f>Sheet1!$B$2:$B$10</c:f>
              <c:numCache>
                <c:formatCode>0%</c:formatCode>
                <c:ptCount val="9"/>
                <c:pt idx="0">
                  <c:v>0.48717948717948728</c:v>
                </c:pt>
                <c:pt idx="1">
                  <c:v>0.39316239316239332</c:v>
                </c:pt>
                <c:pt idx="2">
                  <c:v>0.35042735042735046</c:v>
                </c:pt>
                <c:pt idx="3">
                  <c:v>0.42735042735042744</c:v>
                </c:pt>
                <c:pt idx="4">
                  <c:v>0.38034188034188038</c:v>
                </c:pt>
                <c:pt idx="5">
                  <c:v>0.24786324786324793</c:v>
                </c:pt>
                <c:pt idx="6">
                  <c:v>0.23931623931623938</c:v>
                </c:pt>
                <c:pt idx="7">
                  <c:v>0.22649572649572652</c:v>
                </c:pt>
                <c:pt idx="8">
                  <c:v>0.22649572649572652</c:v>
                </c:pt>
              </c:numCache>
            </c:numRef>
          </c:val>
          <c:extLst>
            <c:ext xmlns:c16="http://schemas.microsoft.com/office/drawing/2014/chart" uri="{C3380CC4-5D6E-409C-BE32-E72D297353CC}">
              <c16:uniqueId val="{00000001-767D-4EF7-B233-C111F459D19A}"/>
            </c:ext>
          </c:extLst>
        </c:ser>
        <c:dLbls>
          <c:showLegendKey val="0"/>
          <c:showVal val="0"/>
          <c:showCatName val="0"/>
          <c:showSerName val="0"/>
          <c:showPercent val="0"/>
          <c:showBubbleSize val="0"/>
        </c:dLbls>
        <c:gapWidth val="170"/>
        <c:axId val="103857536"/>
        <c:axId val="103863424"/>
      </c:barChart>
      <c:catAx>
        <c:axId val="103857536"/>
        <c:scaling>
          <c:orientation val="maxMin"/>
        </c:scaling>
        <c:delete val="1"/>
        <c:axPos val="l"/>
        <c:numFmt formatCode="General" sourceLinked="1"/>
        <c:majorTickMark val="none"/>
        <c:minorTickMark val="none"/>
        <c:tickLblPos val="none"/>
        <c:crossAx val="103863424"/>
        <c:crosses val="autoZero"/>
        <c:auto val="1"/>
        <c:lblAlgn val="ctr"/>
        <c:lblOffset val="200"/>
        <c:noMultiLvlLbl val="0"/>
      </c:catAx>
      <c:valAx>
        <c:axId val="103863424"/>
        <c:scaling>
          <c:orientation val="minMax"/>
          <c:max val="1.1000000000000001"/>
          <c:min val="0"/>
        </c:scaling>
        <c:delete val="1"/>
        <c:axPos val="t"/>
        <c:numFmt formatCode="0%" sourceLinked="1"/>
        <c:majorTickMark val="out"/>
        <c:minorTickMark val="none"/>
        <c:tickLblPos val="none"/>
        <c:crossAx val="103857536"/>
        <c:crosses val="autoZero"/>
        <c:crossBetween val="between"/>
      </c:valAx>
    </c:plotArea>
    <c:plotVisOnly val="1"/>
    <c:dispBlanksAs val="gap"/>
    <c:showDLblsOverMax val="0"/>
  </c:chart>
  <c:txPr>
    <a:bodyPr/>
    <a:lstStyle/>
    <a:p>
      <a:pPr>
        <a:defRPr sz="1200">
          <a:solidFill>
            <a:schemeClr val="tx1"/>
          </a:solidFill>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
          <c:y val="2.2391732283465161E-4"/>
          <c:w val="0.99211286089238837"/>
          <c:h val="0.99977598730391271"/>
        </c:manualLayout>
      </c:layout>
      <c:barChart>
        <c:barDir val="bar"/>
        <c:grouping val="clustered"/>
        <c:varyColors val="0"/>
        <c:ser>
          <c:idx val="0"/>
          <c:order val="0"/>
          <c:tx>
            <c:strRef>
              <c:f>Sheet1!$B$1</c:f>
              <c:strCache>
                <c:ptCount val="1"/>
                <c:pt idx="0">
                  <c:v>United
States</c:v>
                </c:pt>
              </c:strCache>
            </c:strRef>
          </c:tx>
          <c:spPr>
            <a:solidFill>
              <a:srgbClr val="0091C4"/>
            </a:solidFill>
          </c:spPr>
          <c:invertIfNegative val="0"/>
          <c:dPt>
            <c:idx val="0"/>
            <c:invertIfNegative val="0"/>
            <c:bubble3D val="0"/>
            <c:spPr>
              <a:solidFill>
                <a:schemeClr val="accent3"/>
              </a:solidFill>
            </c:spPr>
            <c:extLst>
              <c:ext xmlns:c16="http://schemas.microsoft.com/office/drawing/2014/chart" uri="{C3380CC4-5D6E-409C-BE32-E72D297353CC}">
                <c16:uniqueId val="{00000001-EC57-477C-9288-DDB57B9AD407}"/>
              </c:ext>
            </c:extLst>
          </c:dPt>
          <c:dPt>
            <c:idx val="1"/>
            <c:invertIfNegative val="0"/>
            <c:bubble3D val="0"/>
            <c:spPr>
              <a:solidFill>
                <a:schemeClr val="accent3"/>
              </a:solidFill>
            </c:spPr>
            <c:extLst>
              <c:ext xmlns:c16="http://schemas.microsoft.com/office/drawing/2014/chart" uri="{C3380CC4-5D6E-409C-BE32-E72D297353CC}">
                <c16:uniqueId val="{00000003-EC57-477C-9288-DDB57B9AD407}"/>
              </c:ext>
            </c:extLst>
          </c:dPt>
          <c:dPt>
            <c:idx val="3"/>
            <c:invertIfNegative val="0"/>
            <c:bubble3D val="0"/>
            <c:spPr>
              <a:solidFill>
                <a:schemeClr val="accent3"/>
              </a:solidFill>
            </c:spPr>
            <c:extLst>
              <c:ext xmlns:c16="http://schemas.microsoft.com/office/drawing/2014/chart" uri="{C3380CC4-5D6E-409C-BE32-E72D297353CC}">
                <c16:uniqueId val="{00000005-EC57-477C-9288-DDB57B9AD407}"/>
              </c:ext>
            </c:extLst>
          </c:dPt>
          <c:dLbls>
            <c:dLbl>
              <c:idx val="13"/>
              <c:delete val="1"/>
              <c:extLst>
                <c:ext xmlns:c15="http://schemas.microsoft.com/office/drawing/2012/chart" uri="{CE6537A1-D6FC-4f65-9D91-7224C49458BB}"/>
                <c:ext xmlns:c16="http://schemas.microsoft.com/office/drawing/2014/chart" uri="{C3380CC4-5D6E-409C-BE32-E72D297353CC}">
                  <c16:uniqueId val="{00000006-EC57-477C-9288-DDB57B9AD407}"/>
                </c:ext>
              </c:extLst>
            </c:dLbl>
            <c:spPr>
              <a:noFill/>
              <a:ln>
                <a:noFill/>
              </a:ln>
              <a:effectLst/>
            </c:spPr>
            <c:txPr>
              <a:bodyPr/>
              <a:lstStyle/>
              <a:p>
                <a:pPr marL="0" algn="r" defTabSz="914400" rtl="0" eaLnBrk="1" fontAlgn="b" latinLnBrk="0" hangingPunct="1">
                  <a:defRPr lang="pl-PL" sz="1400" b="0" i="0" u="none" strike="noStrike" kern="120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0</c:f>
              <c:strCache>
                <c:ptCount val="9"/>
                <c:pt idx="0">
                  <c:v>Savings on electricity bill</c:v>
                </c:pt>
                <c:pt idx="1">
                  <c:v>Energy independence in case of power cuts</c:v>
                </c:pt>
                <c:pt idx="2">
                  <c:v>Provides an environment-friendly solution</c:v>
                </c:pt>
                <c:pt idx="3">
                  <c:v>Ability to charge electric devices (vehicle, laptops, etc.)</c:v>
                </c:pt>
                <c:pt idx="4">
                  <c:v>Ability to monitor/control energy consumption in household</c:v>
                </c:pt>
                <c:pt idx="5">
                  <c:v>Increase the home value</c:v>
                </c:pt>
                <c:pt idx="6">
                  <c:v>Incentives from government</c:v>
                </c:pt>
                <c:pt idx="7">
                  <c:v>Peer-2-peer energy trading with neighbours</c:v>
                </c:pt>
                <c:pt idx="8">
                  <c:v>Other</c:v>
                </c:pt>
              </c:strCache>
            </c:strRef>
          </c:cat>
          <c:val>
            <c:numRef>
              <c:f>Sheet1!$B$2:$B$10</c:f>
              <c:numCache>
                <c:formatCode>0%</c:formatCode>
                <c:ptCount val="9"/>
                <c:pt idx="0">
                  <c:v>0.59401709401709391</c:v>
                </c:pt>
                <c:pt idx="1">
                  <c:v>0.5769230769230772</c:v>
                </c:pt>
                <c:pt idx="2">
                  <c:v>0.33333333333333337</c:v>
                </c:pt>
                <c:pt idx="3">
                  <c:v>0.38461538461538458</c:v>
                </c:pt>
                <c:pt idx="4">
                  <c:v>0.35897435897435903</c:v>
                </c:pt>
                <c:pt idx="5">
                  <c:v>0.35042735042735046</c:v>
                </c:pt>
                <c:pt idx="6">
                  <c:v>0.29059829059829062</c:v>
                </c:pt>
                <c:pt idx="7">
                  <c:v>0.14102564102564102</c:v>
                </c:pt>
                <c:pt idx="8">
                  <c:v>8.5470085470085496E-3</c:v>
                </c:pt>
              </c:numCache>
            </c:numRef>
          </c:val>
          <c:extLst>
            <c:ext xmlns:c16="http://schemas.microsoft.com/office/drawing/2014/chart" uri="{C3380CC4-5D6E-409C-BE32-E72D297353CC}">
              <c16:uniqueId val="{00000007-EC57-477C-9288-DDB57B9AD407}"/>
            </c:ext>
          </c:extLst>
        </c:ser>
        <c:dLbls>
          <c:showLegendKey val="0"/>
          <c:showVal val="0"/>
          <c:showCatName val="0"/>
          <c:showSerName val="0"/>
          <c:showPercent val="0"/>
          <c:showBubbleSize val="0"/>
        </c:dLbls>
        <c:gapWidth val="170"/>
        <c:axId val="88499712"/>
        <c:axId val="88501632"/>
      </c:barChart>
      <c:catAx>
        <c:axId val="88499712"/>
        <c:scaling>
          <c:orientation val="maxMin"/>
        </c:scaling>
        <c:delete val="1"/>
        <c:axPos val="l"/>
        <c:numFmt formatCode="General" sourceLinked="1"/>
        <c:majorTickMark val="none"/>
        <c:minorTickMark val="none"/>
        <c:tickLblPos val="none"/>
        <c:crossAx val="88501632"/>
        <c:crosses val="autoZero"/>
        <c:auto val="1"/>
        <c:lblAlgn val="ctr"/>
        <c:lblOffset val="200"/>
        <c:noMultiLvlLbl val="0"/>
      </c:catAx>
      <c:valAx>
        <c:axId val="88501632"/>
        <c:scaling>
          <c:orientation val="minMax"/>
          <c:max val="1.1000000000000001"/>
          <c:min val="0"/>
        </c:scaling>
        <c:delete val="1"/>
        <c:axPos val="t"/>
        <c:numFmt formatCode="0%" sourceLinked="1"/>
        <c:majorTickMark val="out"/>
        <c:minorTickMark val="none"/>
        <c:tickLblPos val="none"/>
        <c:crossAx val="8849971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2.2391732283465161E-4"/>
          <c:w val="0.99211286089238837"/>
          <c:h val="0.99977598730391271"/>
        </c:manualLayout>
      </c:layout>
      <c:barChart>
        <c:barDir val="bar"/>
        <c:grouping val="clustered"/>
        <c:varyColors val="0"/>
        <c:ser>
          <c:idx val="0"/>
          <c:order val="0"/>
          <c:tx>
            <c:strRef>
              <c:f>Sheet1!$B$1</c:f>
              <c:strCache>
                <c:ptCount val="1"/>
                <c:pt idx="0">
                  <c:v>United
States</c:v>
                </c:pt>
              </c:strCache>
            </c:strRef>
          </c:tx>
          <c:spPr>
            <a:solidFill>
              <a:srgbClr val="0091C4"/>
            </a:solidFill>
          </c:spPr>
          <c:invertIfNegative val="0"/>
          <c:dPt>
            <c:idx val="0"/>
            <c:invertIfNegative val="0"/>
            <c:bubble3D val="0"/>
            <c:spPr>
              <a:solidFill>
                <a:srgbClr val="F26722"/>
              </a:solidFill>
            </c:spPr>
            <c:extLst>
              <c:ext xmlns:c16="http://schemas.microsoft.com/office/drawing/2014/chart" uri="{C3380CC4-5D6E-409C-BE32-E72D297353CC}">
                <c16:uniqueId val="{00000001-C88A-4722-986A-BC015DBF48B4}"/>
              </c:ext>
            </c:extLst>
          </c:dPt>
          <c:dPt>
            <c:idx val="1"/>
            <c:invertIfNegative val="0"/>
            <c:bubble3D val="0"/>
            <c:spPr>
              <a:solidFill>
                <a:srgbClr val="F26722"/>
              </a:solidFill>
            </c:spPr>
            <c:extLst>
              <c:ext xmlns:c16="http://schemas.microsoft.com/office/drawing/2014/chart" uri="{C3380CC4-5D6E-409C-BE32-E72D297353CC}">
                <c16:uniqueId val="{00000003-C88A-4722-986A-BC015DBF48B4}"/>
              </c:ext>
            </c:extLst>
          </c:dPt>
          <c:dPt>
            <c:idx val="2"/>
            <c:invertIfNegative val="0"/>
            <c:bubble3D val="0"/>
            <c:spPr>
              <a:solidFill>
                <a:srgbClr val="F26722"/>
              </a:solidFill>
            </c:spPr>
            <c:extLst>
              <c:ext xmlns:c16="http://schemas.microsoft.com/office/drawing/2014/chart" uri="{C3380CC4-5D6E-409C-BE32-E72D297353CC}">
                <c16:uniqueId val="{00000002-C88A-4722-986A-BC015DBF48B4}"/>
              </c:ext>
            </c:extLst>
          </c:dPt>
          <c:dLbls>
            <c:spPr>
              <a:noFill/>
              <a:ln>
                <a:noFill/>
              </a:ln>
              <a:effectLst/>
            </c:spPr>
            <c:txPr>
              <a:bodyPr/>
              <a:lstStyle/>
              <a:p>
                <a:pPr>
                  <a:defRPr sz="1200">
                    <a:solidFill>
                      <a:schemeClr val="tx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Device is too expensive to purchase or rent</c:v>
                </c:pt>
                <c:pt idx="1">
                  <c:v>Payback time is too long for me</c:v>
                </c:pt>
                <c:pt idx="2">
                  <c:v>Maintenance costs are too high</c:v>
                </c:pt>
                <c:pt idx="3">
                  <c:v>Fire hazard</c:v>
                </c:pt>
                <c:pt idx="4">
                  <c:v>It requires house reconstruction/ I am afraid of house damage while installing this system</c:v>
                </c:pt>
                <c:pt idx="5">
                  <c:v>Solution is not tested properly/is not properly developed</c:v>
                </c:pt>
                <c:pt idx="6">
                  <c:v>It is difficult to use</c:v>
                </c:pt>
                <c:pt idx="7">
                  <c:v>Solution does not work as it should/it is expected from this kind of device</c:v>
                </c:pt>
                <c:pt idx="8">
                  <c:v>Other</c:v>
                </c:pt>
                <c:pt idx="9">
                  <c:v>I do not see any problems</c:v>
                </c:pt>
                <c:pt idx="10">
                  <c:v>Don't know</c:v>
                </c:pt>
              </c:strCache>
            </c:strRef>
          </c:cat>
          <c:val>
            <c:numRef>
              <c:f>Sheet1!$B$2:$B$12</c:f>
              <c:numCache>
                <c:formatCode>0%</c:formatCode>
                <c:ptCount val="11"/>
                <c:pt idx="0">
                  <c:v>0.41880341880341881</c:v>
                </c:pt>
                <c:pt idx="1">
                  <c:v>0.30769230769230776</c:v>
                </c:pt>
                <c:pt idx="2">
                  <c:v>0.31623931623931628</c:v>
                </c:pt>
                <c:pt idx="3">
                  <c:v>0.21367521367521369</c:v>
                </c:pt>
                <c:pt idx="4">
                  <c:v>0.24786324786324793</c:v>
                </c:pt>
                <c:pt idx="5">
                  <c:v>0.19230769230769229</c:v>
                </c:pt>
                <c:pt idx="6">
                  <c:v>0.1495726495726496</c:v>
                </c:pt>
                <c:pt idx="7">
                  <c:v>0.14102564102564102</c:v>
                </c:pt>
                <c:pt idx="8">
                  <c:v>1.282051282051282E-2</c:v>
                </c:pt>
                <c:pt idx="9">
                  <c:v>0.15384615384615391</c:v>
                </c:pt>
                <c:pt idx="10">
                  <c:v>6.4102564102564111E-2</c:v>
                </c:pt>
              </c:numCache>
            </c:numRef>
          </c:val>
          <c:extLst>
            <c:ext xmlns:c16="http://schemas.microsoft.com/office/drawing/2014/chart" uri="{C3380CC4-5D6E-409C-BE32-E72D297353CC}">
              <c16:uniqueId val="{00000000-C88A-4722-986A-BC015DBF48B4}"/>
            </c:ext>
          </c:extLst>
        </c:ser>
        <c:dLbls>
          <c:showLegendKey val="0"/>
          <c:showVal val="1"/>
          <c:showCatName val="0"/>
          <c:showSerName val="0"/>
          <c:showPercent val="0"/>
          <c:showBubbleSize val="0"/>
        </c:dLbls>
        <c:gapWidth val="170"/>
        <c:axId val="125149184"/>
        <c:axId val="125150720"/>
      </c:barChart>
      <c:catAx>
        <c:axId val="125149184"/>
        <c:scaling>
          <c:orientation val="maxMin"/>
        </c:scaling>
        <c:delete val="1"/>
        <c:axPos val="l"/>
        <c:numFmt formatCode="General" sourceLinked="1"/>
        <c:majorTickMark val="none"/>
        <c:minorTickMark val="none"/>
        <c:tickLblPos val="none"/>
        <c:crossAx val="125150720"/>
        <c:crosses val="autoZero"/>
        <c:auto val="1"/>
        <c:lblAlgn val="ctr"/>
        <c:lblOffset val="200"/>
        <c:noMultiLvlLbl val="0"/>
      </c:catAx>
      <c:valAx>
        <c:axId val="125150720"/>
        <c:scaling>
          <c:orientation val="minMax"/>
          <c:max val="1.1000000000000001"/>
          <c:min val="0"/>
        </c:scaling>
        <c:delete val="1"/>
        <c:axPos val="t"/>
        <c:numFmt formatCode="0%" sourceLinked="1"/>
        <c:majorTickMark val="out"/>
        <c:minorTickMark val="none"/>
        <c:tickLblPos val="none"/>
        <c:crossAx val="125149184"/>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071270069596171"/>
          <c:y val="0.14084372728028224"/>
          <c:w val="0.39520192347512639"/>
          <c:h val="0.71775379923287241"/>
        </c:manualLayout>
      </c:layout>
      <c:pieChart>
        <c:varyColors val="1"/>
        <c:ser>
          <c:idx val="0"/>
          <c:order val="0"/>
          <c:tx>
            <c:strRef>
              <c:f>Sheet1!$B$1</c:f>
              <c:strCache>
                <c:ptCount val="1"/>
                <c:pt idx="0">
                  <c:v>Sale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3484-4CA9-B59E-C3F814472027}"/>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484-4CA9-B59E-C3F814472027}"/>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3484-4CA9-B59E-C3F814472027}"/>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3484-4CA9-B59E-C3F814472027}"/>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3484-4CA9-B59E-C3F814472027}"/>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3484-4CA9-B59E-C3F814472027}"/>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3484-4CA9-B59E-C3F814472027}"/>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3484-4CA9-B59E-C3F814472027}"/>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1-3484-4CA9-B59E-C3F814472027}"/>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3-3484-4CA9-B59E-C3F814472027}"/>
              </c:ext>
            </c:extLst>
          </c:dPt>
          <c:dPt>
            <c:idx val="10"/>
            <c:bubble3D val="0"/>
            <c:spPr>
              <a:solidFill>
                <a:schemeClr val="accent5">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5-3484-4CA9-B59E-C3F814472027}"/>
              </c:ext>
            </c:extLst>
          </c:dPt>
          <c:dPt>
            <c:idx val="11"/>
            <c:bubble3D val="0"/>
            <c:spPr>
              <a:solidFill>
                <a:schemeClr val="accent6">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7-3484-4CA9-B59E-C3F814472027}"/>
              </c:ext>
            </c:extLst>
          </c:dPt>
          <c:dPt>
            <c:idx val="12"/>
            <c:bubble3D val="0"/>
            <c:spPr>
              <a:solidFill>
                <a:schemeClr val="accent1">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9-3484-4CA9-B59E-C3F814472027}"/>
              </c:ext>
            </c:extLst>
          </c:dPt>
          <c:dPt>
            <c:idx val="13"/>
            <c:bubble3D val="0"/>
            <c:spPr>
              <a:solidFill>
                <a:schemeClr val="accent2">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B-3484-4CA9-B59E-C3F814472027}"/>
              </c:ext>
            </c:extLst>
          </c:dPt>
          <c:dPt>
            <c:idx val="14"/>
            <c:bubble3D val="0"/>
            <c:spPr>
              <a:solidFill>
                <a:schemeClr val="accent3">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D-3484-4CA9-B59E-C3F814472027}"/>
              </c:ext>
            </c:extLst>
          </c:dPt>
          <c:dPt>
            <c:idx val="15"/>
            <c:bubble3D val="0"/>
            <c:spPr>
              <a:solidFill>
                <a:schemeClr val="accent4">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F-3484-4CA9-B59E-C3F814472027}"/>
              </c:ext>
            </c:extLst>
          </c:dPt>
          <c:dPt>
            <c:idx val="16"/>
            <c:bubble3D val="0"/>
            <c:spPr>
              <a:solidFill>
                <a:schemeClr val="accent5">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1-3484-4CA9-B59E-C3F814472027}"/>
              </c:ext>
            </c:extLst>
          </c:dPt>
          <c:dPt>
            <c:idx val="17"/>
            <c:bubble3D val="0"/>
            <c:spPr>
              <a:solidFill>
                <a:schemeClr val="accent6">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3-3484-4CA9-B59E-C3F814472027}"/>
              </c:ext>
            </c:extLst>
          </c:dPt>
          <c:dPt>
            <c:idx val="18"/>
            <c:bubble3D val="0"/>
            <c:spPr>
              <a:solidFill>
                <a:schemeClr val="accent1">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5-3484-4CA9-B59E-C3F814472027}"/>
              </c:ext>
            </c:extLst>
          </c:dPt>
          <c:dPt>
            <c:idx val="19"/>
            <c:bubble3D val="0"/>
            <c:spPr>
              <a:solidFill>
                <a:schemeClr val="accent2">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7-3484-4CA9-B59E-C3F814472027}"/>
              </c:ext>
            </c:extLst>
          </c:dPt>
          <c:dPt>
            <c:idx val="20"/>
            <c:bubble3D val="0"/>
            <c:spPr>
              <a:solidFill>
                <a:schemeClr val="accent3">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9-3484-4CA9-B59E-C3F814472027}"/>
              </c:ext>
            </c:extLst>
          </c:dPt>
          <c:dPt>
            <c:idx val="21"/>
            <c:bubble3D val="0"/>
            <c:spPr>
              <a:solidFill>
                <a:schemeClr val="accent4">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B-3484-4CA9-B59E-C3F814472027}"/>
              </c:ext>
            </c:extLst>
          </c:dPt>
          <c:dPt>
            <c:idx val="22"/>
            <c:bubble3D val="0"/>
            <c:spPr>
              <a:solidFill>
                <a:schemeClr val="accent5">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D-3484-4CA9-B59E-C3F814472027}"/>
              </c:ext>
            </c:extLst>
          </c:dPt>
          <c:dPt>
            <c:idx val="23"/>
            <c:bubble3D val="0"/>
            <c:spPr>
              <a:solidFill>
                <a:schemeClr val="accent6">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F-3484-4CA9-B59E-C3F814472027}"/>
              </c:ext>
            </c:extLst>
          </c:dPt>
          <c:dPt>
            <c:idx val="24"/>
            <c:bubble3D val="0"/>
            <c:spPr>
              <a:solidFill>
                <a:schemeClr val="accent1">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1-3484-4CA9-B59E-C3F814472027}"/>
              </c:ext>
            </c:extLst>
          </c:dPt>
          <c:dPt>
            <c:idx val="25"/>
            <c:bubble3D val="0"/>
            <c:spPr>
              <a:solidFill>
                <a:schemeClr val="accent2">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3-3484-4CA9-B59E-C3F814472027}"/>
              </c:ext>
            </c:extLst>
          </c:dPt>
          <c:dPt>
            <c:idx val="26"/>
            <c:bubble3D val="0"/>
            <c:spPr>
              <a:solidFill>
                <a:schemeClr val="accent3">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5-3484-4CA9-B59E-C3F814472027}"/>
              </c:ext>
            </c:extLst>
          </c:dPt>
          <c:dPt>
            <c:idx val="27"/>
            <c:bubble3D val="0"/>
            <c:spPr>
              <a:solidFill>
                <a:schemeClr val="accent4">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7-3484-4CA9-B59E-C3F814472027}"/>
              </c:ext>
            </c:extLst>
          </c:dPt>
          <c:dPt>
            <c:idx val="28"/>
            <c:bubble3D val="0"/>
            <c:spPr>
              <a:solidFill>
                <a:schemeClr val="accent5">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9-3484-4CA9-B59E-C3F814472027}"/>
              </c:ext>
            </c:extLst>
          </c:dPt>
          <c:dPt>
            <c:idx val="29"/>
            <c:bubble3D val="0"/>
            <c:spPr>
              <a:solidFill>
                <a:schemeClr val="accent6">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B-3484-4CA9-B59E-C3F814472027}"/>
              </c:ext>
            </c:extLst>
          </c:dPt>
          <c:dPt>
            <c:idx val="30"/>
            <c:bubble3D val="0"/>
            <c:spPr>
              <a:solidFill>
                <a:schemeClr val="accent1">
                  <a:lumMod val="5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D-3484-4CA9-B59E-C3F814472027}"/>
              </c:ext>
            </c:extLst>
          </c:dPt>
          <c:dPt>
            <c:idx val="31"/>
            <c:bubble3D val="0"/>
            <c:spPr>
              <a:solidFill>
                <a:schemeClr val="accent2">
                  <a:lumMod val="5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F-3484-4CA9-B59E-C3F814472027}"/>
              </c:ext>
            </c:extLst>
          </c:dPt>
          <c:dLbls>
            <c:dLbl>
              <c:idx val="0"/>
              <c:layout>
                <c:manualLayout>
                  <c:x val="2.4415363508828475E-2"/>
                  <c:y val="1.2706241838876283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3484-4CA9-B59E-C3F814472027}"/>
                </c:ext>
              </c:extLst>
            </c:dLbl>
            <c:dLbl>
              <c:idx val="1"/>
              <c:layout>
                <c:manualLayout>
                  <c:x val="0"/>
                  <c:y val="4.9261083743842365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484-4CA9-B59E-C3F814472027}"/>
                </c:ext>
              </c:extLst>
            </c:dLbl>
            <c:dLbl>
              <c:idx val="2"/>
              <c:layout>
                <c:manualLayout>
                  <c:x val="-6.1124642893112292E-3"/>
                  <c:y val="4.9261083743842365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484-4CA9-B59E-C3F814472027}"/>
                </c:ext>
              </c:extLst>
            </c:dLbl>
            <c:dLbl>
              <c:idx val="3"/>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3484-4CA9-B59E-C3F814472027}"/>
                </c:ext>
              </c:extLst>
            </c:dLbl>
            <c:dLbl>
              <c:idx val="4"/>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9-3484-4CA9-B59E-C3F814472027}"/>
                </c:ext>
              </c:extLst>
            </c:dLbl>
            <c:dLbl>
              <c:idx val="5"/>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B-3484-4CA9-B59E-C3F814472027}"/>
                </c:ext>
              </c:extLst>
            </c:dLbl>
            <c:dLbl>
              <c:idx val="6"/>
              <c:layout>
                <c:manualLayout>
                  <c:x val="2.6889358007172823E-2"/>
                  <c:y val="3.0494559526133675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3484-4CA9-B59E-C3F814472027}"/>
                </c:ext>
              </c:extLst>
            </c:dLbl>
            <c:dLbl>
              <c:idx val="7"/>
              <c:layout>
                <c:manualLayout>
                  <c:x val="2.0936990232981317E-2"/>
                  <c:y val="2.1362619902736947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9089984017349773"/>
                      <c:h val="9.1587115998807922E-2"/>
                    </c:manualLayout>
                  </c15:layout>
                </c:ext>
                <c:ext xmlns:c16="http://schemas.microsoft.com/office/drawing/2014/chart" uri="{C3380CC4-5D6E-409C-BE32-E72D297353CC}">
                  <c16:uniqueId val="{0000000F-3484-4CA9-B59E-C3F814472027}"/>
                </c:ext>
              </c:extLst>
            </c:dLbl>
            <c:dLbl>
              <c:idx val="8"/>
              <c:layout>
                <c:manualLayout>
                  <c:x val="7.6405803616389238E-3"/>
                  <c:y val="4.7221928376233093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3484-4CA9-B59E-C3F814472027}"/>
                </c:ext>
              </c:extLst>
            </c:dLbl>
            <c:dLbl>
              <c:idx val="9"/>
              <c:layout>
                <c:manualLayout>
                  <c:x val="6.1124642893111312E-3"/>
                  <c:y val="0"/>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3-3484-4CA9-B59E-C3F814472027}"/>
                </c:ext>
              </c:extLst>
            </c:dLbl>
            <c:dLbl>
              <c:idx val="10"/>
              <c:layout>
                <c:manualLayout>
                  <c:x val="4.5843482169833378E-3"/>
                  <c:y val="7.083289256434964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5-3484-4CA9-B59E-C3F814472027}"/>
                </c:ext>
              </c:extLst>
            </c:dLbl>
            <c:dLbl>
              <c:idx val="11"/>
              <c:layout>
                <c:manualLayout>
                  <c:x val="1.6809276795605572E-2"/>
                  <c:y val="1.919459840631569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7-3484-4CA9-B59E-C3F814472027}"/>
                </c:ext>
              </c:extLst>
            </c:dLbl>
            <c:dLbl>
              <c:idx val="12"/>
              <c:layout>
                <c:manualLayout>
                  <c:x val="-7.0037844231870085E-18"/>
                  <c:y val="4.7221928376232226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9-3484-4CA9-B59E-C3F814472027}"/>
                </c:ext>
              </c:extLst>
            </c:dLbl>
            <c:dLbl>
              <c:idx val="13"/>
              <c:layout>
                <c:manualLayout>
                  <c:x val="-8.5767546305649898E-3"/>
                  <c:y val="-1.477821207651679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4752631884653944"/>
                      <c:h val="0.1044436402468534"/>
                    </c:manualLayout>
                  </c15:layout>
                </c:ext>
                <c:ext xmlns:c16="http://schemas.microsoft.com/office/drawing/2014/chart" uri="{C3380CC4-5D6E-409C-BE32-E72D297353CC}">
                  <c16:uniqueId val="{0000001B-3484-4CA9-B59E-C3F814472027}"/>
                </c:ext>
              </c:extLst>
            </c:dLbl>
            <c:dLbl>
              <c:idx val="14"/>
              <c:layout>
                <c:manualLayout>
                  <c:x val="-3.3154330643860594E-3"/>
                  <c:y val="-8.5622292741700218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4622729570717705"/>
                      <c:h val="0.11868923161803754"/>
                    </c:manualLayout>
                  </c15:layout>
                </c:ext>
                <c:ext xmlns:c16="http://schemas.microsoft.com/office/drawing/2014/chart" uri="{C3380CC4-5D6E-409C-BE32-E72D297353CC}">
                  <c16:uniqueId val="{0000001D-3484-4CA9-B59E-C3F814472027}"/>
                </c:ext>
              </c:extLst>
            </c:dLbl>
            <c:dLbl>
              <c:idx val="15"/>
              <c:layout>
                <c:manualLayout>
                  <c:x val="7.6404603500905806E-3"/>
                  <c:y val="-0.11241216504249191"/>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011077397635174"/>
                      <c:h val="0.11815270935960591"/>
                    </c:manualLayout>
                  </c15:layout>
                </c:ext>
                <c:ext xmlns:c16="http://schemas.microsoft.com/office/drawing/2014/chart" uri="{C3380CC4-5D6E-409C-BE32-E72D297353CC}">
                  <c16:uniqueId val="{0000001F-3484-4CA9-B59E-C3F814472027}"/>
                </c:ext>
              </c:extLst>
            </c:dLbl>
            <c:dLbl>
              <c:idx val="16"/>
              <c:layout>
                <c:manualLayout>
                  <c:x val="3.5416090941786771E-2"/>
                  <c:y val="-1.3742717501942423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6436347403084975"/>
                      <c:h val="8.8595981543184696E-2"/>
                    </c:manualLayout>
                  </c15:layout>
                </c:ext>
                <c:ext xmlns:c16="http://schemas.microsoft.com/office/drawing/2014/chart" uri="{C3380CC4-5D6E-409C-BE32-E72D297353CC}">
                  <c16:uniqueId val="{00000021-3484-4CA9-B59E-C3F814472027}"/>
                </c:ext>
              </c:extLst>
            </c:dLbl>
            <c:dLbl>
              <c:idx val="17"/>
              <c:layout>
                <c:manualLayout>
                  <c:x val="6.0711931229482487E-3"/>
                  <c:y val="-2.842519685039379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23-3484-4CA9-B59E-C3F814472027}"/>
                </c:ext>
              </c:extLst>
            </c:dLbl>
            <c:dLbl>
              <c:idx val="18"/>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5-3484-4CA9-B59E-C3F814472027}"/>
                </c:ext>
              </c:extLst>
            </c:dLbl>
            <c:dLbl>
              <c:idx val="19"/>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7-3484-4CA9-B59E-C3F814472027}"/>
                </c:ext>
              </c:extLst>
            </c:dLbl>
            <c:dLbl>
              <c:idx val="20"/>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9-3484-4CA9-B59E-C3F814472027}"/>
                </c:ext>
              </c:extLst>
            </c:dLbl>
            <c:dLbl>
              <c:idx val="21"/>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B-3484-4CA9-B59E-C3F814472027}"/>
                </c:ext>
              </c:extLst>
            </c:dLbl>
            <c:dLbl>
              <c:idx val="22"/>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D-3484-4CA9-B59E-C3F814472027}"/>
                </c:ext>
              </c:extLst>
            </c:dLbl>
            <c:dLbl>
              <c:idx val="23"/>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F-3484-4CA9-B59E-C3F814472027}"/>
                </c:ext>
              </c:extLst>
            </c:dLbl>
            <c:dLbl>
              <c:idx val="24"/>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31-3484-4CA9-B59E-C3F814472027}"/>
                </c:ext>
              </c:extLst>
            </c:dLbl>
            <c:dLbl>
              <c:idx val="25"/>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33-3484-4CA9-B59E-C3F814472027}"/>
                </c:ext>
              </c:extLst>
            </c:dLbl>
            <c:dLbl>
              <c:idx val="26"/>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35-3484-4CA9-B59E-C3F814472027}"/>
                </c:ext>
              </c:extLst>
            </c:dLbl>
            <c:dLbl>
              <c:idx val="27"/>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37-3484-4CA9-B59E-C3F814472027}"/>
                </c:ext>
              </c:extLst>
            </c:dLbl>
            <c:dLbl>
              <c:idx val="28"/>
              <c:layout>
                <c:manualLayout>
                  <c:x val="-0.1492063492063492"/>
                  <c:y val="-4.9261083743842478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39-3484-4CA9-B59E-C3F814472027}"/>
                </c:ext>
              </c:extLst>
            </c:dLbl>
            <c:dLbl>
              <c:idx val="29"/>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3B-3484-4CA9-B59E-C3F814472027}"/>
                </c:ext>
              </c:extLst>
            </c:dLbl>
            <c:dLbl>
              <c:idx val="30"/>
              <c:layout>
                <c:manualLayout>
                  <c:x val="9.3650856142982131E-2"/>
                  <c:y val="4.9261083743842365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9.8888888888888873E-2"/>
                      <c:h val="7.3300492610837445E-2"/>
                    </c:manualLayout>
                  </c15:layout>
                </c:ext>
                <c:ext xmlns:c16="http://schemas.microsoft.com/office/drawing/2014/chart" uri="{C3380CC4-5D6E-409C-BE32-E72D297353CC}">
                  <c16:uniqueId val="{0000003D-3484-4CA9-B59E-C3F814472027}"/>
                </c:ext>
              </c:extLst>
            </c:dLbl>
            <c:dLbl>
              <c:idx val="31"/>
              <c:layout>
                <c:manualLayout>
                  <c:x val="0.20158730158730159"/>
                  <c:y val="-1.4778325123152709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3F-3484-4CA9-B59E-C3F81447202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Sheet1!$A$2:$A$8</c:f>
              <c:strCache>
                <c:ptCount val="7"/>
                <c:pt idx="0">
                  <c:v>Tesla</c:v>
                </c:pt>
                <c:pt idx="1">
                  <c:v>LG Chem</c:v>
                </c:pt>
                <c:pt idx="2">
                  <c:v>Sunverge</c:v>
                </c:pt>
                <c:pt idx="3">
                  <c:v>Sonnen</c:v>
                </c:pt>
                <c:pt idx="4">
                  <c:v>Generac</c:v>
                </c:pt>
                <c:pt idx="5">
                  <c:v>Enphase</c:v>
                </c:pt>
                <c:pt idx="6">
                  <c:v>Others</c:v>
                </c:pt>
              </c:strCache>
            </c:strRef>
          </c:cat>
          <c:val>
            <c:numRef>
              <c:f>Sheet1!$B$2:$B$8</c:f>
              <c:numCache>
                <c:formatCode>0.0%</c:formatCode>
                <c:ptCount val="7"/>
                <c:pt idx="0">
                  <c:v>51125</c:v>
                </c:pt>
                <c:pt idx="1">
                  <c:v>20190</c:v>
                </c:pt>
                <c:pt idx="2">
                  <c:v>19672.5</c:v>
                </c:pt>
                <c:pt idx="3">
                  <c:v>19500</c:v>
                </c:pt>
                <c:pt idx="4">
                  <c:v>13517.5</c:v>
                </c:pt>
                <c:pt idx="5">
                  <c:v>9445</c:v>
                </c:pt>
                <c:pt idx="6">
                  <c:v>5667</c:v>
                </c:pt>
              </c:numCache>
            </c:numRef>
          </c:val>
          <c:extLst>
            <c:ext xmlns:c16="http://schemas.microsoft.com/office/drawing/2014/chart" uri="{C3380CC4-5D6E-409C-BE32-E72D297353CC}">
              <c16:uniqueId val="{00000040-3484-4CA9-B59E-C3F814472027}"/>
            </c:ext>
          </c:extLst>
        </c:ser>
        <c:dLbls>
          <c:dLblPos val="outEnd"/>
          <c:showLegendKey val="0"/>
          <c:showVal val="1"/>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C$1</c:f>
              <c:strCache>
                <c:ptCount val="1"/>
                <c:pt idx="0">
                  <c:v>Series 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numRef>
              <c:f>Sheet1!$A$2:$A$26</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Sheet1!$C$2:$C$26</c:f>
              <c:numCache>
                <c:formatCode>0</c:formatCode>
                <c:ptCount val="25"/>
                <c:pt idx="0">
                  <c:v>6.88</c:v>
                </c:pt>
                <c:pt idx="1">
                  <c:v>7.5183999999999997</c:v>
                </c:pt>
                <c:pt idx="2">
                  <c:v>9.3982080000000003</c:v>
                </c:pt>
                <c:pt idx="3">
                  <c:v>11.677509760000003</c:v>
                </c:pt>
                <c:pt idx="4">
                  <c:v>14.478278150400003</c:v>
                </c:pt>
                <c:pt idx="5">
                  <c:v>17.400138612224005</c:v>
                </c:pt>
                <c:pt idx="6">
                  <c:v>20.447494838720004</c:v>
                </c:pt>
                <c:pt idx="7">
                  <c:v>23.624910687713591</c:v>
                </c:pt>
                <c:pt idx="8">
                  <c:v>26.93711633449945</c:v>
                </c:pt>
                <c:pt idx="9">
                  <c:v>30.505214293221492</c:v>
                </c:pt>
                <c:pt idx="10">
                  <c:v>35.22907259857444</c:v>
                </c:pt>
                <c:pt idx="11">
                  <c:v>41.760953716390503</c:v>
                </c:pt>
                <c:pt idx="12">
                  <c:v>48.568036513704705</c:v>
                </c:pt>
                <c:pt idx="13">
                  <c:v>55.893205947107774</c:v>
                </c:pt>
                <c:pt idx="14">
                  <c:v>64.016991044869684</c:v>
                </c:pt>
                <c:pt idx="15">
                  <c:v>74.335292321114252</c:v>
                </c:pt>
                <c:pt idx="16">
                  <c:v>85.105303456780433</c:v>
                </c:pt>
                <c:pt idx="17">
                  <c:v>96.344154026944068</c:v>
                </c:pt>
                <c:pt idx="18">
                  <c:v>108.63685847477531</c:v>
                </c:pt>
                <c:pt idx="19">
                  <c:v>121.48003496446303</c:v>
                </c:pt>
                <c:pt idx="20">
                  <c:v>126.81203108860117</c:v>
                </c:pt>
                <c:pt idx="21">
                  <c:v>132.41584411061999</c:v>
                </c:pt>
                <c:pt idx="22">
                  <c:v>138.30548069382917</c:v>
                </c:pt>
                <c:pt idx="23">
                  <c:v>141.73516756932713</c:v>
                </c:pt>
                <c:pt idx="24">
                  <c:v>145.25999127279994</c:v>
                </c:pt>
              </c:numCache>
            </c:numRef>
          </c:val>
          <c:extLst>
            <c:ext xmlns:c16="http://schemas.microsoft.com/office/drawing/2014/chart" uri="{C3380CC4-5D6E-409C-BE32-E72D297353CC}">
              <c16:uniqueId val="{00000000-DC1F-4EEA-941C-708658E439FB}"/>
            </c:ext>
          </c:extLst>
        </c:ser>
        <c:dLbls>
          <c:showLegendKey val="0"/>
          <c:showVal val="0"/>
          <c:showCatName val="0"/>
          <c:showSerName val="0"/>
          <c:showPercent val="0"/>
          <c:showBubbleSize val="0"/>
        </c:dLbls>
        <c:gapWidth val="29"/>
        <c:overlap val="100"/>
        <c:axId val="1824439712"/>
        <c:axId val="1819728080"/>
      </c:barChart>
      <c:catAx>
        <c:axId val="1824439712"/>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en-US"/>
          </a:p>
        </c:txPr>
        <c:crossAx val="1819728080"/>
        <c:crosses val="autoZero"/>
        <c:auto val="1"/>
        <c:lblAlgn val="ctr"/>
        <c:lblOffset val="100"/>
        <c:noMultiLvlLbl val="0"/>
      </c:catAx>
      <c:valAx>
        <c:axId val="1819728080"/>
        <c:scaling>
          <c:orientation val="minMax"/>
        </c:scaling>
        <c:delete val="1"/>
        <c:axPos val="l"/>
        <c:numFmt formatCode="0" sourceLinked="1"/>
        <c:majorTickMark val="none"/>
        <c:minorTickMark val="none"/>
        <c:tickLblPos val="nextTo"/>
        <c:crossAx val="18244397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8.2887227870695173E-3"/>
          <c:y val="0"/>
          <c:w val="0.97394972838349581"/>
          <c:h val="1"/>
        </c:manualLayout>
      </c:layout>
      <c:lineChart>
        <c:grouping val="standard"/>
        <c:varyColors val="0"/>
        <c:ser>
          <c:idx val="0"/>
          <c:order val="0"/>
          <c:tx>
            <c:strRef>
              <c:f>Sheet1!$B$1</c:f>
              <c:strCache>
                <c:ptCount val="1"/>
                <c:pt idx="0">
                  <c:v>Cumulative lithium requirement</c:v>
                </c:pt>
              </c:strCache>
            </c:strRef>
          </c:tx>
          <c:spPr>
            <a:ln w="28575" cap="rnd">
              <a:solidFill>
                <a:schemeClr val="accent2">
                  <a:lumMod val="40000"/>
                  <a:lumOff val="60000"/>
                </a:schemeClr>
              </a:solidFill>
              <a:round/>
            </a:ln>
            <a:effectLst/>
          </c:spPr>
          <c:marker>
            <c:symbol val="circle"/>
            <c:size val="5"/>
            <c:spPr>
              <a:solidFill>
                <a:schemeClr val="accent2">
                  <a:lumMod val="50000"/>
                </a:schemeClr>
              </a:solidFill>
              <a:ln w="9525">
                <a:solidFill>
                  <a:schemeClr val="accent2">
                    <a:lumMod val="40000"/>
                    <a:lumOff val="60000"/>
                  </a:schemeClr>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6</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Sheet1!$B$2:$B$26</c:f>
              <c:numCache>
                <c:formatCode>_(* #,##0.0_);_(* \(#,##0.0\);_(* "-"??_);_(@_)</c:formatCode>
                <c:ptCount val="25"/>
                <c:pt idx="0">
                  <c:v>0.1</c:v>
                </c:pt>
                <c:pt idx="1">
                  <c:v>0.2</c:v>
                </c:pt>
                <c:pt idx="2">
                  <c:v>0.302771885824</c:v>
                </c:pt>
                <c:pt idx="3">
                  <c:v>0.45258183768703997</c:v>
                </c:pt>
                <c:pt idx="4">
                  <c:v>0.63780733867550721</c:v>
                </c:pt>
                <c:pt idx="5">
                  <c:v>0.85993109561295367</c:v>
                </c:pt>
                <c:pt idx="6">
                  <c:v>1.1204902425130014</c:v>
                </c:pt>
                <c:pt idx="7">
                  <c:v>1.4210783567179455</c:v>
                </c:pt>
                <c:pt idx="8">
                  <c:v>1.7633475507775429</c:v>
                </c:pt>
                <c:pt idx="9">
                  <c:v>2.1507366722804355</c:v>
                </c:pt>
                <c:pt idx="10">
                  <c:v>2.5940900346033202</c:v>
                </c:pt>
                <c:pt idx="11">
                  <c:v>3.1080639091105042</c:v>
                </c:pt>
                <c:pt idx="12">
                  <c:v>3.693580971917624</c:v>
                </c:pt>
                <c:pt idx="13">
                  <c:v>4.3577922582214814</c:v>
                </c:pt>
                <c:pt idx="14">
                  <c:v>5.1146010987822219</c:v>
                </c:pt>
                <c:pt idx="15">
                  <c:v>5.9736580634535796</c:v>
                </c:pt>
                <c:pt idx="16">
                  <c:v>6.9340245868618151</c:v>
                </c:pt>
                <c:pt idx="17">
                  <c:v>7.9944898299146585</c:v>
                </c:pt>
                <c:pt idx="18">
                  <c:v>9.1668711525566362</c:v>
                </c:pt>
                <c:pt idx="19">
                  <c:v>10.449547710006408</c:v>
                </c:pt>
                <c:pt idx="20">
                  <c:v>11.82390729452049</c:v>
                </c:pt>
                <c:pt idx="21">
                  <c:v>13.295541342830468</c:v>
                </c:pt>
                <c:pt idx="22">
                  <c:v>14.870348095304321</c:v>
                </c:pt>
                <c:pt idx="23">
                  <c:v>16.491747365529537</c:v>
                </c:pt>
                <c:pt idx="24">
                  <c:v>18.161274859169222</c:v>
                </c:pt>
              </c:numCache>
            </c:numRef>
          </c:val>
          <c:smooth val="0"/>
          <c:extLst>
            <c:ext xmlns:c16="http://schemas.microsoft.com/office/drawing/2014/chart" uri="{C3380CC4-5D6E-409C-BE32-E72D297353CC}">
              <c16:uniqueId val="{00000000-5570-4341-A1AC-53C17C28F56C}"/>
            </c:ext>
          </c:extLst>
        </c:ser>
        <c:ser>
          <c:idx val="1"/>
          <c:order val="1"/>
          <c:tx>
            <c:strRef>
              <c:f>Sheet1!$C$1</c:f>
              <c:strCache>
                <c:ptCount val="1"/>
                <c:pt idx="0">
                  <c:v>Column2</c:v>
                </c:pt>
              </c:strCache>
            </c:strRef>
          </c:tx>
          <c:spPr>
            <a:ln w="12700" cap="rnd">
              <a:solidFill>
                <a:schemeClr val="tx2"/>
              </a:solidFill>
              <a:round/>
            </a:ln>
            <a:effectLst/>
          </c:spPr>
          <c:marker>
            <c:symbol val="none"/>
          </c:marker>
          <c:cat>
            <c:numRef>
              <c:f>Sheet1!$A$2:$A$26</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Sheet1!$C$2:$C$26</c:f>
              <c:numCache>
                <c:formatCode>_(* #,##0.0_);_(* \(#,##0.0\);_(* "-"??_);_(@_)</c:formatCode>
                <c:ptCount val="25"/>
                <c:pt idx="0">
                  <c:v>0.13</c:v>
                </c:pt>
                <c:pt idx="1">
                  <c:v>0.27327630400000003</c:v>
                </c:pt>
                <c:pt idx="2">
                  <c:v>0.42</c:v>
                </c:pt>
                <c:pt idx="3">
                  <c:v>0.6</c:v>
                </c:pt>
                <c:pt idx="4">
                  <c:v>0.75</c:v>
                </c:pt>
                <c:pt idx="5">
                  <c:v>1</c:v>
                </c:pt>
                <c:pt idx="6">
                  <c:v>1.3</c:v>
                </c:pt>
                <c:pt idx="7">
                  <c:v>1.65</c:v>
                </c:pt>
                <c:pt idx="8">
                  <c:v>2.0499999999999998</c:v>
                </c:pt>
                <c:pt idx="9">
                  <c:v>2.5</c:v>
                </c:pt>
                <c:pt idx="10">
                  <c:v>3</c:v>
                </c:pt>
                <c:pt idx="11">
                  <c:v>3.6</c:v>
                </c:pt>
                <c:pt idx="12">
                  <c:v>4.3</c:v>
                </c:pt>
                <c:pt idx="13">
                  <c:v>5</c:v>
                </c:pt>
                <c:pt idx="14">
                  <c:v>5.8</c:v>
                </c:pt>
                <c:pt idx="15">
                  <c:v>6.8</c:v>
                </c:pt>
                <c:pt idx="16">
                  <c:v>7.9</c:v>
                </c:pt>
                <c:pt idx="17">
                  <c:v>9.1157320496860361</c:v>
                </c:pt>
                <c:pt idx="18">
                  <c:v>10.364467416723443</c:v>
                </c:pt>
                <c:pt idx="19">
                  <c:v>12</c:v>
                </c:pt>
                <c:pt idx="20">
                  <c:v>13.4</c:v>
                </c:pt>
                <c:pt idx="21">
                  <c:v>15.2</c:v>
                </c:pt>
                <c:pt idx="22">
                  <c:v>17</c:v>
                </c:pt>
                <c:pt idx="23">
                  <c:v>19</c:v>
                </c:pt>
                <c:pt idx="24">
                  <c:v>21</c:v>
                </c:pt>
              </c:numCache>
            </c:numRef>
          </c:val>
          <c:smooth val="0"/>
          <c:extLst>
            <c:ext xmlns:c16="http://schemas.microsoft.com/office/drawing/2014/chart" uri="{C3380CC4-5D6E-409C-BE32-E72D297353CC}">
              <c16:uniqueId val="{00000001-5570-4341-A1AC-53C17C28F56C}"/>
            </c:ext>
          </c:extLst>
        </c:ser>
        <c:ser>
          <c:idx val="2"/>
          <c:order val="2"/>
          <c:tx>
            <c:strRef>
              <c:f>Sheet1!$D$1</c:f>
              <c:strCache>
                <c:ptCount val="1"/>
                <c:pt idx="0">
                  <c:v>Column1</c:v>
                </c:pt>
              </c:strCache>
            </c:strRef>
          </c:tx>
          <c:spPr>
            <a:ln w="19050" cap="rnd">
              <a:solidFill>
                <a:schemeClr val="bg1">
                  <a:lumMod val="50000"/>
                </a:schemeClr>
              </a:solidFill>
              <a:prstDash val="sysDash"/>
              <a:round/>
            </a:ln>
            <a:effectLst/>
          </c:spPr>
          <c:marker>
            <c:symbol val="none"/>
          </c:marker>
          <c:dLbls>
            <c:dLbl>
              <c:idx val="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570-4341-A1AC-53C17C28F56C}"/>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lumMod val="50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26</c:f>
              <c:numCache>
                <c:formatCode>General</c:formatCode>
                <c:ptCount val="25"/>
                <c:pt idx="0">
                  <c:v>2021</c:v>
                </c:pt>
                <c:pt idx="1">
                  <c:v>2022</c:v>
                </c:pt>
                <c:pt idx="2">
                  <c:v>2023</c:v>
                </c:pt>
                <c:pt idx="3">
                  <c:v>2024</c:v>
                </c:pt>
                <c:pt idx="4">
                  <c:v>2025</c:v>
                </c:pt>
                <c:pt idx="5">
                  <c:v>2026</c:v>
                </c:pt>
                <c:pt idx="6">
                  <c:v>2027</c:v>
                </c:pt>
                <c:pt idx="7">
                  <c:v>2028</c:v>
                </c:pt>
                <c:pt idx="8">
                  <c:v>2029</c:v>
                </c:pt>
                <c:pt idx="9">
                  <c:v>2030</c:v>
                </c:pt>
                <c:pt idx="10">
                  <c:v>2031</c:v>
                </c:pt>
                <c:pt idx="11">
                  <c:v>2032</c:v>
                </c:pt>
                <c:pt idx="12">
                  <c:v>2033</c:v>
                </c:pt>
                <c:pt idx="13">
                  <c:v>2034</c:v>
                </c:pt>
                <c:pt idx="14">
                  <c:v>2035</c:v>
                </c:pt>
                <c:pt idx="15">
                  <c:v>2036</c:v>
                </c:pt>
                <c:pt idx="16">
                  <c:v>2037</c:v>
                </c:pt>
                <c:pt idx="17">
                  <c:v>2038</c:v>
                </c:pt>
                <c:pt idx="18">
                  <c:v>2039</c:v>
                </c:pt>
                <c:pt idx="19">
                  <c:v>2040</c:v>
                </c:pt>
                <c:pt idx="20">
                  <c:v>2041</c:v>
                </c:pt>
                <c:pt idx="21">
                  <c:v>2042</c:v>
                </c:pt>
                <c:pt idx="22">
                  <c:v>2043</c:v>
                </c:pt>
                <c:pt idx="23">
                  <c:v>2044</c:v>
                </c:pt>
                <c:pt idx="24">
                  <c:v>2045</c:v>
                </c:pt>
              </c:numCache>
            </c:numRef>
          </c:cat>
          <c:val>
            <c:numRef>
              <c:f>Sheet1!$D$2:$D$26</c:f>
              <c:numCache>
                <c:formatCode>_(* #,##0_);_(* \(#,##0\);_(* "-"??_);_(@_)</c:formatCode>
                <c:ptCount val="25"/>
                <c:pt idx="0">
                  <c:v>26</c:v>
                </c:pt>
                <c:pt idx="1">
                  <c:v>26</c:v>
                </c:pt>
                <c:pt idx="2">
                  <c:v>26</c:v>
                </c:pt>
                <c:pt idx="3">
                  <c:v>26</c:v>
                </c:pt>
                <c:pt idx="4">
                  <c:v>26</c:v>
                </c:pt>
                <c:pt idx="5">
                  <c:v>26</c:v>
                </c:pt>
                <c:pt idx="6">
                  <c:v>26</c:v>
                </c:pt>
                <c:pt idx="7">
                  <c:v>26</c:v>
                </c:pt>
                <c:pt idx="8">
                  <c:v>26</c:v>
                </c:pt>
                <c:pt idx="9">
                  <c:v>26</c:v>
                </c:pt>
                <c:pt idx="10">
                  <c:v>26</c:v>
                </c:pt>
                <c:pt idx="11">
                  <c:v>26</c:v>
                </c:pt>
                <c:pt idx="12">
                  <c:v>26</c:v>
                </c:pt>
                <c:pt idx="13">
                  <c:v>26</c:v>
                </c:pt>
                <c:pt idx="14">
                  <c:v>26</c:v>
                </c:pt>
                <c:pt idx="15">
                  <c:v>26</c:v>
                </c:pt>
                <c:pt idx="16">
                  <c:v>26</c:v>
                </c:pt>
                <c:pt idx="17">
                  <c:v>26</c:v>
                </c:pt>
                <c:pt idx="18">
                  <c:v>26</c:v>
                </c:pt>
                <c:pt idx="19">
                  <c:v>26</c:v>
                </c:pt>
                <c:pt idx="20">
                  <c:v>26</c:v>
                </c:pt>
                <c:pt idx="21">
                  <c:v>26</c:v>
                </c:pt>
                <c:pt idx="22">
                  <c:v>26</c:v>
                </c:pt>
                <c:pt idx="23">
                  <c:v>26</c:v>
                </c:pt>
                <c:pt idx="24">
                  <c:v>26</c:v>
                </c:pt>
              </c:numCache>
            </c:numRef>
          </c:val>
          <c:smooth val="0"/>
          <c:extLst>
            <c:ext xmlns:c16="http://schemas.microsoft.com/office/drawing/2014/chart" uri="{C3380CC4-5D6E-409C-BE32-E72D297353CC}">
              <c16:uniqueId val="{00000003-5570-4341-A1AC-53C17C28F56C}"/>
            </c:ext>
          </c:extLst>
        </c:ser>
        <c:dLbls>
          <c:showLegendKey val="0"/>
          <c:showVal val="0"/>
          <c:showCatName val="0"/>
          <c:showSerName val="0"/>
          <c:showPercent val="0"/>
          <c:showBubbleSize val="0"/>
        </c:dLbls>
        <c:marker val="1"/>
        <c:smooth val="0"/>
        <c:axId val="1476278016"/>
        <c:axId val="2128141264"/>
      </c:lineChart>
      <c:catAx>
        <c:axId val="1476278016"/>
        <c:scaling>
          <c:orientation val="minMax"/>
        </c:scaling>
        <c:delete val="1"/>
        <c:axPos val="b"/>
        <c:numFmt formatCode="General" sourceLinked="1"/>
        <c:majorTickMark val="none"/>
        <c:minorTickMark val="none"/>
        <c:tickLblPos val="nextTo"/>
        <c:crossAx val="2128141264"/>
        <c:crosses val="autoZero"/>
        <c:auto val="1"/>
        <c:lblAlgn val="ctr"/>
        <c:lblOffset val="100"/>
        <c:noMultiLvlLbl val="0"/>
      </c:catAx>
      <c:valAx>
        <c:axId val="2128141264"/>
        <c:scaling>
          <c:orientation val="minMax"/>
        </c:scaling>
        <c:delete val="1"/>
        <c:axPos val="l"/>
        <c:numFmt formatCode="_(* #,##0.0_);_(* \(#,##0.0\);_(* &quot;-&quot;??_);_(@_)" sourceLinked="1"/>
        <c:majorTickMark val="out"/>
        <c:minorTickMark val="none"/>
        <c:tickLblPos val="nextTo"/>
        <c:crossAx val="1476278016"/>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427154155778969"/>
          <c:y val="4.7735985566026123E-2"/>
          <c:w val="0.49145691688442056"/>
          <c:h val="0.90452845773572399"/>
        </c:manualLayout>
      </c:layout>
      <c:doughnutChart>
        <c:varyColors val="1"/>
        <c:ser>
          <c:idx val="0"/>
          <c:order val="0"/>
          <c:tx>
            <c:strRef>
              <c:f>Sheet1!$B$1</c:f>
              <c:strCache>
                <c:ptCount val="1"/>
                <c:pt idx="0">
                  <c:v>CAES Projects Announced/Under development</c:v>
                </c:pt>
              </c:strCache>
            </c:strRef>
          </c:tx>
          <c:spPr>
            <a:ln>
              <a:solidFill>
                <a:schemeClr val="bg1"/>
              </a:solidFill>
            </a:ln>
          </c:spPr>
          <c:dPt>
            <c:idx val="0"/>
            <c:bubble3D val="0"/>
            <c:spPr>
              <a:solidFill>
                <a:schemeClr val="accent1">
                  <a:lumMod val="60000"/>
                  <a:lumOff val="40000"/>
                </a:schemeClr>
              </a:solidFill>
              <a:ln>
                <a:solidFill>
                  <a:schemeClr val="bg1"/>
                </a:solidFill>
              </a:ln>
            </c:spPr>
            <c:extLst>
              <c:ext xmlns:c16="http://schemas.microsoft.com/office/drawing/2014/chart" uri="{C3380CC4-5D6E-409C-BE32-E72D297353CC}">
                <c16:uniqueId val="{00000001-64A4-40BB-A06D-4010D70143FE}"/>
              </c:ext>
            </c:extLst>
          </c:dPt>
          <c:dPt>
            <c:idx val="1"/>
            <c:bubble3D val="0"/>
            <c:spPr>
              <a:solidFill>
                <a:srgbClr val="F26722"/>
              </a:solidFill>
              <a:ln>
                <a:solidFill>
                  <a:schemeClr val="bg1"/>
                </a:solidFill>
              </a:ln>
            </c:spPr>
            <c:extLst>
              <c:ext xmlns:c16="http://schemas.microsoft.com/office/drawing/2014/chart" uri="{C3380CC4-5D6E-409C-BE32-E72D297353CC}">
                <c16:uniqueId val="{00000003-64A4-40BB-A06D-4010D70143FE}"/>
              </c:ext>
            </c:extLst>
          </c:dPt>
          <c:dPt>
            <c:idx val="2"/>
            <c:bubble3D val="0"/>
            <c:spPr>
              <a:solidFill>
                <a:schemeClr val="accent2"/>
              </a:solidFill>
              <a:ln>
                <a:solidFill>
                  <a:schemeClr val="bg1"/>
                </a:solidFill>
              </a:ln>
            </c:spPr>
            <c:extLst>
              <c:ext xmlns:c16="http://schemas.microsoft.com/office/drawing/2014/chart" uri="{C3380CC4-5D6E-409C-BE32-E72D297353CC}">
                <c16:uniqueId val="{00000005-64A4-40BB-A06D-4010D70143FE}"/>
              </c:ext>
            </c:extLst>
          </c:dPt>
          <c:dPt>
            <c:idx val="3"/>
            <c:bubble3D val="0"/>
            <c:spPr>
              <a:solidFill>
                <a:schemeClr val="accent1">
                  <a:lumMod val="75000"/>
                </a:schemeClr>
              </a:solidFill>
              <a:ln>
                <a:solidFill>
                  <a:schemeClr val="bg1"/>
                </a:solidFill>
              </a:ln>
            </c:spPr>
            <c:extLst>
              <c:ext xmlns:c16="http://schemas.microsoft.com/office/drawing/2014/chart" uri="{C3380CC4-5D6E-409C-BE32-E72D297353CC}">
                <c16:uniqueId val="{00000007-64A4-40BB-A06D-4010D70143FE}"/>
              </c:ext>
            </c:extLst>
          </c:dPt>
          <c:dPt>
            <c:idx val="4"/>
            <c:bubble3D val="0"/>
            <c:spPr>
              <a:solidFill>
                <a:schemeClr val="accent2">
                  <a:lumMod val="75000"/>
                </a:schemeClr>
              </a:solidFill>
              <a:ln>
                <a:solidFill>
                  <a:schemeClr val="bg1"/>
                </a:solidFill>
              </a:ln>
            </c:spPr>
            <c:extLst>
              <c:ext xmlns:c16="http://schemas.microsoft.com/office/drawing/2014/chart" uri="{C3380CC4-5D6E-409C-BE32-E72D297353CC}">
                <c16:uniqueId val="{00000009-64A4-40BB-A06D-4010D70143FE}"/>
              </c:ext>
            </c:extLst>
          </c:dPt>
          <c:dPt>
            <c:idx val="5"/>
            <c:bubble3D val="0"/>
            <c:spPr>
              <a:solidFill>
                <a:schemeClr val="bg2"/>
              </a:solidFill>
              <a:ln>
                <a:solidFill>
                  <a:schemeClr val="bg1"/>
                </a:solidFill>
              </a:ln>
            </c:spPr>
            <c:extLst>
              <c:ext xmlns:c16="http://schemas.microsoft.com/office/drawing/2014/chart" uri="{C3380CC4-5D6E-409C-BE32-E72D297353CC}">
                <c16:uniqueId val="{0000000B-64A4-40BB-A06D-4010D70143FE}"/>
              </c:ext>
            </c:extLst>
          </c:dPt>
          <c:dLbls>
            <c:dLbl>
              <c:idx val="0"/>
              <c:layout>
                <c:manualLayout>
                  <c:x val="7.3013431021855483E-3"/>
                  <c:y val="-0.01"/>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64A4-40BB-A06D-4010D70143FE}"/>
                </c:ext>
              </c:extLst>
            </c:dLbl>
            <c:dLbl>
              <c:idx val="1"/>
              <c:layout>
                <c:manualLayout>
                  <c:x val="0"/>
                  <c:y val="-6.6666666666666671E-3"/>
                </c:manualLayout>
              </c:layout>
              <c:spPr/>
              <c:txPr>
                <a:bodyPr/>
                <a:lstStyle/>
                <a:p>
                  <a:pPr>
                    <a:defRPr>
                      <a:solidFill>
                        <a:schemeClr val="bg1"/>
                      </a:solidFill>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64A4-40BB-A06D-4010D70143FE}"/>
                </c:ext>
              </c:extLst>
            </c:dLbl>
            <c:dLbl>
              <c:idx val="2"/>
              <c:layout>
                <c:manualLayout>
                  <c:x val="-4.8675620681235942E-3"/>
                  <c:y val="-1.3333333333333334E-2"/>
                </c:manualLayout>
              </c:layout>
              <c:spPr/>
              <c:txPr>
                <a:bodyPr/>
                <a:lstStyle/>
                <a:p>
                  <a:pPr>
                    <a:defRPr>
                      <a:solidFill>
                        <a:schemeClr val="bg1"/>
                      </a:solidFill>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64A4-40BB-A06D-4010D70143FE}"/>
                </c:ext>
              </c:extLst>
            </c:dLbl>
            <c:dLbl>
              <c:idx val="3"/>
              <c:layout>
                <c:manualLayout>
                  <c:x val="-5.916734933400055E-2"/>
                  <c:y val="-0.10252156237226694"/>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64A4-40BB-A06D-4010D70143FE}"/>
                </c:ext>
              </c:extLst>
            </c:dLbl>
            <c:dLbl>
              <c:idx val="4"/>
              <c:layout>
                <c:manualLayout>
                  <c:x val="2.5195134836532889E-2"/>
                  <c:y val="-0.14515550231003299"/>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64A4-40BB-A06D-4010D70143FE}"/>
                </c:ext>
              </c:extLst>
            </c:dLbl>
            <c:dLbl>
              <c:idx val="5"/>
              <c:layout>
                <c:manualLayout>
                  <c:x val="3.7242109383026995E-4"/>
                  <c:y val="-2.6166267325247416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64A4-40BB-A06D-4010D70143FE}"/>
                </c:ext>
              </c:extLst>
            </c:dLbl>
            <c:spPr>
              <a:noFill/>
              <a:ln>
                <a:noFill/>
              </a:ln>
              <a:effectLst/>
            </c:sp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7</c:f>
              <c:strCache>
                <c:ptCount val="6"/>
                <c:pt idx="0">
                  <c:v>China</c:v>
                </c:pt>
                <c:pt idx="1">
                  <c:v>E.U.</c:v>
                </c:pt>
                <c:pt idx="2">
                  <c:v>U.S.</c:v>
                </c:pt>
                <c:pt idx="3">
                  <c:v>Korea</c:v>
                </c:pt>
                <c:pt idx="4">
                  <c:v>Japan</c:v>
                </c:pt>
                <c:pt idx="5">
                  <c:v>Others</c:v>
                </c:pt>
              </c:strCache>
            </c:strRef>
          </c:cat>
          <c:val>
            <c:numRef>
              <c:f>Sheet1!$B$2:$B$7</c:f>
              <c:numCache>
                <c:formatCode>0%</c:formatCode>
                <c:ptCount val="6"/>
                <c:pt idx="0">
                  <c:v>0.65</c:v>
                </c:pt>
                <c:pt idx="1">
                  <c:v>0.21</c:v>
                </c:pt>
                <c:pt idx="2">
                  <c:v>0.06</c:v>
                </c:pt>
                <c:pt idx="3">
                  <c:v>0.01</c:v>
                </c:pt>
                <c:pt idx="4">
                  <c:v>0.01</c:v>
                </c:pt>
                <c:pt idx="5">
                  <c:v>0.06</c:v>
                </c:pt>
              </c:numCache>
            </c:numRef>
          </c:val>
          <c:extLst>
            <c:ext xmlns:c16="http://schemas.microsoft.com/office/drawing/2014/chart" uri="{C3380CC4-5D6E-409C-BE32-E72D297353CC}">
              <c16:uniqueId val="{0000000C-64A4-40BB-A06D-4010D70143FE}"/>
            </c:ext>
          </c:extLst>
        </c:ser>
        <c:dLbls>
          <c:showLegendKey val="0"/>
          <c:showVal val="0"/>
          <c:showCatName val="0"/>
          <c:showSerName val="0"/>
          <c:showPercent val="0"/>
          <c:showBubbleSize val="0"/>
          <c:showLeaderLines val="0"/>
        </c:dLbls>
        <c:firstSliceAng val="0"/>
        <c:holeSize val="50"/>
      </c:doughnutChart>
    </c:plotArea>
    <c:legend>
      <c:legendPos val="r"/>
      <c:layout>
        <c:manualLayout>
          <c:xMode val="edge"/>
          <c:yMode val="edge"/>
          <c:x val="0.8032378151731262"/>
          <c:y val="0.20164172675137931"/>
          <c:w val="0.18131908160079022"/>
          <c:h val="0.54428148133875942"/>
        </c:manualLayout>
      </c:layout>
      <c:overlay val="1"/>
    </c:legend>
    <c:plotVisOnly val="1"/>
    <c:dispBlanksAs val="gap"/>
    <c:showDLblsOverMax val="0"/>
  </c:chart>
  <c:txPr>
    <a:bodyPr/>
    <a:lstStyle/>
    <a:p>
      <a:pPr>
        <a:defRPr sz="1400"/>
      </a:pPr>
      <a:endParaRPr lang="en-US"/>
    </a:p>
  </c:txPr>
  <c:externalData r:id="rId2">
    <c:autoUpdate val="0"/>
  </c:externalData>
  <c:userShapes r:id="rId3"/>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7154155778969"/>
          <c:y val="4.7735985566026123E-2"/>
          <c:w val="0.49145691688442056"/>
          <c:h val="0.90452845773572399"/>
        </c:manualLayout>
      </c:layout>
      <c:doughnutChart>
        <c:varyColors val="1"/>
        <c:ser>
          <c:idx val="0"/>
          <c:order val="0"/>
          <c:tx>
            <c:strRef>
              <c:f>Sheet1!$B$1</c:f>
              <c:strCache>
                <c:ptCount val="1"/>
                <c:pt idx="0">
                  <c:v>CAES Projects Announced/Under development</c:v>
                </c:pt>
              </c:strCache>
            </c:strRef>
          </c:tx>
          <c:spPr>
            <a:ln>
              <a:solidFill>
                <a:schemeClr val="bg1"/>
              </a:solidFill>
            </a:ln>
          </c:spPr>
          <c:dPt>
            <c:idx val="0"/>
            <c:bubble3D val="0"/>
            <c:spPr>
              <a:solidFill>
                <a:schemeClr val="accent1">
                  <a:lumMod val="60000"/>
                  <a:lumOff val="40000"/>
                </a:schemeClr>
              </a:solidFill>
              <a:ln>
                <a:solidFill>
                  <a:schemeClr val="bg1"/>
                </a:solidFill>
              </a:ln>
            </c:spPr>
            <c:extLst>
              <c:ext xmlns:c16="http://schemas.microsoft.com/office/drawing/2014/chart" uri="{C3380CC4-5D6E-409C-BE32-E72D297353CC}">
                <c16:uniqueId val="{00000001-FA3C-4780-B9E9-2E41CE76F591}"/>
              </c:ext>
            </c:extLst>
          </c:dPt>
          <c:dPt>
            <c:idx val="1"/>
            <c:bubble3D val="0"/>
            <c:spPr>
              <a:solidFill>
                <a:schemeClr val="accent3"/>
              </a:solidFill>
              <a:ln>
                <a:solidFill>
                  <a:schemeClr val="bg1"/>
                </a:solidFill>
              </a:ln>
            </c:spPr>
            <c:extLst>
              <c:ext xmlns:c16="http://schemas.microsoft.com/office/drawing/2014/chart" uri="{C3380CC4-5D6E-409C-BE32-E72D297353CC}">
                <c16:uniqueId val="{00000003-FA3C-4780-B9E9-2E41CE76F591}"/>
              </c:ext>
            </c:extLst>
          </c:dPt>
          <c:dPt>
            <c:idx val="2"/>
            <c:bubble3D val="0"/>
            <c:spPr>
              <a:solidFill>
                <a:schemeClr val="accent2"/>
              </a:solidFill>
              <a:ln>
                <a:solidFill>
                  <a:schemeClr val="bg1"/>
                </a:solidFill>
              </a:ln>
            </c:spPr>
            <c:extLst>
              <c:ext xmlns:c16="http://schemas.microsoft.com/office/drawing/2014/chart" uri="{C3380CC4-5D6E-409C-BE32-E72D297353CC}">
                <c16:uniqueId val="{00000005-FA3C-4780-B9E9-2E41CE76F591}"/>
              </c:ext>
            </c:extLst>
          </c:dPt>
          <c:dPt>
            <c:idx val="3"/>
            <c:bubble3D val="0"/>
            <c:spPr>
              <a:solidFill>
                <a:schemeClr val="accent1">
                  <a:lumMod val="75000"/>
                </a:schemeClr>
              </a:solidFill>
              <a:ln>
                <a:solidFill>
                  <a:schemeClr val="bg1"/>
                </a:solidFill>
              </a:ln>
            </c:spPr>
            <c:extLst>
              <c:ext xmlns:c16="http://schemas.microsoft.com/office/drawing/2014/chart" uri="{C3380CC4-5D6E-409C-BE32-E72D297353CC}">
                <c16:uniqueId val="{00000007-FA3C-4780-B9E9-2E41CE76F591}"/>
              </c:ext>
            </c:extLst>
          </c:dPt>
          <c:dPt>
            <c:idx val="4"/>
            <c:bubble3D val="0"/>
            <c:spPr>
              <a:solidFill>
                <a:schemeClr val="accent2">
                  <a:lumMod val="75000"/>
                </a:schemeClr>
              </a:solidFill>
              <a:ln>
                <a:solidFill>
                  <a:schemeClr val="bg1"/>
                </a:solidFill>
              </a:ln>
            </c:spPr>
            <c:extLst>
              <c:ext xmlns:c16="http://schemas.microsoft.com/office/drawing/2014/chart" uri="{C3380CC4-5D6E-409C-BE32-E72D297353CC}">
                <c16:uniqueId val="{00000009-FA3C-4780-B9E9-2E41CE76F591}"/>
              </c:ext>
            </c:extLst>
          </c:dPt>
          <c:dPt>
            <c:idx val="5"/>
            <c:bubble3D val="0"/>
            <c:spPr>
              <a:solidFill>
                <a:schemeClr val="bg2"/>
              </a:solidFill>
              <a:ln>
                <a:solidFill>
                  <a:schemeClr val="bg1"/>
                </a:solidFill>
              </a:ln>
            </c:spPr>
            <c:extLst>
              <c:ext xmlns:c16="http://schemas.microsoft.com/office/drawing/2014/chart" uri="{C3380CC4-5D6E-409C-BE32-E72D297353CC}">
                <c16:uniqueId val="{0000000B-FA3C-4780-B9E9-2E41CE76F591}"/>
              </c:ext>
            </c:extLst>
          </c:dPt>
          <c:dLbls>
            <c:dLbl>
              <c:idx val="0"/>
              <c:layout>
                <c:manualLayout>
                  <c:x val="7.3013431021855483E-3"/>
                  <c:y val="-0.01"/>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FA3C-4780-B9E9-2E41CE76F591}"/>
                </c:ext>
              </c:extLst>
            </c:dLbl>
            <c:dLbl>
              <c:idx val="1"/>
              <c:layout>
                <c:manualLayout>
                  <c:x val="0"/>
                  <c:y val="-6.6666666666666671E-3"/>
                </c:manualLayout>
              </c:layout>
              <c:spPr/>
              <c:txPr>
                <a:bodyPr/>
                <a:lstStyle/>
                <a:p>
                  <a:pPr>
                    <a:defRPr>
                      <a:solidFill>
                        <a:schemeClr val="bg1"/>
                      </a:solidFill>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FA3C-4780-B9E9-2E41CE76F591}"/>
                </c:ext>
              </c:extLst>
            </c:dLbl>
            <c:dLbl>
              <c:idx val="2"/>
              <c:layout>
                <c:manualLayout>
                  <c:x val="-4.8675620681235942E-3"/>
                  <c:y val="-1.3333333333333334E-2"/>
                </c:manualLayout>
              </c:layout>
              <c:spPr/>
              <c:txPr>
                <a:bodyPr/>
                <a:lstStyle/>
                <a:p>
                  <a:pPr>
                    <a:defRPr>
                      <a:solidFill>
                        <a:schemeClr val="bg1"/>
                      </a:solidFill>
                    </a:defRPr>
                  </a:pPr>
                  <a:endParaRPr lang="en-US"/>
                </a:p>
              </c:txPr>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FA3C-4780-B9E9-2E41CE76F591}"/>
                </c:ext>
              </c:extLst>
            </c:dLbl>
            <c:dLbl>
              <c:idx val="3"/>
              <c:layout>
                <c:manualLayout>
                  <c:x val="-4.5836221186676164E-2"/>
                  <c:y val="-0.11722222222222221"/>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FA3C-4780-B9E9-2E41CE76F591}"/>
                </c:ext>
              </c:extLst>
            </c:dLbl>
            <c:dLbl>
              <c:idx val="4"/>
              <c:layout>
                <c:manualLayout>
                  <c:x val="-1.135764772767197E-2"/>
                  <c:y val="-0.19500000000000001"/>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FA3C-4780-B9E9-2E41CE76F591}"/>
                </c:ext>
              </c:extLst>
            </c:dLbl>
            <c:dLbl>
              <c:idx val="5"/>
              <c:layout>
                <c:manualLayout>
                  <c:x val="8.6848156937395601E-2"/>
                  <c:y val="-0.12674496937882765"/>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FA3C-4780-B9E9-2E41CE76F591}"/>
                </c:ext>
              </c:extLst>
            </c:dLbl>
            <c:spPr>
              <a:noFill/>
              <a:ln>
                <a:noFill/>
              </a:ln>
              <a:effectLst/>
            </c:spPr>
            <c:showLegendKey val="0"/>
            <c:showVal val="1"/>
            <c:showCatName val="1"/>
            <c:showSerName val="0"/>
            <c:showPercent val="0"/>
            <c:showBubbleSize val="0"/>
            <c:separator>
</c:separator>
            <c:showLeaderLines val="0"/>
            <c:extLst>
              <c:ext xmlns:c15="http://schemas.microsoft.com/office/drawing/2012/chart" uri="{CE6537A1-D6FC-4f65-9D91-7224C49458BB}"/>
            </c:extLst>
          </c:dLbls>
          <c:cat>
            <c:strRef>
              <c:f>Sheet1!$A$2:$A$7</c:f>
              <c:strCache>
                <c:ptCount val="6"/>
                <c:pt idx="0">
                  <c:v>China</c:v>
                </c:pt>
                <c:pt idx="1">
                  <c:v>E.U.</c:v>
                </c:pt>
                <c:pt idx="2">
                  <c:v>U.S.</c:v>
                </c:pt>
                <c:pt idx="3">
                  <c:v>Korea</c:v>
                </c:pt>
                <c:pt idx="4">
                  <c:v>Japan</c:v>
                </c:pt>
                <c:pt idx="5">
                  <c:v>Others</c:v>
                </c:pt>
              </c:strCache>
            </c:strRef>
          </c:cat>
          <c:val>
            <c:numRef>
              <c:f>Sheet1!$B$2:$B$7</c:f>
              <c:numCache>
                <c:formatCode>0%</c:formatCode>
                <c:ptCount val="6"/>
                <c:pt idx="0">
                  <c:v>0.78</c:v>
                </c:pt>
                <c:pt idx="1">
                  <c:v>7.0000000000000007E-2</c:v>
                </c:pt>
                <c:pt idx="2">
                  <c:v>0.08</c:v>
                </c:pt>
                <c:pt idx="3">
                  <c:v>0.05</c:v>
                </c:pt>
                <c:pt idx="4">
                  <c:v>0.02</c:v>
                </c:pt>
                <c:pt idx="5">
                  <c:v>5.0000000000000001E-3</c:v>
                </c:pt>
              </c:numCache>
            </c:numRef>
          </c:val>
          <c:extLst>
            <c:ext xmlns:c16="http://schemas.microsoft.com/office/drawing/2014/chart" uri="{C3380CC4-5D6E-409C-BE32-E72D297353CC}">
              <c16:uniqueId val="{0000000C-FA3C-4780-B9E9-2E41CE76F591}"/>
            </c:ext>
          </c:extLst>
        </c:ser>
        <c:dLbls>
          <c:showLegendKey val="0"/>
          <c:showVal val="0"/>
          <c:showCatName val="0"/>
          <c:showSerName val="0"/>
          <c:showPercent val="0"/>
          <c:showBubbleSize val="0"/>
          <c:showLeaderLines val="0"/>
        </c:dLbls>
        <c:firstSliceAng val="0"/>
        <c:holeSize val="50"/>
      </c:doughnutChart>
    </c:plotArea>
    <c:plotVisOnly val="1"/>
    <c:dispBlanksAs val="gap"/>
    <c:showDLblsOverMax val="0"/>
  </c:chart>
  <c:txPr>
    <a:bodyPr/>
    <a:lstStyle/>
    <a:p>
      <a:pPr>
        <a:defRPr sz="1400"/>
      </a:pPr>
      <a:endParaRPr lang="en-US"/>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r>
              <a:rPr lang="en-GB" b="1" dirty="0"/>
              <a:t>Total Residential Storage PV Systems, 2020 and 2030</a:t>
            </a:r>
          </a:p>
        </c:rich>
      </c:tx>
      <c:layout>
        <c:manualLayout>
          <c:xMode val="edge"/>
          <c:yMode val="edge"/>
          <c:x val="0.30376050419399037"/>
          <c:y val="1.6758184239741441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072102958014846"/>
          <c:y val="9.7064854612855161E-2"/>
          <c:w val="0.87614285234594524"/>
          <c:h val="0.69172308442078256"/>
        </c:manualLayout>
      </c:layout>
      <c:barChart>
        <c:barDir val="col"/>
        <c:grouping val="clustered"/>
        <c:varyColors val="0"/>
        <c:ser>
          <c:idx val="0"/>
          <c:order val="0"/>
          <c:tx>
            <c:strRef>
              <c:f>Sheet1!$B$1</c:f>
              <c:strCache>
                <c:ptCount val="1"/>
                <c:pt idx="0">
                  <c:v>2020</c:v>
                </c:pt>
              </c:strCache>
            </c:strRef>
          </c:tx>
          <c:spPr>
            <a:solidFill>
              <a:schemeClr val="accent1"/>
            </a:solidFill>
            <a:ln>
              <a:noFill/>
            </a:ln>
            <a:effectLst/>
          </c:spPr>
          <c:invertIfNegative val="0"/>
          <c:cat>
            <c:strRef>
              <c:f>Sheet1!$A$2:$A$10</c:f>
              <c:strCache>
                <c:ptCount val="9"/>
                <c:pt idx="0">
                  <c:v>United States</c:v>
                </c:pt>
                <c:pt idx="1">
                  <c:v>Australia</c:v>
                </c:pt>
                <c:pt idx="2">
                  <c:v>Germany</c:v>
                </c:pt>
                <c:pt idx="3">
                  <c:v>Japan</c:v>
                </c:pt>
                <c:pt idx="4">
                  <c:v>Belgium</c:v>
                </c:pt>
                <c:pt idx="5">
                  <c:v>Italy</c:v>
                </c:pt>
                <c:pt idx="6">
                  <c:v>Netherlands</c:v>
                </c:pt>
                <c:pt idx="7">
                  <c:v>UK</c:v>
                </c:pt>
                <c:pt idx="8">
                  <c:v>Poland</c:v>
                </c:pt>
              </c:strCache>
            </c:strRef>
          </c:cat>
          <c:val>
            <c:numRef>
              <c:f>Sheet1!$B$2:$B$10</c:f>
              <c:numCache>
                <c:formatCode>_-* #,##0.0_-;\-* #,##0.0_-;_-* "-"??_-;_-@_-</c:formatCode>
                <c:ptCount val="9"/>
                <c:pt idx="0">
                  <c:v>3.194321</c:v>
                </c:pt>
                <c:pt idx="1">
                  <c:v>2.600082</c:v>
                </c:pt>
                <c:pt idx="2">
                  <c:v>2.2678600000000002</c:v>
                </c:pt>
                <c:pt idx="3">
                  <c:v>1.4738899999999999</c:v>
                </c:pt>
                <c:pt idx="4">
                  <c:v>1.32317</c:v>
                </c:pt>
                <c:pt idx="5">
                  <c:v>1.1908399999999999</c:v>
                </c:pt>
                <c:pt idx="6">
                  <c:v>1.1399999999999999</c:v>
                </c:pt>
                <c:pt idx="7">
                  <c:v>1.112479</c:v>
                </c:pt>
                <c:pt idx="8">
                  <c:v>1.0321616714285715</c:v>
                </c:pt>
              </c:numCache>
            </c:numRef>
          </c:val>
          <c:extLst>
            <c:ext xmlns:c16="http://schemas.microsoft.com/office/drawing/2014/chart" uri="{C3380CC4-5D6E-409C-BE32-E72D297353CC}">
              <c16:uniqueId val="{00000000-9EE5-42F8-8C28-A74436C1DE36}"/>
            </c:ext>
          </c:extLst>
        </c:ser>
        <c:ser>
          <c:idx val="1"/>
          <c:order val="1"/>
          <c:tx>
            <c:strRef>
              <c:f>Sheet1!$C$1</c:f>
              <c:strCache>
                <c:ptCount val="1"/>
                <c:pt idx="0">
                  <c:v>2030</c:v>
                </c:pt>
              </c:strCache>
            </c:strRef>
          </c:tx>
          <c:spPr>
            <a:solidFill>
              <a:schemeClr val="accent3"/>
            </a:solidFill>
            <a:ln>
              <a:noFill/>
            </a:ln>
            <a:effectLst/>
          </c:spPr>
          <c:invertIfNegative val="0"/>
          <c:cat>
            <c:strRef>
              <c:f>Sheet1!$A$2:$A$10</c:f>
              <c:strCache>
                <c:ptCount val="9"/>
                <c:pt idx="0">
                  <c:v>United States</c:v>
                </c:pt>
                <c:pt idx="1">
                  <c:v>Australia</c:v>
                </c:pt>
                <c:pt idx="2">
                  <c:v>Germany</c:v>
                </c:pt>
                <c:pt idx="3">
                  <c:v>Japan</c:v>
                </c:pt>
                <c:pt idx="4">
                  <c:v>Belgium</c:v>
                </c:pt>
                <c:pt idx="5">
                  <c:v>Italy</c:v>
                </c:pt>
                <c:pt idx="6">
                  <c:v>Netherlands</c:v>
                </c:pt>
                <c:pt idx="7">
                  <c:v>UK</c:v>
                </c:pt>
                <c:pt idx="8">
                  <c:v>Poland</c:v>
                </c:pt>
              </c:strCache>
            </c:strRef>
          </c:cat>
          <c:val>
            <c:numRef>
              <c:f>Sheet1!$C$2:$C$10</c:f>
              <c:numCache>
                <c:formatCode>_-* #,##0.0_-;\-* #,##0.0_-;_-* "-"??_-;_-@_-</c:formatCode>
                <c:ptCount val="9"/>
                <c:pt idx="0">
                  <c:v>10.014022469705431</c:v>
                </c:pt>
                <c:pt idx="1">
                  <c:v>4.9659420000000001</c:v>
                </c:pt>
                <c:pt idx="2">
                  <c:v>8.7305200000000003</c:v>
                </c:pt>
                <c:pt idx="3">
                  <c:v>5.2258100000000001</c:v>
                </c:pt>
                <c:pt idx="4">
                  <c:v>2.9652699999999999</c:v>
                </c:pt>
                <c:pt idx="5">
                  <c:v>2.54054</c:v>
                </c:pt>
                <c:pt idx="6">
                  <c:v>4.2471199999999998</c:v>
                </c:pt>
                <c:pt idx="7">
                  <c:v>1.9644556720085069</c:v>
                </c:pt>
                <c:pt idx="8">
                  <c:v>3.7756335593896786</c:v>
                </c:pt>
              </c:numCache>
            </c:numRef>
          </c:val>
          <c:extLst>
            <c:ext xmlns:c16="http://schemas.microsoft.com/office/drawing/2014/chart" uri="{C3380CC4-5D6E-409C-BE32-E72D297353CC}">
              <c16:uniqueId val="{00000001-9EE5-42F8-8C28-A74436C1DE36}"/>
            </c:ext>
          </c:extLst>
        </c:ser>
        <c:dLbls>
          <c:showLegendKey val="0"/>
          <c:showVal val="0"/>
          <c:showCatName val="0"/>
          <c:showSerName val="0"/>
          <c:showPercent val="0"/>
          <c:showBubbleSize val="0"/>
        </c:dLbls>
        <c:gapWidth val="150"/>
        <c:axId val="386742991"/>
        <c:axId val="386734831"/>
      </c:barChart>
      <c:catAx>
        <c:axId val="38674299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86734831"/>
        <c:crosses val="autoZero"/>
        <c:auto val="1"/>
        <c:lblAlgn val="ctr"/>
        <c:lblOffset val="100"/>
        <c:noMultiLvlLbl val="0"/>
      </c:catAx>
      <c:valAx>
        <c:axId val="38673483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GB" dirty="0"/>
                  <a:t>Number of Residential Storage Systems (million)</a:t>
                </a:r>
              </a:p>
            </c:rich>
          </c:tx>
          <c:layout>
            <c:manualLayout>
              <c:xMode val="edge"/>
              <c:yMode val="edge"/>
              <c:x val="1.3087676906914434E-2"/>
              <c:y val="0.1942977309154631"/>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title>
        <c:numFmt formatCode="_-* #,##0.0_-;\-* #,##0.0_-;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386742991"/>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1000" b="0" i="0" u="none" strike="noStrike" kern="1200" baseline="0">
                <a:solidFill>
                  <a:schemeClr val="tx1"/>
                </a:solidFill>
                <a:latin typeface="+mn-lt"/>
                <a:ea typeface="+mn-ea"/>
                <a:cs typeface="+mn-cs"/>
              </a:defRPr>
            </a:pPr>
            <a:endParaRPr lang="en-US"/>
          </a:p>
        </c:txPr>
      </c:dTable>
      <c:spPr>
        <a:noFill/>
        <a:ln>
          <a:noFill/>
        </a:ln>
        <a:effectLst/>
      </c:spPr>
    </c:plotArea>
    <c:legend>
      <c:legendPos val="b"/>
      <c:layout>
        <c:manualLayout>
          <c:xMode val="edge"/>
          <c:yMode val="edge"/>
          <c:x val="0.82201840004374449"/>
          <c:y val="1.9414642342521445E-2"/>
          <c:w val="0.12960073701552777"/>
          <c:h val="5.0506132351828624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3824320039329895E-2"/>
          <c:y val="4.9385613974184436E-2"/>
          <c:w val="0.89235135992134018"/>
          <c:h val="0.77003872302428589"/>
        </c:manualLayout>
      </c:layout>
      <c:barChart>
        <c:barDir val="col"/>
        <c:grouping val="stacked"/>
        <c:varyColors val="0"/>
        <c:ser>
          <c:idx val="0"/>
          <c:order val="0"/>
          <c:tx>
            <c:strRef>
              <c:f>Sheet1!$B$1</c:f>
              <c:strCache>
                <c:ptCount val="1"/>
                <c:pt idx="0">
                  <c:v>PV</c:v>
                </c:pt>
              </c:strCache>
            </c:strRef>
          </c:tx>
          <c:spPr>
            <a:noFill/>
            <a:ln>
              <a:solidFill>
                <a:srgbClr val="D5D9DC"/>
              </a:solidFill>
            </a:ln>
          </c:spPr>
          <c:invertIfNegative val="0"/>
          <c:dLbls>
            <c:numFmt formatCode="0%" sourceLinked="0"/>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10</c:f>
              <c:strCache>
                <c:ptCount val="9"/>
                <c:pt idx="0">
                  <c:v>Netherlands</c:v>
                </c:pt>
                <c:pt idx="1">
                  <c:v>Belgium</c:v>
                </c:pt>
                <c:pt idx="2">
                  <c:v>Australia</c:v>
                </c:pt>
                <c:pt idx="3">
                  <c:v>Poland</c:v>
                </c:pt>
                <c:pt idx="4">
                  <c:v>Germany</c:v>
                </c:pt>
                <c:pt idx="5">
                  <c:v>Japan</c:v>
                </c:pt>
                <c:pt idx="6">
                  <c:v>United States</c:v>
                </c:pt>
                <c:pt idx="7">
                  <c:v>UK</c:v>
                </c:pt>
                <c:pt idx="8">
                  <c:v>Italy</c:v>
                </c:pt>
              </c:strCache>
            </c:strRef>
          </c:cat>
          <c:val>
            <c:numRef>
              <c:f>Sheet1!$B$2:$B$10</c:f>
              <c:numCache>
                <c:formatCode>0.0%</c:formatCode>
                <c:ptCount val="9"/>
                <c:pt idx="0">
                  <c:v>0.55000000000000004</c:v>
                </c:pt>
                <c:pt idx="1">
                  <c:v>0.54</c:v>
                </c:pt>
                <c:pt idx="2">
                  <c:v>0.34</c:v>
                </c:pt>
                <c:pt idx="3">
                  <c:v>0.25</c:v>
                </c:pt>
                <c:pt idx="4">
                  <c:v>0.2</c:v>
                </c:pt>
                <c:pt idx="5">
                  <c:v>7.0000000000000007E-2</c:v>
                </c:pt>
                <c:pt idx="6">
                  <c:v>7.0000000000000007E-2</c:v>
                </c:pt>
                <c:pt idx="7">
                  <c:v>7.0000000000000007E-2</c:v>
                </c:pt>
                <c:pt idx="8">
                  <c:v>0.06</c:v>
                </c:pt>
              </c:numCache>
            </c:numRef>
          </c:val>
          <c:extLst>
            <c:ext xmlns:c16="http://schemas.microsoft.com/office/drawing/2014/chart" uri="{C3380CC4-5D6E-409C-BE32-E72D297353CC}">
              <c16:uniqueId val="{00000000-7EC9-4EF2-B622-043DDDAAC33D}"/>
            </c:ext>
          </c:extLst>
        </c:ser>
        <c:ser>
          <c:idx val="1"/>
          <c:order val="1"/>
          <c:tx>
            <c:strRef>
              <c:f>Sheet1!$C$1</c:f>
              <c:strCache>
                <c:ptCount val="1"/>
                <c:pt idx="0">
                  <c:v>No-PV</c:v>
                </c:pt>
              </c:strCache>
            </c:strRef>
          </c:tx>
          <c:invertIfNegative val="0"/>
          <c:cat>
            <c:strRef>
              <c:f>Sheet1!$A$2:$A$10</c:f>
              <c:strCache>
                <c:ptCount val="9"/>
                <c:pt idx="0">
                  <c:v>Netherlands</c:v>
                </c:pt>
                <c:pt idx="1">
                  <c:v>Belgium</c:v>
                </c:pt>
                <c:pt idx="2">
                  <c:v>Australia</c:v>
                </c:pt>
                <c:pt idx="3">
                  <c:v>Poland</c:v>
                </c:pt>
                <c:pt idx="4">
                  <c:v>Germany</c:v>
                </c:pt>
                <c:pt idx="5">
                  <c:v>Japan</c:v>
                </c:pt>
                <c:pt idx="6">
                  <c:v>United States</c:v>
                </c:pt>
                <c:pt idx="7">
                  <c:v>UK</c:v>
                </c:pt>
                <c:pt idx="8">
                  <c:v>Italy</c:v>
                </c:pt>
              </c:strCache>
            </c:strRef>
          </c:cat>
          <c:val>
            <c:numRef>
              <c:f>Sheet1!$C$2:$C$10</c:f>
              <c:numCache>
                <c:formatCode>0.0%</c:formatCode>
                <c:ptCount val="9"/>
                <c:pt idx="0">
                  <c:v>0.44999999999999996</c:v>
                </c:pt>
                <c:pt idx="1">
                  <c:v>0.45999999999999996</c:v>
                </c:pt>
                <c:pt idx="2">
                  <c:v>0.65999999999999992</c:v>
                </c:pt>
                <c:pt idx="3">
                  <c:v>0.75</c:v>
                </c:pt>
                <c:pt idx="4">
                  <c:v>0.8</c:v>
                </c:pt>
                <c:pt idx="5">
                  <c:v>0.92999999999999994</c:v>
                </c:pt>
                <c:pt idx="6">
                  <c:v>0.92999999999999994</c:v>
                </c:pt>
                <c:pt idx="7">
                  <c:v>0.92999999999999994</c:v>
                </c:pt>
                <c:pt idx="8">
                  <c:v>0.94</c:v>
                </c:pt>
              </c:numCache>
            </c:numRef>
          </c:val>
          <c:extLst>
            <c:ext xmlns:c16="http://schemas.microsoft.com/office/drawing/2014/chart" uri="{C3380CC4-5D6E-409C-BE32-E72D297353CC}">
              <c16:uniqueId val="{00000004-7EC9-4EF2-B622-043DDDAAC33D}"/>
            </c:ext>
          </c:extLst>
        </c:ser>
        <c:dLbls>
          <c:showLegendKey val="0"/>
          <c:showVal val="0"/>
          <c:showCatName val="0"/>
          <c:showSerName val="0"/>
          <c:showPercent val="0"/>
          <c:showBubbleSize val="0"/>
        </c:dLbls>
        <c:gapWidth val="75"/>
        <c:overlap val="100"/>
        <c:axId val="34829824"/>
        <c:axId val="34831360"/>
      </c:barChart>
      <c:catAx>
        <c:axId val="34829824"/>
        <c:scaling>
          <c:orientation val="minMax"/>
        </c:scaling>
        <c:delete val="0"/>
        <c:axPos val="b"/>
        <c:numFmt formatCode="General" sourceLinked="1"/>
        <c:majorTickMark val="out"/>
        <c:minorTickMark val="none"/>
        <c:tickLblPos val="nextTo"/>
        <c:txPr>
          <a:bodyPr/>
          <a:lstStyle/>
          <a:p>
            <a:pPr>
              <a:defRPr sz="1000"/>
            </a:pPr>
            <a:endParaRPr lang="en-US"/>
          </a:p>
        </c:txPr>
        <c:crossAx val="34831360"/>
        <c:crosses val="autoZero"/>
        <c:auto val="1"/>
        <c:lblAlgn val="ctr"/>
        <c:lblOffset val="100"/>
        <c:noMultiLvlLbl val="0"/>
      </c:catAx>
      <c:valAx>
        <c:axId val="34831360"/>
        <c:scaling>
          <c:orientation val="minMax"/>
        </c:scaling>
        <c:delete val="1"/>
        <c:axPos val="l"/>
        <c:numFmt formatCode="0.0%" sourceLinked="1"/>
        <c:majorTickMark val="out"/>
        <c:minorTickMark val="none"/>
        <c:tickLblPos val="nextTo"/>
        <c:crossAx val="34829824"/>
        <c:crosses val="autoZero"/>
        <c:crossBetween val="between"/>
      </c:valAx>
    </c:plotArea>
    <c:plotVisOnly val="1"/>
    <c:dispBlanksAs val="gap"/>
    <c:showDLblsOverMax val="0"/>
  </c:chart>
  <c:txPr>
    <a:bodyPr/>
    <a:lstStyle/>
    <a:p>
      <a:pPr>
        <a:defRPr sz="12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314072604781092"/>
          <c:y val="4.0892474065709193E-2"/>
          <c:w val="0.82188021932530841"/>
          <c:h val="0.62158912117686893"/>
        </c:manualLayout>
      </c:layout>
      <c:barChart>
        <c:barDir val="col"/>
        <c:grouping val="stacked"/>
        <c:varyColors val="0"/>
        <c:ser>
          <c:idx val="1"/>
          <c:order val="0"/>
          <c:tx>
            <c:strRef>
              <c:f>Sheet1!$A$2</c:f>
              <c:strCache>
                <c:ptCount val="1"/>
                <c:pt idx="0">
                  <c:v>#REF!</c:v>
                </c:pt>
              </c:strCache>
            </c:strRef>
          </c:tx>
          <c:invertIfNegative val="0"/>
          <c:dLbls>
            <c:delete val="1"/>
          </c:dLbls>
          <c:cat>
            <c:strRef>
              <c:f>Sheet1!$B$1:$M$1</c:f>
              <c:strCache>
                <c:ptCount val="12"/>
                <c:pt idx="0">
                  <c:v>2020</c:v>
                </c:pt>
                <c:pt idx="1">
                  <c:v>2021</c:v>
                </c:pt>
                <c:pt idx="2">
                  <c:v>2022</c:v>
                </c:pt>
                <c:pt idx="3">
                  <c:v>2023</c:v>
                </c:pt>
                <c:pt idx="4">
                  <c:v>2024</c:v>
                </c:pt>
                <c:pt idx="5">
                  <c:v>2025</c:v>
                </c:pt>
                <c:pt idx="6">
                  <c:v>2026</c:v>
                </c:pt>
                <c:pt idx="7">
                  <c:v>2027</c:v>
                </c:pt>
                <c:pt idx="8">
                  <c:v>2028</c:v>
                </c:pt>
                <c:pt idx="9">
                  <c:v>2029</c:v>
                </c:pt>
                <c:pt idx="10">
                  <c:v>2030</c:v>
                </c:pt>
                <c:pt idx="11">
                  <c:v>CAGR (2021–2030)</c:v>
                </c:pt>
              </c:strCache>
            </c:strRef>
          </c:cat>
          <c:val>
            <c:numRef>
              <c:f>Sheet1!$B$2:$M$2</c:f>
            </c:numRef>
          </c:val>
          <c:extLst>
            <c:ext xmlns:c16="http://schemas.microsoft.com/office/drawing/2014/chart" uri="{C3380CC4-5D6E-409C-BE32-E72D297353CC}">
              <c16:uniqueId val="{00000000-0E5D-504D-A809-CAC9CA3F2938}"/>
            </c:ext>
          </c:extLst>
        </c:ser>
        <c:ser>
          <c:idx val="0"/>
          <c:order val="1"/>
          <c:tx>
            <c:strRef>
              <c:f>Sheet1!$A$3</c:f>
              <c:strCache>
                <c:ptCount val="1"/>
                <c:pt idx="0">
                  <c:v>#REF!</c:v>
                </c:pt>
              </c:strCache>
            </c:strRef>
          </c:tx>
          <c:invertIfNegative val="0"/>
          <c:dLbls>
            <c:delete val="1"/>
          </c:dLbls>
          <c:cat>
            <c:strRef>
              <c:f>Sheet1!$B$1:$M$1</c:f>
              <c:strCache>
                <c:ptCount val="12"/>
                <c:pt idx="0">
                  <c:v>2020</c:v>
                </c:pt>
                <c:pt idx="1">
                  <c:v>2021</c:v>
                </c:pt>
                <c:pt idx="2">
                  <c:v>2022</c:v>
                </c:pt>
                <c:pt idx="3">
                  <c:v>2023</c:v>
                </c:pt>
                <c:pt idx="4">
                  <c:v>2024</c:v>
                </c:pt>
                <c:pt idx="5">
                  <c:v>2025</c:v>
                </c:pt>
                <c:pt idx="6">
                  <c:v>2026</c:v>
                </c:pt>
                <c:pt idx="7">
                  <c:v>2027</c:v>
                </c:pt>
                <c:pt idx="8">
                  <c:v>2028</c:v>
                </c:pt>
                <c:pt idx="9">
                  <c:v>2029</c:v>
                </c:pt>
                <c:pt idx="10">
                  <c:v>2030</c:v>
                </c:pt>
                <c:pt idx="11">
                  <c:v>CAGR (2021–2030)</c:v>
                </c:pt>
              </c:strCache>
            </c:strRef>
          </c:cat>
          <c:val>
            <c:numRef>
              <c:f>Sheet1!$B$3:$M$3</c:f>
            </c:numRef>
          </c:val>
          <c:extLst>
            <c:ext xmlns:c16="http://schemas.microsoft.com/office/drawing/2014/chart" uri="{C3380CC4-5D6E-409C-BE32-E72D297353CC}">
              <c16:uniqueId val="{00000001-0E5D-504D-A809-CAC9CA3F2938}"/>
            </c:ext>
          </c:extLst>
        </c:ser>
        <c:ser>
          <c:idx val="2"/>
          <c:order val="2"/>
          <c:tx>
            <c:strRef>
              <c:f>Sheet1!$A$4</c:f>
              <c:strCache>
                <c:ptCount val="1"/>
                <c:pt idx="0">
                  <c:v>Europe</c:v>
                </c:pt>
              </c:strCache>
            </c:strRef>
          </c:tx>
          <c:spPr>
            <a:solidFill>
              <a:srgbClr val="00B0F0"/>
            </a:solidFill>
          </c:spPr>
          <c:invertIfNegative val="0"/>
          <c:dPt>
            <c:idx val="11"/>
            <c:invertIfNegative val="0"/>
            <c:bubble3D val="0"/>
            <c:spPr>
              <a:solidFill>
                <a:srgbClr val="00B0F0"/>
              </a:solidFill>
              <a:ln>
                <a:noFill/>
              </a:ln>
              <a:effectLst/>
            </c:spPr>
            <c:extLst>
              <c:ext xmlns:c16="http://schemas.microsoft.com/office/drawing/2014/chart" uri="{C3380CC4-5D6E-409C-BE32-E72D297353CC}">
                <c16:uniqueId val="{00000001-EB51-4383-8517-9AFF2ED27EED}"/>
              </c:ext>
            </c:extLst>
          </c:dPt>
          <c:dLbls>
            <c:delete val="1"/>
          </c:dLbls>
          <c:cat>
            <c:strRef>
              <c:f>Sheet1!$B$1:$M$1</c:f>
              <c:strCache>
                <c:ptCount val="12"/>
                <c:pt idx="0">
                  <c:v>2020</c:v>
                </c:pt>
                <c:pt idx="1">
                  <c:v>2021</c:v>
                </c:pt>
                <c:pt idx="2">
                  <c:v>2022</c:v>
                </c:pt>
                <c:pt idx="3">
                  <c:v>2023</c:v>
                </c:pt>
                <c:pt idx="4">
                  <c:v>2024</c:v>
                </c:pt>
                <c:pt idx="5">
                  <c:v>2025</c:v>
                </c:pt>
                <c:pt idx="6">
                  <c:v>2026</c:v>
                </c:pt>
                <c:pt idx="7">
                  <c:v>2027</c:v>
                </c:pt>
                <c:pt idx="8">
                  <c:v>2028</c:v>
                </c:pt>
                <c:pt idx="9">
                  <c:v>2029</c:v>
                </c:pt>
                <c:pt idx="10">
                  <c:v>2030</c:v>
                </c:pt>
                <c:pt idx="11">
                  <c:v>CAGR (2021–2030)</c:v>
                </c:pt>
              </c:strCache>
            </c:strRef>
          </c:cat>
          <c:val>
            <c:numRef>
              <c:f>Sheet1!$B$4:$M$4</c:f>
              <c:numCache>
                <c:formatCode>_(* #,##0.0_);_(* \(#,##0.0\);_(* "-"??_);_(@_)</c:formatCode>
                <c:ptCount val="12"/>
                <c:pt idx="0">
                  <c:v>217.45</c:v>
                </c:pt>
                <c:pt idx="1">
                  <c:v>261.57</c:v>
                </c:pt>
                <c:pt idx="2">
                  <c:v>298.84229999999997</c:v>
                </c:pt>
                <c:pt idx="3">
                  <c:v>329.20779200000004</c:v>
                </c:pt>
                <c:pt idx="4">
                  <c:v>364.17671160000003</c:v>
                </c:pt>
                <c:pt idx="5">
                  <c:v>414.66437940000003</c:v>
                </c:pt>
                <c:pt idx="6">
                  <c:v>489.89427969000002</c:v>
                </c:pt>
                <c:pt idx="7">
                  <c:v>593.53214841299996</c:v>
                </c:pt>
                <c:pt idx="8">
                  <c:v>708.93548708133005</c:v>
                </c:pt>
                <c:pt idx="9">
                  <c:v>831.20400621310569</c:v>
                </c:pt>
                <c:pt idx="10">
                  <c:v>978.53538352698422</c:v>
                </c:pt>
                <c:pt idx="11" formatCode="0.0%">
                  <c:v>0.15788492634207804</c:v>
                </c:pt>
              </c:numCache>
            </c:numRef>
          </c:val>
          <c:extLst>
            <c:ext xmlns:c16="http://schemas.microsoft.com/office/drawing/2014/chart" uri="{C3380CC4-5D6E-409C-BE32-E72D297353CC}">
              <c16:uniqueId val="{00000002-0E5D-504D-A809-CAC9CA3F2938}"/>
            </c:ext>
          </c:extLst>
        </c:ser>
        <c:ser>
          <c:idx val="3"/>
          <c:order val="3"/>
          <c:tx>
            <c:strRef>
              <c:f>Sheet1!$A$5</c:f>
              <c:strCache>
                <c:ptCount val="1"/>
                <c:pt idx="0">
                  <c:v>North America</c:v>
                </c:pt>
              </c:strCache>
            </c:strRef>
          </c:tx>
          <c:spPr>
            <a:solidFill>
              <a:srgbClr val="1582C5"/>
            </a:solidFill>
          </c:spPr>
          <c:invertIfNegative val="0"/>
          <c:dPt>
            <c:idx val="11"/>
            <c:invertIfNegative val="0"/>
            <c:bubble3D val="0"/>
            <c:spPr>
              <a:solidFill>
                <a:srgbClr val="1582C5"/>
              </a:solidFill>
              <a:ln>
                <a:noFill/>
              </a:ln>
              <a:effectLst/>
            </c:spPr>
            <c:extLst>
              <c:ext xmlns:c16="http://schemas.microsoft.com/office/drawing/2014/chart" uri="{C3380CC4-5D6E-409C-BE32-E72D297353CC}">
                <c16:uniqueId val="{00000003-EB51-4383-8517-9AFF2ED27EED}"/>
              </c:ext>
            </c:extLst>
          </c:dPt>
          <c:dLbls>
            <c:delete val="1"/>
          </c:dLbls>
          <c:cat>
            <c:strRef>
              <c:f>Sheet1!$B$1:$M$1</c:f>
              <c:strCache>
                <c:ptCount val="12"/>
                <c:pt idx="0">
                  <c:v>2020</c:v>
                </c:pt>
                <c:pt idx="1">
                  <c:v>2021</c:v>
                </c:pt>
                <c:pt idx="2">
                  <c:v>2022</c:v>
                </c:pt>
                <c:pt idx="3">
                  <c:v>2023</c:v>
                </c:pt>
                <c:pt idx="4">
                  <c:v>2024</c:v>
                </c:pt>
                <c:pt idx="5">
                  <c:v>2025</c:v>
                </c:pt>
                <c:pt idx="6">
                  <c:v>2026</c:v>
                </c:pt>
                <c:pt idx="7">
                  <c:v>2027</c:v>
                </c:pt>
                <c:pt idx="8">
                  <c:v>2028</c:v>
                </c:pt>
                <c:pt idx="9">
                  <c:v>2029</c:v>
                </c:pt>
                <c:pt idx="10">
                  <c:v>2030</c:v>
                </c:pt>
                <c:pt idx="11">
                  <c:v>CAGR (2021–2030)</c:v>
                </c:pt>
              </c:strCache>
            </c:strRef>
          </c:cat>
          <c:val>
            <c:numRef>
              <c:f>Sheet1!$B$5:$M$5</c:f>
              <c:numCache>
                <c:formatCode>_(* #,##0.0_);_(* \(#,##0.0\);_(* "-"??_);_(@_)</c:formatCode>
                <c:ptCount val="12"/>
                <c:pt idx="0">
                  <c:v>108</c:v>
                </c:pt>
                <c:pt idx="1">
                  <c:v>133.44999999999999</c:v>
                </c:pt>
                <c:pt idx="2">
                  <c:v>156.0675</c:v>
                </c:pt>
                <c:pt idx="3">
                  <c:v>186.88425000000001</c:v>
                </c:pt>
                <c:pt idx="4">
                  <c:v>223.6937475</c:v>
                </c:pt>
                <c:pt idx="5">
                  <c:v>261.86177699999996</c:v>
                </c:pt>
                <c:pt idx="6">
                  <c:v>306.32224211999994</c:v>
                </c:pt>
                <c:pt idx="7">
                  <c:v>358.5920319359999</c:v>
                </c:pt>
                <c:pt idx="8">
                  <c:v>412.77085403759992</c:v>
                </c:pt>
                <c:pt idx="9">
                  <c:v>477.17155510952392</c:v>
                </c:pt>
                <c:pt idx="10">
                  <c:v>553.96830386955014</c:v>
                </c:pt>
                <c:pt idx="11" formatCode="0.0%">
                  <c:v>0.17134586486515754</c:v>
                </c:pt>
              </c:numCache>
            </c:numRef>
          </c:val>
          <c:extLst>
            <c:ext xmlns:c16="http://schemas.microsoft.com/office/drawing/2014/chart" uri="{C3380CC4-5D6E-409C-BE32-E72D297353CC}">
              <c16:uniqueId val="{00000003-0E5D-504D-A809-CAC9CA3F2938}"/>
            </c:ext>
          </c:extLst>
        </c:ser>
        <c:ser>
          <c:idx val="4"/>
          <c:order val="4"/>
          <c:tx>
            <c:strRef>
              <c:f>Sheet1!$A$6</c:f>
              <c:strCache>
                <c:ptCount val="1"/>
                <c:pt idx="0">
                  <c:v>Latin America</c:v>
                </c:pt>
              </c:strCache>
            </c:strRef>
          </c:tx>
          <c:spPr>
            <a:solidFill>
              <a:srgbClr val="17426B"/>
            </a:solidFill>
          </c:spPr>
          <c:invertIfNegative val="0"/>
          <c:dPt>
            <c:idx val="11"/>
            <c:invertIfNegative val="0"/>
            <c:bubble3D val="0"/>
            <c:spPr>
              <a:solidFill>
                <a:srgbClr val="17426B"/>
              </a:solidFill>
              <a:ln>
                <a:noFill/>
              </a:ln>
              <a:effectLst/>
            </c:spPr>
            <c:extLst>
              <c:ext xmlns:c16="http://schemas.microsoft.com/office/drawing/2014/chart" uri="{C3380CC4-5D6E-409C-BE32-E72D297353CC}">
                <c16:uniqueId val="{00000005-EB51-4383-8517-9AFF2ED27EED}"/>
              </c:ext>
            </c:extLst>
          </c:dPt>
          <c:dLbls>
            <c:delete val="1"/>
          </c:dLbls>
          <c:cat>
            <c:strRef>
              <c:f>Sheet1!$B$1:$M$1</c:f>
              <c:strCache>
                <c:ptCount val="12"/>
                <c:pt idx="0">
                  <c:v>2020</c:v>
                </c:pt>
                <c:pt idx="1">
                  <c:v>2021</c:v>
                </c:pt>
                <c:pt idx="2">
                  <c:v>2022</c:v>
                </c:pt>
                <c:pt idx="3">
                  <c:v>2023</c:v>
                </c:pt>
                <c:pt idx="4">
                  <c:v>2024</c:v>
                </c:pt>
                <c:pt idx="5">
                  <c:v>2025</c:v>
                </c:pt>
                <c:pt idx="6">
                  <c:v>2026</c:v>
                </c:pt>
                <c:pt idx="7">
                  <c:v>2027</c:v>
                </c:pt>
                <c:pt idx="8">
                  <c:v>2028</c:v>
                </c:pt>
                <c:pt idx="9">
                  <c:v>2029</c:v>
                </c:pt>
                <c:pt idx="10">
                  <c:v>2030</c:v>
                </c:pt>
                <c:pt idx="11">
                  <c:v>CAGR (2021–2030)</c:v>
                </c:pt>
              </c:strCache>
            </c:strRef>
          </c:cat>
          <c:val>
            <c:numRef>
              <c:f>Sheet1!$B$6:$M$6</c:f>
              <c:numCache>
                <c:formatCode>_(* #,##0.0_);_(* \(#,##0.0\);_(* "-"??_);_(@_)</c:formatCode>
                <c:ptCount val="12"/>
                <c:pt idx="0">
                  <c:v>8</c:v>
                </c:pt>
                <c:pt idx="1">
                  <c:v>10.4</c:v>
                </c:pt>
                <c:pt idx="2">
                  <c:v>13.52</c:v>
                </c:pt>
                <c:pt idx="3">
                  <c:v>16.899999999999999</c:v>
                </c:pt>
                <c:pt idx="4">
                  <c:v>21.125</c:v>
                </c:pt>
                <c:pt idx="5">
                  <c:v>26.40625</c:v>
                </c:pt>
                <c:pt idx="6">
                  <c:v>33.0078125</c:v>
                </c:pt>
                <c:pt idx="7">
                  <c:v>41.259765625</c:v>
                </c:pt>
                <c:pt idx="8">
                  <c:v>51.57470703125</c:v>
                </c:pt>
                <c:pt idx="9">
                  <c:v>64.4683837890625</c:v>
                </c:pt>
                <c:pt idx="10">
                  <c:v>80.585479736328125</c:v>
                </c:pt>
                <c:pt idx="11" formatCode="0.0%">
                  <c:v>0.25545920785526155</c:v>
                </c:pt>
              </c:numCache>
            </c:numRef>
          </c:val>
          <c:extLst>
            <c:ext xmlns:c16="http://schemas.microsoft.com/office/drawing/2014/chart" uri="{C3380CC4-5D6E-409C-BE32-E72D297353CC}">
              <c16:uniqueId val="{00000004-0E5D-504D-A809-CAC9CA3F2938}"/>
            </c:ext>
          </c:extLst>
        </c:ser>
        <c:ser>
          <c:idx val="5"/>
          <c:order val="5"/>
          <c:tx>
            <c:strRef>
              <c:f>Sheet1!$A$7</c:f>
              <c:strCache>
                <c:ptCount val="1"/>
                <c:pt idx="0">
                  <c:v>Asia &amp; Oceania</c:v>
                </c:pt>
              </c:strCache>
            </c:strRef>
          </c:tx>
          <c:spPr>
            <a:solidFill>
              <a:srgbClr val="F26722"/>
            </a:solidFill>
          </c:spPr>
          <c:invertIfNegative val="0"/>
          <c:dPt>
            <c:idx val="11"/>
            <c:invertIfNegative val="0"/>
            <c:bubble3D val="0"/>
            <c:spPr>
              <a:solidFill>
                <a:srgbClr val="F26722"/>
              </a:solidFill>
              <a:ln>
                <a:noFill/>
              </a:ln>
              <a:effectLst/>
            </c:spPr>
            <c:extLst>
              <c:ext xmlns:c16="http://schemas.microsoft.com/office/drawing/2014/chart" uri="{C3380CC4-5D6E-409C-BE32-E72D297353CC}">
                <c16:uniqueId val="{00000007-EB51-4383-8517-9AFF2ED27EED}"/>
              </c:ext>
            </c:extLst>
          </c:dPt>
          <c:dLbls>
            <c:delete val="1"/>
          </c:dLbls>
          <c:cat>
            <c:strRef>
              <c:f>Sheet1!$B$1:$M$1</c:f>
              <c:strCache>
                <c:ptCount val="12"/>
                <c:pt idx="0">
                  <c:v>2020</c:v>
                </c:pt>
                <c:pt idx="1">
                  <c:v>2021</c:v>
                </c:pt>
                <c:pt idx="2">
                  <c:v>2022</c:v>
                </c:pt>
                <c:pt idx="3">
                  <c:v>2023</c:v>
                </c:pt>
                <c:pt idx="4">
                  <c:v>2024</c:v>
                </c:pt>
                <c:pt idx="5">
                  <c:v>2025</c:v>
                </c:pt>
                <c:pt idx="6">
                  <c:v>2026</c:v>
                </c:pt>
                <c:pt idx="7">
                  <c:v>2027</c:v>
                </c:pt>
                <c:pt idx="8">
                  <c:v>2028</c:v>
                </c:pt>
                <c:pt idx="9">
                  <c:v>2029</c:v>
                </c:pt>
                <c:pt idx="10">
                  <c:v>2030</c:v>
                </c:pt>
                <c:pt idx="11">
                  <c:v>CAGR (2021–2030)</c:v>
                </c:pt>
              </c:strCache>
            </c:strRef>
          </c:cat>
          <c:val>
            <c:numRef>
              <c:f>Sheet1!$B$7:$M$7</c:f>
              <c:numCache>
                <c:formatCode>_(* #,##0.0_);_(* \(#,##0.0\);_(* "-"??_);_(@_)</c:formatCode>
                <c:ptCount val="12"/>
                <c:pt idx="0">
                  <c:v>157.5</c:v>
                </c:pt>
                <c:pt idx="1">
                  <c:v>182.4</c:v>
                </c:pt>
                <c:pt idx="2">
                  <c:v>213.84</c:v>
                </c:pt>
                <c:pt idx="3">
                  <c:v>248.30600000000001</c:v>
                </c:pt>
                <c:pt idx="4">
                  <c:v>315.93920000000003</c:v>
                </c:pt>
                <c:pt idx="5">
                  <c:v>401.63697199999996</c:v>
                </c:pt>
                <c:pt idx="6">
                  <c:v>517.88011720000009</c:v>
                </c:pt>
                <c:pt idx="7">
                  <c:v>650.10006752000004</c:v>
                </c:pt>
                <c:pt idx="8">
                  <c:v>802.69995959200014</c:v>
                </c:pt>
                <c:pt idx="9">
                  <c:v>971.9731420352</c:v>
                </c:pt>
                <c:pt idx="10">
                  <c:v>1185.69073221952</c:v>
                </c:pt>
                <c:pt idx="11" formatCode="0.0%">
                  <c:v>0.23119657598501311</c:v>
                </c:pt>
              </c:numCache>
            </c:numRef>
          </c:val>
          <c:extLst>
            <c:ext xmlns:c16="http://schemas.microsoft.com/office/drawing/2014/chart" uri="{C3380CC4-5D6E-409C-BE32-E72D297353CC}">
              <c16:uniqueId val="{00000005-0E5D-504D-A809-CAC9CA3F2938}"/>
            </c:ext>
          </c:extLst>
        </c:ser>
        <c:ser>
          <c:idx val="6"/>
          <c:order val="6"/>
          <c:tx>
            <c:strRef>
              <c:f>Sheet1!$A$8</c:f>
              <c:strCache>
                <c:ptCount val="1"/>
                <c:pt idx="0">
                  <c:v>Middle East &amp; Africa</c:v>
                </c:pt>
              </c:strCache>
            </c:strRef>
          </c:tx>
          <c:spPr>
            <a:solidFill>
              <a:srgbClr val="7F7F7F"/>
            </a:solidFill>
          </c:spPr>
          <c:invertIfNegative val="0"/>
          <c:dPt>
            <c:idx val="11"/>
            <c:invertIfNegative val="0"/>
            <c:bubble3D val="0"/>
            <c:spPr>
              <a:solidFill>
                <a:srgbClr val="7F7F7F"/>
              </a:solidFill>
              <a:ln>
                <a:noFill/>
              </a:ln>
              <a:effectLst/>
            </c:spPr>
            <c:extLst>
              <c:ext xmlns:c16="http://schemas.microsoft.com/office/drawing/2014/chart" uri="{C3380CC4-5D6E-409C-BE32-E72D297353CC}">
                <c16:uniqueId val="{00000009-EB51-4383-8517-9AFF2ED27EED}"/>
              </c:ext>
            </c:extLst>
          </c:dPt>
          <c:dLbls>
            <c:delete val="1"/>
          </c:dLbls>
          <c:cat>
            <c:strRef>
              <c:f>Sheet1!$B$1:$M$1</c:f>
              <c:strCache>
                <c:ptCount val="12"/>
                <c:pt idx="0">
                  <c:v>2020</c:v>
                </c:pt>
                <c:pt idx="1">
                  <c:v>2021</c:v>
                </c:pt>
                <c:pt idx="2">
                  <c:v>2022</c:v>
                </c:pt>
                <c:pt idx="3">
                  <c:v>2023</c:v>
                </c:pt>
                <c:pt idx="4">
                  <c:v>2024</c:v>
                </c:pt>
                <c:pt idx="5">
                  <c:v>2025</c:v>
                </c:pt>
                <c:pt idx="6">
                  <c:v>2026</c:v>
                </c:pt>
                <c:pt idx="7">
                  <c:v>2027</c:v>
                </c:pt>
                <c:pt idx="8">
                  <c:v>2028</c:v>
                </c:pt>
                <c:pt idx="9">
                  <c:v>2029</c:v>
                </c:pt>
                <c:pt idx="10">
                  <c:v>2030</c:v>
                </c:pt>
                <c:pt idx="11">
                  <c:v>CAGR (2021–2030)</c:v>
                </c:pt>
              </c:strCache>
            </c:strRef>
          </c:cat>
          <c:val>
            <c:numRef>
              <c:f>Sheet1!$B$8:$M$8</c:f>
              <c:numCache>
                <c:formatCode>_(* #,##0.0_);_(* \(#,##0.0\);_(* "-"??_);_(@_)</c:formatCode>
                <c:ptCount val="12"/>
                <c:pt idx="0">
                  <c:v>28</c:v>
                </c:pt>
                <c:pt idx="1">
                  <c:v>25</c:v>
                </c:pt>
                <c:pt idx="2">
                  <c:v>20</c:v>
                </c:pt>
                <c:pt idx="3">
                  <c:v>21</c:v>
                </c:pt>
                <c:pt idx="4">
                  <c:v>22</c:v>
                </c:pt>
                <c:pt idx="5">
                  <c:v>25</c:v>
                </c:pt>
                <c:pt idx="6">
                  <c:v>27</c:v>
                </c:pt>
                <c:pt idx="7">
                  <c:v>28</c:v>
                </c:pt>
                <c:pt idx="8">
                  <c:v>30</c:v>
                </c:pt>
                <c:pt idx="9">
                  <c:v>35</c:v>
                </c:pt>
                <c:pt idx="10">
                  <c:v>38</c:v>
                </c:pt>
                <c:pt idx="11" formatCode="0.0%">
                  <c:v>4.762256228722539E-2</c:v>
                </c:pt>
              </c:numCache>
            </c:numRef>
          </c:val>
          <c:extLst>
            <c:ext xmlns:c16="http://schemas.microsoft.com/office/drawing/2014/chart" uri="{C3380CC4-5D6E-409C-BE32-E72D297353CC}">
              <c16:uniqueId val="{00000006-0E5D-504D-A809-CAC9CA3F2938}"/>
            </c:ext>
          </c:extLst>
        </c:ser>
        <c:dLbls>
          <c:showLegendKey val="0"/>
          <c:showVal val="1"/>
          <c:showCatName val="0"/>
          <c:showSerName val="0"/>
          <c:showPercent val="0"/>
          <c:showBubbleSize val="0"/>
        </c:dLbls>
        <c:gapWidth val="50"/>
        <c:overlap val="100"/>
        <c:axId val="823440448"/>
        <c:axId val="823436920"/>
      </c:barChart>
      <c:catAx>
        <c:axId val="823440448"/>
        <c:scaling>
          <c:orientation val="minMax"/>
        </c:scaling>
        <c:delete val="0"/>
        <c:axPos val="b"/>
        <c:numFmt formatCode="#,##0.00" sourceLinked="0"/>
        <c:majorTickMark val="none"/>
        <c:minorTickMark val="none"/>
        <c:tickLblPos val="nextTo"/>
        <c:txPr>
          <a:bodyPr rot="0" vert="horz"/>
          <a:lstStyle/>
          <a:p>
            <a:pPr>
              <a:defRPr/>
            </a:pPr>
            <a:endParaRPr lang="en-US"/>
          </a:p>
        </c:txPr>
        <c:crossAx val="823436920"/>
        <c:crosses val="autoZero"/>
        <c:auto val="0"/>
        <c:lblAlgn val="ctr"/>
        <c:lblOffset val="50"/>
        <c:tickLblSkip val="1"/>
        <c:tickMarkSkip val="1"/>
        <c:noMultiLvlLbl val="0"/>
      </c:catAx>
      <c:valAx>
        <c:axId val="823436920"/>
        <c:scaling>
          <c:orientation val="minMax"/>
          <c:min val="0"/>
        </c:scaling>
        <c:delete val="0"/>
        <c:axPos val="l"/>
        <c:numFmt formatCode="#,##0.0" sourceLinked="0"/>
        <c:majorTickMark val="in"/>
        <c:minorTickMark val="none"/>
        <c:tickLblPos val="nextTo"/>
        <c:txPr>
          <a:bodyPr rot="0" vert="horz"/>
          <a:lstStyle/>
          <a:p>
            <a:pPr>
              <a:defRPr/>
            </a:pPr>
            <a:endParaRPr lang="en-US"/>
          </a:p>
        </c:txPr>
        <c:crossAx val="823440448"/>
        <c:crosses val="autoZero"/>
        <c:crossBetween val="between"/>
      </c:valAx>
      <c:dTable>
        <c:showHorzBorder val="1"/>
        <c:showVertBorder val="1"/>
        <c:showOutline val="0"/>
        <c:showKeys val="1"/>
      </c:dTable>
    </c:plotArea>
    <c:plotVisOnly val="1"/>
    <c:dispBlanksAs val="gap"/>
    <c:showDLblsOverMax val="0"/>
  </c:chart>
  <c:txPr>
    <a:bodyPr/>
    <a:lstStyle/>
    <a:p>
      <a:pPr>
        <a:defRPr sz="1200">
          <a:solidFill>
            <a:srgbClr val="000000"/>
          </a:solidFill>
        </a:defRPr>
      </a:pPr>
      <a:endParaRPr lang="en-US"/>
    </a:p>
  </c:txPr>
  <c:externalData r:id="rId2">
    <c:autoUpdate val="0"/>
  </c:externalData>
  <c:userShapes r:id="rId3"/>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95367917947268"/>
          <c:y val="8.589727573402095E-2"/>
          <c:w val="0.39520192347512639"/>
          <c:h val="0.71775379923287241"/>
        </c:manualLayout>
      </c:layout>
      <c:pieChart>
        <c:varyColors val="1"/>
        <c:ser>
          <c:idx val="0"/>
          <c:order val="0"/>
          <c:tx>
            <c:strRef>
              <c:f>Sheet1!$B$1</c:f>
              <c:strCache>
                <c:ptCount val="1"/>
                <c:pt idx="0">
                  <c:v>Sales</c:v>
                </c:pt>
              </c:strCache>
            </c:strRef>
          </c:tx>
          <c:dPt>
            <c:idx val="0"/>
            <c:bubble3D val="0"/>
            <c:spPr>
              <a:solidFill>
                <a:schemeClr val="accent1"/>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1-3484-4CA9-B59E-C3F814472027}"/>
              </c:ext>
            </c:extLst>
          </c:dPt>
          <c:dPt>
            <c:idx val="1"/>
            <c:bubble3D val="0"/>
            <c:spPr>
              <a:solidFill>
                <a:schemeClr val="accent2"/>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3-3484-4CA9-B59E-C3F814472027}"/>
              </c:ext>
            </c:extLst>
          </c:dPt>
          <c:dPt>
            <c:idx val="2"/>
            <c:bubble3D val="0"/>
            <c:spPr>
              <a:solidFill>
                <a:schemeClr val="accent3"/>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5-3484-4CA9-B59E-C3F814472027}"/>
              </c:ext>
            </c:extLst>
          </c:dPt>
          <c:dPt>
            <c:idx val="3"/>
            <c:bubble3D val="0"/>
            <c:spPr>
              <a:solidFill>
                <a:schemeClr val="accent4"/>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7-3484-4CA9-B59E-C3F814472027}"/>
              </c:ext>
            </c:extLst>
          </c:dPt>
          <c:dPt>
            <c:idx val="4"/>
            <c:bubble3D val="0"/>
            <c:spPr>
              <a:solidFill>
                <a:schemeClr val="accent5"/>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9-3484-4CA9-B59E-C3F814472027}"/>
              </c:ext>
            </c:extLst>
          </c:dPt>
          <c:dPt>
            <c:idx val="5"/>
            <c:bubble3D val="0"/>
            <c:spPr>
              <a:solidFill>
                <a:schemeClr val="accent6"/>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B-3484-4CA9-B59E-C3F814472027}"/>
              </c:ext>
            </c:extLst>
          </c:dPt>
          <c:dPt>
            <c:idx val="6"/>
            <c:bubble3D val="0"/>
            <c:spPr>
              <a:solidFill>
                <a:schemeClr val="accent1">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D-3484-4CA9-B59E-C3F814472027}"/>
              </c:ext>
            </c:extLst>
          </c:dPt>
          <c:dPt>
            <c:idx val="7"/>
            <c:bubble3D val="0"/>
            <c:spPr>
              <a:solidFill>
                <a:schemeClr val="accent2">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0F-3484-4CA9-B59E-C3F814472027}"/>
              </c:ext>
            </c:extLst>
          </c:dPt>
          <c:dPt>
            <c:idx val="8"/>
            <c:bubble3D val="0"/>
            <c:spPr>
              <a:solidFill>
                <a:schemeClr val="accent3">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1-3484-4CA9-B59E-C3F814472027}"/>
              </c:ext>
            </c:extLst>
          </c:dPt>
          <c:dPt>
            <c:idx val="9"/>
            <c:bubble3D val="0"/>
            <c:spPr>
              <a:solidFill>
                <a:schemeClr val="accent4">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3-3484-4CA9-B59E-C3F814472027}"/>
              </c:ext>
            </c:extLst>
          </c:dPt>
          <c:dPt>
            <c:idx val="10"/>
            <c:bubble3D val="0"/>
            <c:spPr>
              <a:solidFill>
                <a:schemeClr val="accent5">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5-3484-4CA9-B59E-C3F814472027}"/>
              </c:ext>
            </c:extLst>
          </c:dPt>
          <c:dPt>
            <c:idx val="11"/>
            <c:bubble3D val="0"/>
            <c:spPr>
              <a:solidFill>
                <a:schemeClr val="accent6">
                  <a:lumMod val="6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7-3484-4CA9-B59E-C3F814472027}"/>
              </c:ext>
            </c:extLst>
          </c:dPt>
          <c:dPt>
            <c:idx val="12"/>
            <c:bubble3D val="0"/>
            <c:spPr>
              <a:solidFill>
                <a:schemeClr val="accent1">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9-3484-4CA9-B59E-C3F814472027}"/>
              </c:ext>
            </c:extLst>
          </c:dPt>
          <c:dPt>
            <c:idx val="13"/>
            <c:bubble3D val="0"/>
            <c:spPr>
              <a:solidFill>
                <a:schemeClr val="accent2">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B-3484-4CA9-B59E-C3F814472027}"/>
              </c:ext>
            </c:extLst>
          </c:dPt>
          <c:dPt>
            <c:idx val="14"/>
            <c:bubble3D val="0"/>
            <c:spPr>
              <a:solidFill>
                <a:schemeClr val="accent3">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D-3484-4CA9-B59E-C3F814472027}"/>
              </c:ext>
            </c:extLst>
          </c:dPt>
          <c:dPt>
            <c:idx val="15"/>
            <c:bubble3D val="0"/>
            <c:spPr>
              <a:solidFill>
                <a:schemeClr val="accent4">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1F-3484-4CA9-B59E-C3F814472027}"/>
              </c:ext>
            </c:extLst>
          </c:dPt>
          <c:dPt>
            <c:idx val="16"/>
            <c:bubble3D val="0"/>
            <c:spPr>
              <a:solidFill>
                <a:schemeClr val="accent5">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1-3484-4CA9-B59E-C3F814472027}"/>
              </c:ext>
            </c:extLst>
          </c:dPt>
          <c:dPt>
            <c:idx val="17"/>
            <c:bubble3D val="0"/>
            <c:spPr>
              <a:solidFill>
                <a:schemeClr val="accent6">
                  <a:lumMod val="80000"/>
                  <a:lumOff val="2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3-3484-4CA9-B59E-C3F814472027}"/>
              </c:ext>
            </c:extLst>
          </c:dPt>
          <c:dPt>
            <c:idx val="18"/>
            <c:bubble3D val="0"/>
            <c:spPr>
              <a:solidFill>
                <a:schemeClr val="accent1">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5-3484-4CA9-B59E-C3F814472027}"/>
              </c:ext>
            </c:extLst>
          </c:dPt>
          <c:dPt>
            <c:idx val="19"/>
            <c:bubble3D val="0"/>
            <c:spPr>
              <a:solidFill>
                <a:schemeClr val="accent2">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7-3484-4CA9-B59E-C3F814472027}"/>
              </c:ext>
            </c:extLst>
          </c:dPt>
          <c:dPt>
            <c:idx val="20"/>
            <c:bubble3D val="0"/>
            <c:spPr>
              <a:solidFill>
                <a:schemeClr val="accent3">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9-3484-4CA9-B59E-C3F814472027}"/>
              </c:ext>
            </c:extLst>
          </c:dPt>
          <c:dPt>
            <c:idx val="21"/>
            <c:bubble3D val="0"/>
            <c:spPr>
              <a:solidFill>
                <a:schemeClr val="accent4">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B-3484-4CA9-B59E-C3F814472027}"/>
              </c:ext>
            </c:extLst>
          </c:dPt>
          <c:dPt>
            <c:idx val="22"/>
            <c:bubble3D val="0"/>
            <c:spPr>
              <a:solidFill>
                <a:schemeClr val="accent5">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D-3484-4CA9-B59E-C3F814472027}"/>
              </c:ext>
            </c:extLst>
          </c:dPt>
          <c:dPt>
            <c:idx val="23"/>
            <c:bubble3D val="0"/>
            <c:spPr>
              <a:solidFill>
                <a:schemeClr val="accent6">
                  <a:lumMod val="8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2F-3484-4CA9-B59E-C3F814472027}"/>
              </c:ext>
            </c:extLst>
          </c:dPt>
          <c:dPt>
            <c:idx val="24"/>
            <c:bubble3D val="0"/>
            <c:spPr>
              <a:solidFill>
                <a:schemeClr val="accent1">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1-3484-4CA9-B59E-C3F814472027}"/>
              </c:ext>
            </c:extLst>
          </c:dPt>
          <c:dPt>
            <c:idx val="25"/>
            <c:bubble3D val="0"/>
            <c:spPr>
              <a:solidFill>
                <a:schemeClr val="accent2">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3-3484-4CA9-B59E-C3F814472027}"/>
              </c:ext>
            </c:extLst>
          </c:dPt>
          <c:dPt>
            <c:idx val="26"/>
            <c:bubble3D val="0"/>
            <c:spPr>
              <a:solidFill>
                <a:schemeClr val="accent3">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5-3484-4CA9-B59E-C3F814472027}"/>
              </c:ext>
            </c:extLst>
          </c:dPt>
          <c:dPt>
            <c:idx val="27"/>
            <c:bubble3D val="0"/>
            <c:spPr>
              <a:solidFill>
                <a:schemeClr val="accent4">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7-3484-4CA9-B59E-C3F814472027}"/>
              </c:ext>
            </c:extLst>
          </c:dPt>
          <c:dPt>
            <c:idx val="28"/>
            <c:bubble3D val="0"/>
            <c:spPr>
              <a:solidFill>
                <a:schemeClr val="accent5">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9-3484-4CA9-B59E-C3F814472027}"/>
              </c:ext>
            </c:extLst>
          </c:dPt>
          <c:dPt>
            <c:idx val="29"/>
            <c:bubble3D val="0"/>
            <c:spPr>
              <a:solidFill>
                <a:schemeClr val="accent6">
                  <a:lumMod val="60000"/>
                  <a:lumOff val="4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B-3484-4CA9-B59E-C3F814472027}"/>
              </c:ext>
            </c:extLst>
          </c:dPt>
          <c:dPt>
            <c:idx val="30"/>
            <c:bubble3D val="0"/>
            <c:spPr>
              <a:solidFill>
                <a:schemeClr val="accent1">
                  <a:lumMod val="5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D-3484-4CA9-B59E-C3F814472027}"/>
              </c:ext>
            </c:extLst>
          </c:dPt>
          <c:dPt>
            <c:idx val="31"/>
            <c:bubble3D val="0"/>
            <c:spPr>
              <a:solidFill>
                <a:schemeClr val="accent2">
                  <a:lumMod val="50000"/>
                </a:schemeClr>
              </a:solidFill>
              <a:ln>
                <a:noFill/>
              </a:ln>
              <a:effectLst>
                <a:outerShdw blurRad="63500" sx="102000" sy="102000" algn="ctr" rotWithShape="0">
                  <a:prstClr val="black">
                    <a:alpha val="20000"/>
                  </a:prstClr>
                </a:outerShdw>
              </a:effectLst>
            </c:spPr>
            <c:extLst>
              <c:ext xmlns:c16="http://schemas.microsoft.com/office/drawing/2014/chart" uri="{C3380CC4-5D6E-409C-BE32-E72D297353CC}">
                <c16:uniqueId val="{0000003F-3484-4CA9-B59E-C3F814472027}"/>
              </c:ext>
            </c:extLst>
          </c:dPt>
          <c:dLbls>
            <c:dLbl>
              <c:idx val="0"/>
              <c:layout>
                <c:manualLayout>
                  <c:x val="2.4415363508828475E-2"/>
                  <c:y val="1.2706241838876283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3484-4CA9-B59E-C3F814472027}"/>
                </c:ext>
              </c:extLst>
            </c:dLbl>
            <c:dLbl>
              <c:idx val="1"/>
              <c:layout>
                <c:manualLayout>
                  <c:x val="0"/>
                  <c:y val="4.9261083743842365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3484-4CA9-B59E-C3F814472027}"/>
                </c:ext>
              </c:extLst>
            </c:dLbl>
            <c:dLbl>
              <c:idx val="2"/>
              <c:layout>
                <c:manualLayout>
                  <c:x val="-6.1124642893112292E-3"/>
                  <c:y val="4.9261083743842365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3484-4CA9-B59E-C3F814472027}"/>
                </c:ext>
              </c:extLst>
            </c:dLbl>
            <c:dLbl>
              <c:idx val="3"/>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07-3484-4CA9-B59E-C3F814472027}"/>
                </c:ext>
              </c:extLst>
            </c:dLbl>
            <c:dLbl>
              <c:idx val="4"/>
              <c:layout>
                <c:manualLayout>
                  <c:x val="1.7648182197530116E-2"/>
                  <c:y val="2.2894354810942203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9-3484-4CA9-B59E-C3F814472027}"/>
                </c:ext>
              </c:extLst>
            </c:dLbl>
            <c:dLbl>
              <c:idx val="5"/>
              <c:layout>
                <c:manualLayout>
                  <c:x val="1.8908766640210937E-2"/>
                  <c:y val="9.1577419243768811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3484-4CA9-B59E-C3F814472027}"/>
                </c:ext>
              </c:extLst>
            </c:dLbl>
            <c:dLbl>
              <c:idx val="6"/>
              <c:layout>
                <c:manualLayout>
                  <c:x val="2.6889358007172823E-2"/>
                  <c:y val="3.0494559526133675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3484-4CA9-B59E-C3F814472027}"/>
                </c:ext>
              </c:extLst>
            </c:dLbl>
            <c:dLbl>
              <c:idx val="7"/>
              <c:layout>
                <c:manualLayout>
                  <c:x val="8.2705654922254693E-2"/>
                  <c:y val="9.9155090145168368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9089984017349773"/>
                      <c:h val="9.1587115998807922E-2"/>
                    </c:manualLayout>
                  </c15:layout>
                </c:ext>
                <c:ext xmlns:c16="http://schemas.microsoft.com/office/drawing/2014/chart" uri="{C3380CC4-5D6E-409C-BE32-E72D297353CC}">
                  <c16:uniqueId val="{0000000F-3484-4CA9-B59E-C3F814472027}"/>
                </c:ext>
              </c:extLst>
            </c:dLbl>
            <c:dLbl>
              <c:idx val="8"/>
              <c:layout>
                <c:manualLayout>
                  <c:x val="7.6405803616389238E-3"/>
                  <c:y val="4.7221928376233093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1-3484-4CA9-B59E-C3F814472027}"/>
                </c:ext>
              </c:extLst>
            </c:dLbl>
            <c:dLbl>
              <c:idx val="9"/>
              <c:layout>
                <c:manualLayout>
                  <c:x val="6.1124642893111312E-3"/>
                  <c:y val="0"/>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3-3484-4CA9-B59E-C3F814472027}"/>
                </c:ext>
              </c:extLst>
            </c:dLbl>
            <c:dLbl>
              <c:idx val="10"/>
              <c:layout>
                <c:manualLayout>
                  <c:x val="-2.9791481466629913E-3"/>
                  <c:y val="-1.1232114686656504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5-3484-4CA9-B59E-C3F814472027}"/>
                </c:ext>
              </c:extLst>
            </c:dLbl>
            <c:dLbl>
              <c:idx val="11"/>
              <c:layout>
                <c:manualLayout>
                  <c:x val="-1.0923609376842464E-2"/>
                  <c:y val="-3.5751788418665283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7-3484-4CA9-B59E-C3F814472027}"/>
                </c:ext>
              </c:extLst>
            </c:dLbl>
            <c:dLbl>
              <c:idx val="12"/>
              <c:layout>
                <c:manualLayout>
                  <c:x val="-7.0037844231870085E-18"/>
                  <c:y val="4.7221928376232226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19-3484-4CA9-B59E-C3F814472027}"/>
                </c:ext>
              </c:extLst>
            </c:dLbl>
            <c:dLbl>
              <c:idx val="13"/>
              <c:layout>
                <c:manualLayout>
                  <c:x val="-8.5767546305649898E-3"/>
                  <c:y val="-1.477821207651679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4752631884653944"/>
                      <c:h val="0.1044436402468534"/>
                    </c:manualLayout>
                  </c15:layout>
                </c:ext>
                <c:ext xmlns:c16="http://schemas.microsoft.com/office/drawing/2014/chart" uri="{C3380CC4-5D6E-409C-BE32-E72D297353CC}">
                  <c16:uniqueId val="{0000001B-3484-4CA9-B59E-C3F814472027}"/>
                </c:ext>
              </c:extLst>
            </c:dLbl>
            <c:dLbl>
              <c:idx val="14"/>
              <c:layout>
                <c:manualLayout>
                  <c:x val="-3.3154330643860594E-3"/>
                  <c:y val="-8.5622292741700218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4622729570717705"/>
                      <c:h val="0.11868923161803754"/>
                    </c:manualLayout>
                  </c15:layout>
                </c:ext>
                <c:ext xmlns:c16="http://schemas.microsoft.com/office/drawing/2014/chart" uri="{C3380CC4-5D6E-409C-BE32-E72D297353CC}">
                  <c16:uniqueId val="{0000001D-3484-4CA9-B59E-C3F814472027}"/>
                </c:ext>
              </c:extLst>
            </c:dLbl>
            <c:dLbl>
              <c:idx val="15"/>
              <c:layout>
                <c:manualLayout>
                  <c:x val="7.6404603500905806E-3"/>
                  <c:y val="-0.11241216504249191"/>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011077397635174"/>
                      <c:h val="0.11815270935960591"/>
                    </c:manualLayout>
                  </c15:layout>
                </c:ext>
                <c:ext xmlns:c16="http://schemas.microsoft.com/office/drawing/2014/chart" uri="{C3380CC4-5D6E-409C-BE32-E72D297353CC}">
                  <c16:uniqueId val="{0000001F-3484-4CA9-B59E-C3F814472027}"/>
                </c:ext>
              </c:extLst>
            </c:dLbl>
            <c:dLbl>
              <c:idx val="16"/>
              <c:layout>
                <c:manualLayout>
                  <c:x val="3.5416090941786771E-2"/>
                  <c:y val="-1.3742717501942423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0.16436347403084975"/>
                      <c:h val="8.8595981543184696E-2"/>
                    </c:manualLayout>
                  </c15:layout>
                </c:ext>
                <c:ext xmlns:c16="http://schemas.microsoft.com/office/drawing/2014/chart" uri="{C3380CC4-5D6E-409C-BE32-E72D297353CC}">
                  <c16:uniqueId val="{00000021-3484-4CA9-B59E-C3F814472027}"/>
                </c:ext>
              </c:extLst>
            </c:dLbl>
            <c:dLbl>
              <c:idx val="17"/>
              <c:layout>
                <c:manualLayout>
                  <c:x val="6.0711931229482487E-3"/>
                  <c:y val="-2.842519685039379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23-3484-4CA9-B59E-C3F814472027}"/>
                </c:ext>
              </c:extLst>
            </c:dLbl>
            <c:dLbl>
              <c:idx val="18"/>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5-3484-4CA9-B59E-C3F814472027}"/>
                </c:ext>
              </c:extLst>
            </c:dLbl>
            <c:dLbl>
              <c:idx val="19"/>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7-3484-4CA9-B59E-C3F814472027}"/>
                </c:ext>
              </c:extLst>
            </c:dLbl>
            <c:dLbl>
              <c:idx val="20"/>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9-3484-4CA9-B59E-C3F814472027}"/>
                </c:ext>
              </c:extLst>
            </c:dLbl>
            <c:dLbl>
              <c:idx val="21"/>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B-3484-4CA9-B59E-C3F814472027}"/>
                </c:ext>
              </c:extLst>
            </c:dLbl>
            <c:dLbl>
              <c:idx val="22"/>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D-3484-4CA9-B59E-C3F814472027}"/>
                </c:ext>
              </c:extLst>
            </c:dLbl>
            <c:dLbl>
              <c:idx val="23"/>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2F-3484-4CA9-B59E-C3F814472027}"/>
                </c:ext>
              </c:extLst>
            </c:dLbl>
            <c:dLbl>
              <c:idx val="24"/>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31-3484-4CA9-B59E-C3F814472027}"/>
                </c:ext>
              </c:extLst>
            </c:dLbl>
            <c:dLbl>
              <c:idx val="25"/>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33-3484-4CA9-B59E-C3F814472027}"/>
                </c:ext>
              </c:extLst>
            </c:dLbl>
            <c:dLbl>
              <c:idx val="26"/>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35-3484-4CA9-B59E-C3F814472027}"/>
                </c:ext>
              </c:extLst>
            </c:dLbl>
            <c:dLbl>
              <c:idx val="27"/>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37-3484-4CA9-B59E-C3F814472027}"/>
                </c:ext>
              </c:extLst>
            </c:dLbl>
            <c:dLbl>
              <c:idx val="28"/>
              <c:layout>
                <c:manualLayout>
                  <c:x val="-0.1492063492063492"/>
                  <c:y val="-4.9261083743842478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39-3484-4CA9-B59E-C3F814472027}"/>
                </c:ext>
              </c:extLst>
            </c:dLbl>
            <c:dLbl>
              <c:idx val="29"/>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extLst>
                <c:ext xmlns:c16="http://schemas.microsoft.com/office/drawing/2014/chart" uri="{C3380CC4-5D6E-409C-BE32-E72D297353CC}">
                  <c16:uniqueId val="{0000003B-3484-4CA9-B59E-C3F814472027}"/>
                </c:ext>
              </c:extLst>
            </c:dLbl>
            <c:dLbl>
              <c:idx val="30"/>
              <c:layout>
                <c:manualLayout>
                  <c:x val="9.3650856142982131E-2"/>
                  <c:y val="4.9261083743842365E-3"/>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15:layout>
                    <c:manualLayout>
                      <c:w val="9.8888888888888873E-2"/>
                      <c:h val="7.3300492610837445E-2"/>
                    </c:manualLayout>
                  </c15:layout>
                </c:ext>
                <c:ext xmlns:c16="http://schemas.microsoft.com/office/drawing/2014/chart" uri="{C3380CC4-5D6E-409C-BE32-E72D297353CC}">
                  <c16:uniqueId val="{0000003D-3484-4CA9-B59E-C3F814472027}"/>
                </c:ext>
              </c:extLst>
            </c:dLbl>
            <c:dLbl>
              <c:idx val="31"/>
              <c:layout>
                <c:manualLayout>
                  <c:x val="0.20158730158730159"/>
                  <c:y val="-1.4778325123152709E-2"/>
                </c:manualLayout>
              </c:layout>
              <c:spPr>
                <a:noFill/>
                <a:ln>
                  <a:noFill/>
                </a:ln>
                <a:effectLst/>
              </c:spPr>
              <c:txPr>
                <a:bodyPr rot="0" spcFirstLastPara="1" vertOverflow="ellipsis" vert="horz" wrap="square" anchor="ctr" anchorCtr="1"/>
                <a:lstStyle/>
                <a:p>
                  <a:pPr>
                    <a:defRPr sz="1400" b="1" i="0" u="none" strike="noStrike" kern="1200" spc="0" baseline="0">
                      <a:solidFill>
                        <a:srgbClr val="000000"/>
                      </a:solidFill>
                      <a:latin typeface="+mn-lt"/>
                      <a:ea typeface="+mn-ea"/>
                      <a:cs typeface="+mn-cs"/>
                    </a:defRPr>
                  </a:pPr>
                  <a:endParaRPr lang="en-US"/>
                </a:p>
              </c:txPr>
              <c:dLblPos val="bestFi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3F-3484-4CA9-B59E-C3F814472027}"/>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spc="0" baseline="0">
                    <a:solidFill>
                      <a:srgbClr val="000000"/>
                    </a:solidFill>
                    <a:latin typeface="+mn-lt"/>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extLst>
          </c:dLbls>
          <c:cat>
            <c:strRef>
              <c:f>Sheet1!$A$2:$A$14</c:f>
              <c:strCache>
                <c:ptCount val="13"/>
                <c:pt idx="0">
                  <c:v>Sonnen</c:v>
                </c:pt>
                <c:pt idx="1">
                  <c:v>Tesla</c:v>
                </c:pt>
                <c:pt idx="2">
                  <c:v>LG Chem</c:v>
                </c:pt>
                <c:pt idx="3">
                  <c:v>BYD</c:v>
                </c:pt>
                <c:pt idx="4">
                  <c:v>NEC</c:v>
                </c:pt>
                <c:pt idx="5">
                  <c:v>Kyocera</c:v>
                </c:pt>
                <c:pt idx="6">
                  <c:v>E3DC</c:v>
                </c:pt>
                <c:pt idx="7">
                  <c:v>Senec</c:v>
                </c:pt>
                <c:pt idx="8">
                  <c:v>Panasonic</c:v>
                </c:pt>
                <c:pt idx="9">
                  <c:v>Huawei</c:v>
                </c:pt>
                <c:pt idx="10">
                  <c:v>Pylontech</c:v>
                </c:pt>
                <c:pt idx="11">
                  <c:v>Sunverge</c:v>
                </c:pt>
                <c:pt idx="12">
                  <c:v>Others</c:v>
                </c:pt>
              </c:strCache>
            </c:strRef>
          </c:cat>
          <c:val>
            <c:numRef>
              <c:f>Sheet1!$B$2:$B$14</c:f>
              <c:numCache>
                <c:formatCode>0.0%</c:formatCode>
                <c:ptCount val="13"/>
                <c:pt idx="0">
                  <c:v>12.739874677719397</c:v>
                </c:pt>
                <c:pt idx="1">
                  <c:v>12.024787050031005</c:v>
                </c:pt>
                <c:pt idx="2">
                  <c:v>9.9393296563428084</c:v>
                </c:pt>
                <c:pt idx="3">
                  <c:v>9.0568192944094523</c:v>
                </c:pt>
                <c:pt idx="4">
                  <c:v>4.8089161580888353</c:v>
                </c:pt>
                <c:pt idx="5">
                  <c:v>4.5664305995235139</c:v>
                </c:pt>
                <c:pt idx="6">
                  <c:v>3.8450605397996149</c:v>
                </c:pt>
                <c:pt idx="7">
                  <c:v>3.746189745765478</c:v>
                </c:pt>
                <c:pt idx="8">
                  <c:v>3.4404882347181878</c:v>
                </c:pt>
                <c:pt idx="9">
                  <c:v>3.4077706341176857</c:v>
                </c:pt>
                <c:pt idx="10">
                  <c:v>3.3656375444665647</c:v>
                </c:pt>
                <c:pt idx="11">
                  <c:v>3.2101595900917075</c:v>
                </c:pt>
                <c:pt idx="12">
                  <c:v>25.85</c:v>
                </c:pt>
              </c:numCache>
            </c:numRef>
          </c:val>
          <c:extLst>
            <c:ext xmlns:c16="http://schemas.microsoft.com/office/drawing/2014/chart" uri="{C3380CC4-5D6E-409C-BE32-E72D297353CC}">
              <c16:uniqueId val="{00000040-3484-4CA9-B59E-C3F814472027}"/>
            </c:ext>
          </c:extLst>
        </c:ser>
        <c:dLbls>
          <c:dLblPos val="outEnd"/>
          <c:showLegendKey val="0"/>
          <c:showVal val="1"/>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spPr>
      <a:ln w="9525" cap="flat" cmpd="sng" algn="ctr">
        <a:solidFill>
          <a:schemeClr val="tx2">
            <a:lumMod val="40000"/>
            <a:lumOff val="60000"/>
          </a:schemeClr>
        </a:solidFill>
        <a:round/>
      </a:ln>
    </cs:spPr>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9">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cs:styleClr val="auto"/>
    </cs:fontRef>
    <cs:defRPr sz="1330" b="1" i="0" u="none" strike="noStrike" kern="1200" spc="0" baseline="0"/>
  </cs:dataLabel>
  <cs:dataLabelCallout>
    <cs:lnRef idx="0">
      <cs:styleClr val="auto"/>
    </cs:lnRef>
    <cs:fillRef idx="0"/>
    <cs:effectRef idx="0"/>
    <cs:fontRef idx="minor">
      <cs:styleClr val="auto"/>
    </cs:fontRef>
    <cs:spPr>
      <a:solidFill>
        <a:schemeClr val="lt1"/>
      </a:solidFill>
      <a:ln>
        <a:solidFill>
          <a:schemeClr val="phClr"/>
        </a:solidFill>
      </a:ln>
    </cs:spPr>
    <cs:defRPr sz="133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635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10000"/>
          </a:prstClr>
        </a:outerShdw>
      </a:effectLst>
      <a:scene3d>
        <a:camera prst="orthographicFront"/>
        <a:lightRig rig="threePt" dir="t"/>
      </a:scene3d>
      <a:sp3d>
        <a:bevelT w="127000" h="127000"/>
        <a:bevelB w="127000" h="127000"/>
      </a:sp3d>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baseline="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5.emf"/></Relationships>
</file>

<file path=ppt/drawings/drawing1.xml><?xml version="1.0" encoding="utf-8"?>
<c:userShapes xmlns:c="http://schemas.openxmlformats.org/drawingml/2006/chart">
  <cdr:relSizeAnchor xmlns:cdr="http://schemas.openxmlformats.org/drawingml/2006/chartDrawing">
    <cdr:from>
      <cdr:x>0.40316</cdr:x>
      <cdr:y>0.11591</cdr:y>
    </cdr:from>
    <cdr:to>
      <cdr:x>0.4225</cdr:x>
      <cdr:y>0.18932</cdr:y>
    </cdr:to>
    <cdr:sp macro="" textlink="">
      <cdr:nvSpPr>
        <cdr:cNvPr id="2" name="Freeform 1"/>
        <cdr:cNvSpPr/>
      </cdr:nvSpPr>
      <cdr:spPr>
        <a:xfrm xmlns:a="http://schemas.openxmlformats.org/drawingml/2006/main">
          <a:off x="3209734" y="673792"/>
          <a:ext cx="153989" cy="426720"/>
        </a:xfrm>
        <a:custGeom xmlns:a="http://schemas.openxmlformats.org/drawingml/2006/main">
          <a:avLst/>
          <a:gdLst>
            <a:gd name="connsiteX0" fmla="*/ 0 w 249936"/>
            <a:gd name="connsiteY0" fmla="*/ 298704 h 298704"/>
            <a:gd name="connsiteX1" fmla="*/ 0 w 249936"/>
            <a:gd name="connsiteY1" fmla="*/ 0 h 298704"/>
            <a:gd name="connsiteX2" fmla="*/ 249936 w 249936"/>
            <a:gd name="connsiteY2" fmla="*/ 0 h 298704"/>
          </a:gdLst>
          <a:ahLst/>
          <a:cxnLst>
            <a:cxn ang="0">
              <a:pos x="connsiteX0" y="connsiteY0"/>
            </a:cxn>
            <a:cxn ang="0">
              <a:pos x="connsiteX1" y="connsiteY1"/>
            </a:cxn>
            <a:cxn ang="0">
              <a:pos x="connsiteX2" y="connsiteY2"/>
            </a:cxn>
          </a:cxnLst>
          <a:rect l="l" t="t" r="r" b="b"/>
          <a:pathLst>
            <a:path w="249936" h="298704">
              <a:moveTo>
                <a:pt x="0" y="298704"/>
              </a:moveTo>
              <a:lnTo>
                <a:pt x="0" y="0"/>
              </a:lnTo>
              <a:lnTo>
                <a:pt x="249936" y="0"/>
              </a:lnTo>
            </a:path>
          </a:pathLst>
        </a:custGeom>
        <a:ln xmlns:a="http://schemas.openxmlformats.org/drawingml/2006/main">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pPr algn="ctr"/>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47555</cdr:x>
      <cdr:y>0.104</cdr:y>
    </cdr:from>
    <cdr:to>
      <cdr:x>0.47555</cdr:x>
      <cdr:y>0.164</cdr:y>
    </cdr:to>
    <cdr:sp macro="" textlink="">
      <cdr:nvSpPr>
        <cdr:cNvPr id="2" name="Freeform 1"/>
        <cdr:cNvSpPr/>
      </cdr:nvSpPr>
      <cdr:spPr>
        <a:xfrm xmlns:a="http://schemas.openxmlformats.org/drawingml/2006/main">
          <a:off x="2977810" y="475488"/>
          <a:ext cx="0" cy="274320"/>
        </a:xfrm>
        <a:custGeom xmlns:a="http://schemas.openxmlformats.org/drawingml/2006/main">
          <a:avLst/>
          <a:gdLst>
            <a:gd name="connsiteX0" fmla="*/ 0 w 0"/>
            <a:gd name="connsiteY0" fmla="*/ 274320 h 274320"/>
            <a:gd name="connsiteX1" fmla="*/ 0 w 0"/>
            <a:gd name="connsiteY1" fmla="*/ 0 h 274320"/>
          </a:gdLst>
          <a:ahLst/>
          <a:cxnLst>
            <a:cxn ang="0">
              <a:pos x="connsiteX0" y="connsiteY0"/>
            </a:cxn>
            <a:cxn ang="0">
              <a:pos x="connsiteX1" y="connsiteY1"/>
            </a:cxn>
          </a:cxnLst>
          <a:rect l="l" t="t" r="r" b="b"/>
          <a:pathLst>
            <a:path h="274320">
              <a:moveTo>
                <a:pt x="0" y="274320"/>
              </a:moveTo>
              <a:lnTo>
                <a:pt x="0" y="0"/>
              </a:lnTo>
            </a:path>
          </a:pathLst>
        </a:custGeom>
        <a:ln xmlns:a="http://schemas.openxmlformats.org/drawingml/2006/main">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vertOverflow="clip" lIns="0" rIns="36000" rtlCol="0" anchor="ctr" anchorCtr="0"/>
        <a:lstStyle xmlns:a="http://schemas.openxmlformats.org/drawingml/2006/main"/>
        <a:p xmlns:a="http://schemas.openxmlformats.org/drawingml/2006/main">
          <a:endParaRPr lang="en-US"/>
        </a:p>
      </cdr:txBody>
    </cdr:sp>
  </cdr:relSizeAnchor>
  <cdr:relSizeAnchor xmlns:cdr="http://schemas.openxmlformats.org/drawingml/2006/chartDrawing">
    <cdr:from>
      <cdr:x>0.4965</cdr:x>
      <cdr:y>0.09889</cdr:y>
    </cdr:from>
    <cdr:to>
      <cdr:x>0.53642</cdr:x>
      <cdr:y>0.16333</cdr:y>
    </cdr:to>
    <cdr:sp macro="" textlink="">
      <cdr:nvSpPr>
        <cdr:cNvPr id="3" name="Freeform 2"/>
        <cdr:cNvSpPr/>
      </cdr:nvSpPr>
      <cdr:spPr>
        <a:xfrm xmlns:a="http://schemas.openxmlformats.org/drawingml/2006/main">
          <a:off x="3109022" y="452120"/>
          <a:ext cx="249936" cy="294640"/>
        </a:xfrm>
        <a:custGeom xmlns:a="http://schemas.openxmlformats.org/drawingml/2006/main">
          <a:avLst/>
          <a:gdLst>
            <a:gd name="connsiteX0" fmla="*/ 0 w 249936"/>
            <a:gd name="connsiteY0" fmla="*/ 298704 h 298704"/>
            <a:gd name="connsiteX1" fmla="*/ 0 w 249936"/>
            <a:gd name="connsiteY1" fmla="*/ 0 h 298704"/>
            <a:gd name="connsiteX2" fmla="*/ 249936 w 249936"/>
            <a:gd name="connsiteY2" fmla="*/ 0 h 298704"/>
          </a:gdLst>
          <a:ahLst/>
          <a:cxnLst>
            <a:cxn ang="0">
              <a:pos x="connsiteX0" y="connsiteY0"/>
            </a:cxn>
            <a:cxn ang="0">
              <a:pos x="connsiteX1" y="connsiteY1"/>
            </a:cxn>
            <a:cxn ang="0">
              <a:pos x="connsiteX2" y="connsiteY2"/>
            </a:cxn>
          </a:cxnLst>
          <a:rect l="l" t="t" r="r" b="b"/>
          <a:pathLst>
            <a:path w="249936" h="298704">
              <a:moveTo>
                <a:pt x="0" y="298704"/>
              </a:moveTo>
              <a:lnTo>
                <a:pt x="0" y="0"/>
              </a:lnTo>
              <a:lnTo>
                <a:pt x="249936" y="0"/>
              </a:lnTo>
            </a:path>
          </a:pathLst>
        </a:custGeom>
        <a:ln xmlns:a="http://schemas.openxmlformats.org/drawingml/2006/main">
          <a:solidFill>
            <a:schemeClr val="bg1">
              <a:lumMod val="50000"/>
            </a:schemeClr>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horz" wrap="square" lIns="91440" tIns="45720" rIns="91440" bIns="45720" numCol="1" spcCol="0" rtlCol="0" fromWordArt="0" anchor="ctr" anchorCtr="0" forceAA="0" compatLnSpc="1">
          <a:prstTxWarp prst="textNoShape">
            <a:avLst/>
          </a:prstTxWarp>
          <a:no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endParaRPr lang="en-US"/>
        </a:p>
      </cdr:txBody>
    </cdr:sp>
  </cdr:relSizeAnchor>
</c:userShapes>
</file>

<file path=ppt/drawings/drawing3.xml><?xml version="1.0" encoding="utf-8"?>
<c:userShapes xmlns:c="http://schemas.openxmlformats.org/drawingml/2006/chart">
  <cdr:relSizeAnchor xmlns:cdr="http://schemas.openxmlformats.org/drawingml/2006/chartDrawing">
    <cdr:from>
      <cdr:x>0.43279</cdr:x>
      <cdr:y>0.91369</cdr:y>
    </cdr:from>
    <cdr:to>
      <cdr:x>1</cdr:x>
      <cdr:y>0.98214</cdr:y>
    </cdr:to>
    <cdr:sp macro="" textlink="">
      <cdr:nvSpPr>
        <cdr:cNvPr id="2" name="TextBox 1"/>
        <cdr:cNvSpPr txBox="1"/>
      </cdr:nvSpPr>
      <cdr:spPr>
        <a:xfrm xmlns:a="http://schemas.openxmlformats.org/drawingml/2006/main">
          <a:off x="2514600" y="2924175"/>
          <a:ext cx="3295650" cy="21907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latin typeface="Arial"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43279</cdr:x>
      <cdr:y>0.91369</cdr:y>
    </cdr:from>
    <cdr:to>
      <cdr:x>1</cdr:x>
      <cdr:y>0.98214</cdr:y>
    </cdr:to>
    <cdr:sp macro="" textlink="">
      <cdr:nvSpPr>
        <cdr:cNvPr id="2" name="TextBox 1"/>
        <cdr:cNvSpPr txBox="1"/>
      </cdr:nvSpPr>
      <cdr:spPr>
        <a:xfrm xmlns:a="http://schemas.openxmlformats.org/drawingml/2006/main">
          <a:off x="2514600" y="2924175"/>
          <a:ext cx="3295650" cy="21907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latin typeface="Arial"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BB321ED-B2C9-0D48-956F-A92D3C19091A}" type="datetimeFigureOut">
              <a:rPr lang="en-US" smtClean="0"/>
              <a:t>5/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05A919-F8AD-A64A-BEA2-B66A6D0F2D45}" type="slidenum">
              <a:rPr lang="en-US" smtClean="0"/>
              <a:t>‹#›</a:t>
            </a:fld>
            <a:endParaRPr lang="en-US"/>
          </a:p>
        </p:txBody>
      </p:sp>
    </p:spTree>
    <p:extLst>
      <p:ext uri="{BB962C8B-B14F-4D97-AF65-F5344CB8AC3E}">
        <p14:creationId xmlns:p14="http://schemas.microsoft.com/office/powerpoint/2010/main" val="15337141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982BA8D8-63D8-4BAA-9661-CDE7B8F3246A}"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3026697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82BA8D8-63D8-4BAA-9661-CDE7B8F3246A}"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40405021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A5EA021-A136-7342-9764-5428CFE3BE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25723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82BA8D8-63D8-4BAA-9661-CDE7B8F3246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54028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A5EA021-A136-7342-9764-5428CFE3BE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84171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A5EA021-A136-7342-9764-5428CFE3BE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0527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A5EA021-A136-7342-9764-5428CFE3BE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1525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CA5EA021-A136-7342-9764-5428CFE3BE7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32353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2134599"/>
            <a:ext cx="9490656" cy="1430024"/>
          </a:xfrm>
        </p:spPr>
        <p:txBody>
          <a:bodyPr anchor="t" anchorCtr="0">
            <a:normAutofit/>
          </a:bodyPr>
          <a:lstStyle>
            <a:lvl1pPr algn="l">
              <a:defRPr sz="5000" baseline="0">
                <a:solidFill>
                  <a:schemeClr val="tx1"/>
                </a:solidFill>
                <a:latin typeface="Montserrat Light" charset="0"/>
              </a:defRPr>
            </a:lvl1pPr>
          </a:lstStyle>
          <a:p>
            <a:r>
              <a:rPr lang="en-US" dirty="0"/>
              <a:t>Click to edit Master title style</a:t>
            </a:r>
          </a:p>
        </p:txBody>
      </p:sp>
      <p:sp>
        <p:nvSpPr>
          <p:cNvPr id="3" name="Subtitle 2"/>
          <p:cNvSpPr>
            <a:spLocks noGrp="1"/>
          </p:cNvSpPr>
          <p:nvPr>
            <p:ph type="subTitle" idx="1"/>
          </p:nvPr>
        </p:nvSpPr>
        <p:spPr>
          <a:xfrm>
            <a:off x="838200" y="3656699"/>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2621" y="5171450"/>
            <a:ext cx="3669227" cy="1023327"/>
          </a:xfrm>
          <a:prstGeom prst="rect">
            <a:avLst/>
          </a:prstGeom>
        </p:spPr>
      </p:pic>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12621" y="5171450"/>
            <a:ext cx="3669227" cy="1023327"/>
          </a:xfrm>
          <a:prstGeom prst="rect">
            <a:avLst/>
          </a:prstGeom>
        </p:spPr>
      </p:pic>
      <p:pic>
        <p:nvPicPr>
          <p:cNvPr id="15" name="Picture 14">
            <a:extLst>
              <a:ext uri="{FF2B5EF4-FFF2-40B4-BE49-F238E27FC236}">
                <a16:creationId xmlns:a16="http://schemas.microsoft.com/office/drawing/2014/main" id="{7B275C16-FC74-442C-8007-1C833F80D831}"/>
              </a:ext>
            </a:extLst>
          </p:cNvPr>
          <p:cNvPicPr>
            <a:picLocks noChangeAspect="1"/>
          </p:cNvPicPr>
          <p:nvPr userDrawn="1"/>
        </p:nvPicPr>
        <p:blipFill rotWithShape="1">
          <a:blip r:embed="rId4"/>
          <a:srcRect r="41644"/>
          <a:stretch/>
        </p:blipFill>
        <p:spPr>
          <a:xfrm>
            <a:off x="872840" y="498889"/>
            <a:ext cx="4721626" cy="1357499"/>
          </a:xfrm>
          <a:prstGeom prst="rect">
            <a:avLst/>
          </a:prstGeom>
        </p:spPr>
      </p:pic>
      <p:sp>
        <p:nvSpPr>
          <p:cNvPr id="17" name="Footer Placeholder 3">
            <a:extLst>
              <a:ext uri="{FF2B5EF4-FFF2-40B4-BE49-F238E27FC236}">
                <a16:creationId xmlns:a16="http://schemas.microsoft.com/office/drawing/2014/main" id="{09403CD3-73B7-4C73-B45B-3E3F6B817136}"/>
              </a:ext>
            </a:extLst>
          </p:cNvPr>
          <p:cNvSpPr>
            <a:spLocks noGrp="1"/>
          </p:cNvSpPr>
          <p:nvPr>
            <p:ph type="ftr" sz="quarter" idx="10"/>
          </p:nvPr>
        </p:nvSpPr>
        <p:spPr>
          <a:xfrm>
            <a:off x="827773" y="6356350"/>
            <a:ext cx="6422772" cy="365125"/>
          </a:xfrm>
          <a:prstGeom prst="rect">
            <a:avLst/>
          </a:prstGeom>
        </p:spPr>
        <p:txBody>
          <a:bodyPr/>
          <a:lstStyle>
            <a:lvl1pPr>
              <a:defRPr sz="1000" baseline="0">
                <a:solidFill>
                  <a:schemeClr val="tx1"/>
                </a:solidFill>
              </a:defRPr>
            </a:lvl1pPr>
          </a:lstStyle>
          <a:p>
            <a:r>
              <a:rPr lang="en-US" dirty="0"/>
              <a:t>Source:  Continental Automated Buildings Association (CABA)</a:t>
            </a:r>
          </a:p>
        </p:txBody>
      </p:sp>
    </p:spTree>
    <p:extLst>
      <p:ext uri="{BB962C8B-B14F-4D97-AF65-F5344CB8AC3E}">
        <p14:creationId xmlns:p14="http://schemas.microsoft.com/office/powerpoint/2010/main" val="856583799"/>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0415407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2761219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4949329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0213424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011742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3840936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8214765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Base 1">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7" name="Slide Number Placeholder 5">
            <a:extLst>
              <a:ext uri="{FF2B5EF4-FFF2-40B4-BE49-F238E27FC236}">
                <a16:creationId xmlns:a16="http://schemas.microsoft.com/office/drawing/2014/main" id="{98D6F8ED-E774-4B23-8842-A836F41B6F88}"/>
              </a:ext>
            </a:extLst>
          </p:cNvPr>
          <p:cNvSpPr>
            <a:spLocks noGrp="1"/>
          </p:cNvSpPr>
          <p:nvPr>
            <p:ph type="sldNum" sz="quarter" idx="13"/>
          </p:nvPr>
        </p:nvSpPr>
        <p:spPr>
          <a:xfrm>
            <a:off x="833388" y="6356351"/>
            <a:ext cx="620027" cy="352458"/>
          </a:xfrm>
        </p:spPr>
        <p:txBody>
          <a:bodyPr/>
          <a:lstStyle/>
          <a:p>
            <a:fld id="{77EA6F80-FA2B-4F6A-8A74-04B54F29B37F}" type="slidenum">
              <a:rPr lang="en-US" smtClean="0"/>
              <a:t>‹#›</a:t>
            </a:fld>
            <a:endParaRPr lang="en-US"/>
          </a:p>
        </p:txBody>
      </p:sp>
    </p:spTree>
    <p:extLst>
      <p:ext uri="{BB962C8B-B14F-4D97-AF65-F5344CB8AC3E}">
        <p14:creationId xmlns:p14="http://schemas.microsoft.com/office/powerpoint/2010/main" val="2884212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Base 2">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3839459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Base 3">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a:prstGeom prst="rect">
            <a:avLst/>
          </a:prstGeo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a:prstGeom prst="rect">
            <a:avLst/>
          </a:prstGeo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9658450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Section Titl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1469581"/>
            <a:ext cx="9490656" cy="1430024"/>
          </a:xfrm>
        </p:spPr>
        <p:txBody>
          <a:bodyPr anchor="t" anchorCtr="0">
            <a:normAutofit/>
          </a:bodyPr>
          <a:lstStyle>
            <a:lvl1pPr algn="l">
              <a:defRPr sz="5000" baseline="0">
                <a:solidFill>
                  <a:schemeClr val="tx1"/>
                </a:solidFill>
                <a:latin typeface="Montserrat Light" charset="0"/>
              </a:defRPr>
            </a:lvl1pPr>
          </a:lstStyle>
          <a:p>
            <a:r>
              <a:rPr lang="en-US" dirty="0"/>
              <a:t>Click to edit Master title style</a:t>
            </a:r>
          </a:p>
        </p:txBody>
      </p:sp>
      <p:sp>
        <p:nvSpPr>
          <p:cNvPr id="3" name="Subtitle 2"/>
          <p:cNvSpPr>
            <a:spLocks noGrp="1"/>
          </p:cNvSpPr>
          <p:nvPr>
            <p:ph type="subTitle" idx="1"/>
          </p:nvPr>
        </p:nvSpPr>
        <p:spPr>
          <a:xfrm>
            <a:off x="838200" y="2991681"/>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714445" y="4015395"/>
            <a:ext cx="4503312" cy="2927568"/>
          </a:xfrm>
          <a:prstGeom prst="rect">
            <a:avLst/>
          </a:prstGeom>
        </p:spPr>
      </p:pic>
      <p:pic>
        <p:nvPicPr>
          <p:cNvPr id="8" name="Picture 7">
            <a:extLst>
              <a:ext uri="{FF2B5EF4-FFF2-40B4-BE49-F238E27FC236}">
                <a16:creationId xmlns:a16="http://schemas.microsoft.com/office/drawing/2014/main" id="{C2B606E0-CE49-4863-81C4-545894416E9C}"/>
              </a:ext>
            </a:extLst>
          </p:cNvPr>
          <p:cNvPicPr>
            <a:picLocks noChangeAspect="1"/>
          </p:cNvPicPr>
          <p:nvPr userDrawn="1"/>
        </p:nvPicPr>
        <p:blipFill rotWithShape="1">
          <a:blip r:embed="rId3"/>
          <a:srcRect r="59495"/>
          <a:stretch/>
        </p:blipFill>
        <p:spPr>
          <a:xfrm>
            <a:off x="858983" y="495302"/>
            <a:ext cx="1111133" cy="685800"/>
          </a:xfrm>
          <a:prstGeom prst="rect">
            <a:avLst/>
          </a:prstGeom>
        </p:spPr>
      </p:pic>
      <p:sp>
        <p:nvSpPr>
          <p:cNvPr id="10" name="Footer Placeholder 3">
            <a:extLst>
              <a:ext uri="{FF2B5EF4-FFF2-40B4-BE49-F238E27FC236}">
                <a16:creationId xmlns:a16="http://schemas.microsoft.com/office/drawing/2014/main" id="{915A414C-E130-42D6-BDED-5BBE832C0C8C}"/>
              </a:ext>
            </a:extLst>
          </p:cNvPr>
          <p:cNvSpPr>
            <a:spLocks noGrp="1"/>
          </p:cNvSpPr>
          <p:nvPr>
            <p:ph type="ftr" sz="quarter" idx="10"/>
          </p:nvPr>
        </p:nvSpPr>
        <p:spPr>
          <a:xfrm>
            <a:off x="827773" y="6356350"/>
            <a:ext cx="6422772" cy="365125"/>
          </a:xfrm>
          <a:prstGeom prst="rect">
            <a:avLst/>
          </a:prstGeom>
        </p:spPr>
        <p:txBody>
          <a:bodyPr/>
          <a:lstStyle>
            <a:lvl1pPr>
              <a:defRPr sz="1000" baseline="0">
                <a:solidFill>
                  <a:schemeClr val="tx1"/>
                </a:solidFill>
              </a:defRPr>
            </a:lvl1pPr>
          </a:lstStyle>
          <a:p>
            <a:r>
              <a:rPr lang="en-US" dirty="0"/>
              <a:t>Source:  Continental Automated Buildings Association (CABA)</a:t>
            </a:r>
          </a:p>
        </p:txBody>
      </p:sp>
    </p:spTree>
    <p:extLst>
      <p:ext uri="{BB962C8B-B14F-4D97-AF65-F5344CB8AC3E}">
        <p14:creationId xmlns:p14="http://schemas.microsoft.com/office/powerpoint/2010/main" val="2021023952"/>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able">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6873240" cy="447675"/>
          </a:xfrm>
          <a:prstGeom prst="rect">
            <a:avLst/>
          </a:prstGeom>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a:prstGeom prst="rect">
            <a:avLst/>
          </a:prstGeo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a:prstGeom prst="rect">
            <a:avLst/>
          </a:prstGeo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7232999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 Column Header">
    <p:spTree>
      <p:nvGrpSpPr>
        <p:cNvPr id="1" name=""/>
        <p:cNvGrpSpPr/>
        <p:nvPr/>
      </p:nvGrpSpPr>
      <p:grpSpPr>
        <a:xfrm>
          <a:off x="0" y="0"/>
          <a:ext cx="0" cy="0"/>
          <a:chOff x="0" y="0"/>
          <a:chExt cx="0" cy="0"/>
        </a:xfrm>
      </p:grpSpPr>
      <p:sp>
        <p:nvSpPr>
          <p:cNvPr id="4" name="Text Placeholder 18"/>
          <p:cNvSpPr>
            <a:spLocks noGrp="1"/>
          </p:cNvSpPr>
          <p:nvPr>
            <p:ph type="body" sz="quarter" idx="11"/>
          </p:nvPr>
        </p:nvSpPr>
        <p:spPr>
          <a:xfrm>
            <a:off x="230718" y="1924051"/>
            <a:ext cx="11669183" cy="4116916"/>
          </a:xfrm>
          <a:prstGeom prst="rect">
            <a:avLst/>
          </a:prstGeom>
        </p:spPr>
        <p:txBody>
          <a:bodyPr/>
          <a:lstStyle>
            <a:lvl1pPr>
              <a:defRPr sz="2133">
                <a:solidFill>
                  <a:srgbClr val="7F7F7F"/>
                </a:solidFill>
                <a:latin typeface="Arial"/>
                <a:cs typeface="Arial"/>
              </a:defRPr>
            </a:lvl1pPr>
            <a:lvl2pPr marL="461422" indent="-457189">
              <a:buClr>
                <a:srgbClr val="00AEB2"/>
              </a:buClr>
              <a:defRPr sz="2133">
                <a:solidFill>
                  <a:srgbClr val="7F7F7F"/>
                </a:solidFill>
                <a:latin typeface="Arial"/>
                <a:cs typeface="Arial"/>
              </a:defRPr>
            </a:lvl2pPr>
            <a:lvl3pPr marL="1217054" indent="-457189">
              <a:buClr>
                <a:srgbClr val="F68A1E"/>
              </a:buClr>
              <a:defRPr sz="2133">
                <a:solidFill>
                  <a:srgbClr val="7F7F7F"/>
                </a:solidFill>
                <a:latin typeface="Arial"/>
                <a:cs typeface="Arial"/>
              </a:defRPr>
            </a:lvl3pPr>
            <a:lvl4pPr marL="1826638" indent="-457189">
              <a:buClr>
                <a:srgbClr val="00707E"/>
              </a:buClr>
              <a:defRPr sz="2133">
                <a:solidFill>
                  <a:srgbClr val="7F7F7F"/>
                </a:solidFill>
                <a:latin typeface="Arial"/>
                <a:cs typeface="Arial"/>
              </a:defRPr>
            </a:lvl4pPr>
            <a:lvl5pPr marL="2446805" indent="-457189">
              <a:buClr>
                <a:srgbClr val="F0B323"/>
              </a:buClr>
              <a:defRPr sz="2133">
                <a:solidFill>
                  <a:srgbClr val="7F7F7F"/>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1"/>
          <p:cNvSpPr>
            <a:spLocks noGrp="1"/>
          </p:cNvSpPr>
          <p:nvPr>
            <p:ph type="body" sz="quarter" idx="12" hasCustomPrompt="1"/>
          </p:nvPr>
        </p:nvSpPr>
        <p:spPr>
          <a:xfrm>
            <a:off x="230718" y="1259418"/>
            <a:ext cx="11669183" cy="664633"/>
          </a:xfrm>
          <a:prstGeom prst="rect">
            <a:avLst/>
          </a:prstGeom>
        </p:spPr>
        <p:txBody>
          <a:bodyPr vert="horz"/>
          <a:lstStyle>
            <a:lvl1pPr>
              <a:defRPr sz="3200" baseline="0">
                <a:solidFill>
                  <a:srgbClr val="F05A22"/>
                </a:solidFill>
                <a:latin typeface="Arial"/>
                <a:cs typeface="Arial"/>
              </a:defRPr>
            </a:lvl1pPr>
          </a:lstStyle>
          <a:p>
            <a:pPr lvl="0"/>
            <a:r>
              <a:rPr lang="en-US" dirty="0"/>
              <a:t>Click to Enter Header</a:t>
            </a:r>
          </a:p>
        </p:txBody>
      </p:sp>
      <p:sp>
        <p:nvSpPr>
          <p:cNvPr id="8" name="Text Placeholder 7"/>
          <p:cNvSpPr>
            <a:spLocks noGrp="1"/>
          </p:cNvSpPr>
          <p:nvPr>
            <p:ph type="body" sz="quarter" idx="13" hasCustomPrompt="1"/>
          </p:nvPr>
        </p:nvSpPr>
        <p:spPr>
          <a:xfrm>
            <a:off x="298451" y="278651"/>
            <a:ext cx="8252883" cy="483348"/>
          </a:xfrm>
          <a:prstGeom prst="rect">
            <a:avLst/>
          </a:prstGeom>
        </p:spPr>
        <p:txBody>
          <a:bodyPr vert="horz"/>
          <a:lstStyle>
            <a:lvl1pPr>
              <a:defRPr sz="1867" b="1" spc="267" baseline="0">
                <a:solidFill>
                  <a:srgbClr val="FFFFFF"/>
                </a:solidFill>
                <a:latin typeface="Arial"/>
                <a:cs typeface="Arial"/>
              </a:defRPr>
            </a:lvl1pPr>
            <a:lvl2pPr>
              <a:defRPr sz="1467" b="1">
                <a:solidFill>
                  <a:srgbClr val="FFFFFF"/>
                </a:solidFill>
                <a:latin typeface="Helvetica"/>
                <a:cs typeface="Helvetica"/>
              </a:defRPr>
            </a:lvl2pPr>
            <a:lvl3pPr>
              <a:defRPr sz="1467" b="1">
                <a:solidFill>
                  <a:srgbClr val="FFFFFF"/>
                </a:solidFill>
                <a:latin typeface="Helvetica"/>
                <a:cs typeface="Helvetica"/>
              </a:defRPr>
            </a:lvl3pPr>
            <a:lvl4pPr>
              <a:defRPr sz="1467" b="1">
                <a:solidFill>
                  <a:srgbClr val="FFFFFF"/>
                </a:solidFill>
                <a:latin typeface="Helvetica"/>
                <a:cs typeface="Helvetica"/>
              </a:defRPr>
            </a:lvl4pPr>
            <a:lvl5pPr>
              <a:defRPr sz="1467" b="1">
                <a:solidFill>
                  <a:srgbClr val="FFFFFF"/>
                </a:solidFill>
                <a:latin typeface="Helvetica"/>
                <a:cs typeface="Helvetica"/>
              </a:defRPr>
            </a:lvl5pPr>
          </a:lstStyle>
          <a:p>
            <a:pPr lvl="0"/>
            <a:r>
              <a:rPr lang="en-US" dirty="0"/>
              <a:t>CLICK TO ENTER PRESENTATION OR SECTION TITLE</a:t>
            </a:r>
          </a:p>
        </p:txBody>
      </p:sp>
      <p:sp>
        <p:nvSpPr>
          <p:cNvPr id="6" name="Slide Number Placeholder 5">
            <a:extLst>
              <a:ext uri="{FF2B5EF4-FFF2-40B4-BE49-F238E27FC236}">
                <a16:creationId xmlns:a16="http://schemas.microsoft.com/office/drawing/2014/main" id="{EE135D95-A65F-4CE6-9FA9-017EFC4C9C5E}"/>
              </a:ext>
            </a:extLst>
          </p:cNvPr>
          <p:cNvSpPr>
            <a:spLocks noGrp="1"/>
          </p:cNvSpPr>
          <p:nvPr>
            <p:ph type="sldNum" sz="quarter" idx="14"/>
          </p:nvPr>
        </p:nvSpPr>
        <p:spPr>
          <a:xfrm>
            <a:off x="833388" y="6356351"/>
            <a:ext cx="620027" cy="352458"/>
          </a:xfrm>
        </p:spPr>
        <p:txBody>
          <a:bodyPr/>
          <a:lstStyle/>
          <a:p>
            <a:fld id="{77EA6F80-FA2B-4F6A-8A74-04B54F29B37F}" type="slidenum">
              <a:rPr lang="en-US" smtClean="0"/>
              <a:t>‹#›</a:t>
            </a:fld>
            <a:endParaRPr lang="en-US"/>
          </a:p>
        </p:txBody>
      </p:sp>
    </p:spTree>
    <p:extLst>
      <p:ext uri="{BB962C8B-B14F-4D97-AF65-F5344CB8AC3E}">
        <p14:creationId xmlns:p14="http://schemas.microsoft.com/office/powerpoint/2010/main" val="206939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itle" preserve="1">
  <p:cSld name="Section Title">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14445" y="4015395"/>
            <a:ext cx="4503312" cy="2927568"/>
          </a:xfrm>
          <a:prstGeom prst="rect">
            <a:avLst/>
          </a:prstGeom>
        </p:spPr>
      </p:pic>
      <p:sp>
        <p:nvSpPr>
          <p:cNvPr id="2" name="Title 1"/>
          <p:cNvSpPr>
            <a:spLocks noGrp="1"/>
          </p:cNvSpPr>
          <p:nvPr>
            <p:ph type="ctrTitle"/>
          </p:nvPr>
        </p:nvSpPr>
        <p:spPr>
          <a:xfrm>
            <a:off x="838200" y="1469581"/>
            <a:ext cx="9490656" cy="1430024"/>
          </a:xfrm>
        </p:spPr>
        <p:txBody>
          <a:bodyPr anchor="t" anchorCtr="0">
            <a:normAutofit/>
          </a:bodyPr>
          <a:lstStyle>
            <a:lvl1pPr algn="l">
              <a:defRPr sz="5000" baseline="0">
                <a:latin typeface="Montserrat Light" charset="0"/>
              </a:defRPr>
            </a:lvl1pPr>
          </a:lstStyle>
          <a:p>
            <a:r>
              <a:rPr lang="en-US"/>
              <a:t>Click to edit Master title style</a:t>
            </a:r>
          </a:p>
        </p:txBody>
      </p:sp>
      <p:sp>
        <p:nvSpPr>
          <p:cNvPr id="3" name="Subtitle 2"/>
          <p:cNvSpPr>
            <a:spLocks noGrp="1"/>
          </p:cNvSpPr>
          <p:nvPr>
            <p:ph type="subTitle" idx="1"/>
          </p:nvPr>
        </p:nvSpPr>
        <p:spPr>
          <a:xfrm>
            <a:off x="838200" y="2991681"/>
            <a:ext cx="8331558" cy="1233982"/>
          </a:xfrm>
        </p:spPr>
        <p:txBody>
          <a:bodyPr/>
          <a:lstStyle>
            <a:lvl1pPr marL="0" indent="0" algn="l">
              <a:buNone/>
              <a:defRPr sz="2400" baseline="0">
                <a:solidFill>
                  <a:schemeClr val="tx1"/>
                </a:solidFill>
                <a:latin typeface="Montserra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14445" y="4015395"/>
            <a:ext cx="4503312" cy="2927568"/>
          </a:xfrm>
          <a:prstGeom prst="rect">
            <a:avLst/>
          </a:prstGeom>
        </p:spPr>
      </p:pic>
      <p:sp>
        <p:nvSpPr>
          <p:cNvPr id="5" name="Footer Placeholder 4">
            <a:extLst>
              <a:ext uri="{FF2B5EF4-FFF2-40B4-BE49-F238E27FC236}">
                <a16:creationId xmlns:a16="http://schemas.microsoft.com/office/drawing/2014/main" id="{E8F5A961-FC43-C548-8F3F-1E08153C03A7}"/>
              </a:ext>
            </a:extLst>
          </p:cNvPr>
          <p:cNvSpPr>
            <a:spLocks noGrp="1"/>
          </p:cNvSpPr>
          <p:nvPr>
            <p:ph type="ftr" sz="quarter" idx="10"/>
          </p:nvPr>
        </p:nvSpPr>
        <p:spPr>
          <a:xfrm>
            <a:off x="827772" y="6356350"/>
            <a:ext cx="4438048" cy="365125"/>
          </a:xfrm>
          <a:prstGeom prst="rect">
            <a:avLst/>
          </a:prstGeom>
        </p:spPr>
        <p:txBody>
          <a:bodyPr/>
          <a:lstStyle>
            <a:lvl1pPr>
              <a:defRPr baseline="0">
                <a:solidFill>
                  <a:schemeClr val="tx1"/>
                </a:solidFill>
              </a:defRPr>
            </a:lvl1pPr>
          </a:lstStyle>
          <a:p>
            <a:r>
              <a:rPr lang="en-US"/>
              <a:t>© 2020, Continental Automated Buildings Association</a:t>
            </a:r>
          </a:p>
        </p:txBody>
      </p:sp>
      <p:pic>
        <p:nvPicPr>
          <p:cNvPr id="4" name="Picture 3">
            <a:extLst>
              <a:ext uri="{FF2B5EF4-FFF2-40B4-BE49-F238E27FC236}">
                <a16:creationId xmlns:a16="http://schemas.microsoft.com/office/drawing/2014/main" id="{7A6AF8FD-4170-4B8A-9E87-EEDD7DFC35F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r="40507"/>
          <a:stretch/>
        </p:blipFill>
        <p:spPr>
          <a:xfrm>
            <a:off x="872840" y="498889"/>
            <a:ext cx="4813586" cy="1357499"/>
          </a:xfrm>
          <a:prstGeom prst="rect">
            <a:avLst/>
          </a:prstGeom>
        </p:spPr>
      </p:pic>
    </p:spTree>
    <p:extLst>
      <p:ext uri="{BB962C8B-B14F-4D97-AF65-F5344CB8AC3E}">
        <p14:creationId xmlns:p14="http://schemas.microsoft.com/office/powerpoint/2010/main" val="2021023952"/>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nter Header text</a:t>
            </a:r>
          </a:p>
        </p:txBody>
      </p:sp>
      <p:sp>
        <p:nvSpPr>
          <p:cNvPr id="7" name="Slide Number Placeholder 1">
            <a:extLst>
              <a:ext uri="{FF2B5EF4-FFF2-40B4-BE49-F238E27FC236}">
                <a16:creationId xmlns:a16="http://schemas.microsoft.com/office/drawing/2014/main" id="{CB8C22A8-6163-4C22-8E17-7DEA606A98E0}"/>
              </a:ext>
            </a:extLst>
          </p:cNvPr>
          <p:cNvSpPr>
            <a:spLocks noGrp="1"/>
          </p:cNvSpPr>
          <p:nvPr>
            <p:ph type="sldNum" sz="quarter" idx="14"/>
          </p:nvPr>
        </p:nvSpPr>
        <p:spPr>
          <a:xfrm>
            <a:off x="833388" y="6356351"/>
            <a:ext cx="620027" cy="352458"/>
          </a:xfrm>
          <a:prstGeom prst="rect">
            <a:avLst/>
          </a:prstGeom>
        </p:spPr>
        <p:txBody>
          <a:bodyPr/>
          <a:lstStyle/>
          <a:p>
            <a:fld id="{4658F449-AC56-C64A-8488-86A10DE691DA}" type="slidenum">
              <a:rPr lang="en-US" smtClean="0"/>
              <a:pPr/>
              <a:t>‹#›</a:t>
            </a:fld>
            <a:endParaRPr lang="en-US" dirty="0"/>
          </a:p>
        </p:txBody>
      </p:sp>
    </p:spTree>
    <p:extLst>
      <p:ext uri="{BB962C8B-B14F-4D97-AF65-F5344CB8AC3E}">
        <p14:creationId xmlns:p14="http://schemas.microsoft.com/office/powerpoint/2010/main" val="89086075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1">
            <a:extLst>
              <a:ext uri="{FF2B5EF4-FFF2-40B4-BE49-F238E27FC236}">
                <a16:creationId xmlns:a16="http://schemas.microsoft.com/office/drawing/2014/main" id="{B7DB1B92-CBCC-4538-B658-83F136F0EF81}"/>
              </a:ext>
            </a:extLst>
          </p:cNvPr>
          <p:cNvSpPr>
            <a:spLocks noGrp="1"/>
          </p:cNvSpPr>
          <p:nvPr>
            <p:ph type="sldNum" sz="quarter" idx="14"/>
          </p:nvPr>
        </p:nvSpPr>
        <p:spPr>
          <a:xfrm>
            <a:off x="833388" y="6356351"/>
            <a:ext cx="620027" cy="352458"/>
          </a:xfrm>
          <a:prstGeom prst="rect">
            <a:avLst/>
          </a:prstGeom>
        </p:spPr>
        <p:txBody>
          <a:bodyPr/>
          <a:lstStyle/>
          <a:p>
            <a:fld id="{4658F449-AC56-C64A-8488-86A10DE691DA}" type="slidenum">
              <a:rPr lang="en-US" smtClean="0"/>
              <a:pPr/>
              <a:t>‹#›</a:t>
            </a:fld>
            <a:endParaRPr lang="en-US" dirty="0"/>
          </a:p>
        </p:txBody>
      </p:sp>
    </p:spTree>
    <p:extLst>
      <p:ext uri="{BB962C8B-B14F-4D97-AF65-F5344CB8AC3E}">
        <p14:creationId xmlns:p14="http://schemas.microsoft.com/office/powerpoint/2010/main" val="9243641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_2">
    <p:spTree>
      <p:nvGrpSpPr>
        <p:cNvPr id="1" name=""/>
        <p:cNvGrpSpPr/>
        <p:nvPr/>
      </p:nvGrpSpPr>
      <p:grpSpPr>
        <a:xfrm>
          <a:off x="0" y="0"/>
          <a:ext cx="0" cy="0"/>
          <a:chOff x="0" y="0"/>
          <a:chExt cx="0" cy="0"/>
        </a:xfrm>
      </p:grpSpPr>
      <p:pic>
        <p:nvPicPr>
          <p:cNvPr id="2" name="Immagine 1" descr="Immagine che contiene testo&#10;&#10;Descrizione generata automaticamente">
            <a:extLst>
              <a:ext uri="{FF2B5EF4-FFF2-40B4-BE49-F238E27FC236}">
                <a16:creationId xmlns:a16="http://schemas.microsoft.com/office/drawing/2014/main" id="{FF84E6FF-2431-5A99-4FBE-8FD51A700E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1007" y="442025"/>
            <a:ext cx="1037817" cy="1037817"/>
          </a:xfrm>
          <a:prstGeom prst="rect">
            <a:avLst/>
          </a:prstGeom>
        </p:spPr>
      </p:pic>
    </p:spTree>
    <p:extLst>
      <p:ext uri="{BB962C8B-B14F-4D97-AF65-F5344CB8AC3E}">
        <p14:creationId xmlns:p14="http://schemas.microsoft.com/office/powerpoint/2010/main" val="18550185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ver_3">
    <p:bg>
      <p:bgPr>
        <a:solidFill>
          <a:schemeClr val="accent1"/>
        </a:solidFill>
        <a:effectLst/>
      </p:bgPr>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B81EE1EE-AC32-4968-AC7F-5C152FBA075B}"/>
              </a:ext>
            </a:extLst>
          </p:cNvPr>
          <p:cNvCxnSpPr/>
          <p:nvPr userDrawn="1"/>
        </p:nvCxnSpPr>
        <p:spPr>
          <a:xfrm>
            <a:off x="6095999" y="5438775"/>
            <a:ext cx="0" cy="141922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5">
            <a:extLst>
              <a:ext uri="{FF2B5EF4-FFF2-40B4-BE49-F238E27FC236}">
                <a16:creationId xmlns:a16="http://schemas.microsoft.com/office/drawing/2014/main" id="{D1831942-3006-D1E7-F395-C90CC39F8509}"/>
              </a:ext>
            </a:extLst>
          </p:cNvPr>
          <p:cNvSpPr txBox="1">
            <a:spLocks/>
          </p:cNvSpPr>
          <p:nvPr userDrawn="1"/>
        </p:nvSpPr>
        <p:spPr>
          <a:xfrm>
            <a:off x="428622" y="6388269"/>
            <a:ext cx="471492" cy="365125"/>
          </a:xfrm>
          <a:prstGeom prst="rect">
            <a:avLst/>
          </a:prstGeom>
        </p:spPr>
        <p:txBody>
          <a:bodyPr vert="horz" lIns="91440" tIns="45720" rIns="91440" bIns="45720" rtlCol="0" anchor="ctr"/>
          <a:lstStyle>
            <a:defPPr>
              <a:defRPr lang="en-US"/>
            </a:defPPr>
            <a:lvl1pPr marL="0" algn="ctr" defTabSz="914400" rtl="0" eaLnBrk="1" latinLnBrk="0" hangingPunct="1">
              <a:defRPr sz="1200" b="0" i="0" kern="1200">
                <a:solidFill>
                  <a:srgbClr val="FFFFFF"/>
                </a:solidFill>
                <a:latin typeface="Inter Light" panose="02000503000000020004" pitchFamily="2"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6524C09-5530-4B24-86D2-C27FFA207EF6}" type="slidenum">
              <a:rPr lang="en-US" smtClean="0"/>
              <a:pPr/>
              <a:t>‹#›</a:t>
            </a:fld>
            <a:endParaRPr lang="en-US" dirty="0"/>
          </a:p>
        </p:txBody>
      </p:sp>
      <p:sp>
        <p:nvSpPr>
          <p:cNvPr id="8" name="Segnaposto testo 6">
            <a:extLst>
              <a:ext uri="{FF2B5EF4-FFF2-40B4-BE49-F238E27FC236}">
                <a16:creationId xmlns:a16="http://schemas.microsoft.com/office/drawing/2014/main" id="{72DE6869-C31F-E417-DFE7-1E68A3D41D0E}"/>
              </a:ext>
            </a:extLst>
          </p:cNvPr>
          <p:cNvSpPr>
            <a:spLocks noGrp="1"/>
          </p:cNvSpPr>
          <p:nvPr>
            <p:ph type="body" sz="quarter" idx="10" hasCustomPrompt="1"/>
          </p:nvPr>
        </p:nvSpPr>
        <p:spPr>
          <a:xfrm>
            <a:off x="4853779" y="4846089"/>
            <a:ext cx="2484438" cy="490682"/>
          </a:xfrm>
          <a:prstGeom prst="rect">
            <a:avLst/>
          </a:prstGeom>
        </p:spPr>
        <p:txBody>
          <a:bodyPr/>
          <a:lstStyle>
            <a:lvl1pPr marL="0" indent="0" algn="ctr">
              <a:lnSpc>
                <a:spcPct val="120000"/>
              </a:lnSpc>
              <a:buNone/>
              <a:defRPr sz="1400" b="0" i="0">
                <a:latin typeface="Inter Light" panose="02000503000000020004" pitchFamily="2" charset="0"/>
                <a:ea typeface="Inter Light" panose="02000503000000020004" pitchFamily="2" charset="0"/>
              </a:defRPr>
            </a:lvl1pPr>
          </a:lstStyle>
          <a:p>
            <a:pPr lvl="0"/>
            <a:r>
              <a:rPr lang="it-IT" dirty="0" err="1"/>
              <a:t>subtitle</a:t>
            </a:r>
            <a:endParaRPr lang="en-GB" dirty="0"/>
          </a:p>
        </p:txBody>
      </p:sp>
      <p:sp>
        <p:nvSpPr>
          <p:cNvPr id="11" name="Segnaposto testo 9">
            <a:extLst>
              <a:ext uri="{FF2B5EF4-FFF2-40B4-BE49-F238E27FC236}">
                <a16:creationId xmlns:a16="http://schemas.microsoft.com/office/drawing/2014/main" id="{4DF28DA0-13FB-65F6-5E5A-168A2E61EDFF}"/>
              </a:ext>
            </a:extLst>
          </p:cNvPr>
          <p:cNvSpPr>
            <a:spLocks noGrp="1"/>
          </p:cNvSpPr>
          <p:nvPr>
            <p:ph type="body" sz="quarter" idx="11" hasCustomPrompt="1"/>
          </p:nvPr>
        </p:nvSpPr>
        <p:spPr>
          <a:xfrm>
            <a:off x="2430460" y="2432512"/>
            <a:ext cx="7331075" cy="1438275"/>
          </a:xfrm>
          <a:prstGeom prst="rect">
            <a:avLst/>
          </a:prstGeom>
        </p:spPr>
        <p:txBody>
          <a:bodyPr/>
          <a:lstStyle>
            <a:lvl1pPr marL="0" indent="0" algn="ctr">
              <a:lnSpc>
                <a:spcPct val="100000"/>
              </a:lnSpc>
              <a:buNone/>
              <a:defRPr sz="5400" b="1" i="0">
                <a:latin typeface="Inter" panose="02000503000000020004" pitchFamily="2" charset="0"/>
                <a:ea typeface="Inter" panose="02000503000000020004" pitchFamily="2" charset="0"/>
              </a:defRPr>
            </a:lvl1pPr>
            <a:lvl2pPr marL="457200" indent="0" algn="ctr">
              <a:lnSpc>
                <a:spcPct val="120000"/>
              </a:lnSpc>
              <a:buNone/>
              <a:defRPr sz="5400" b="0" i="0">
                <a:latin typeface="Inter Light" panose="02000503000000020004" pitchFamily="2" charset="0"/>
                <a:ea typeface="Inter Light" panose="02000503000000020004" pitchFamily="2" charset="0"/>
              </a:defRPr>
            </a:lvl2pPr>
            <a:lvl3pPr marL="914400" indent="0" algn="ctr">
              <a:lnSpc>
                <a:spcPct val="120000"/>
              </a:lnSpc>
              <a:buNone/>
              <a:defRPr sz="5400" b="0" i="0">
                <a:latin typeface="Inter Light" panose="02000503000000020004" pitchFamily="2" charset="0"/>
                <a:ea typeface="Inter Light" panose="02000503000000020004" pitchFamily="2" charset="0"/>
              </a:defRPr>
            </a:lvl3pPr>
            <a:lvl4pPr marL="1371600" indent="0" algn="ctr">
              <a:lnSpc>
                <a:spcPct val="120000"/>
              </a:lnSpc>
              <a:buNone/>
              <a:defRPr sz="5400" b="0" i="0">
                <a:latin typeface="Inter Light" panose="02000503000000020004" pitchFamily="2" charset="0"/>
                <a:ea typeface="Inter Light" panose="02000503000000020004" pitchFamily="2" charset="0"/>
              </a:defRPr>
            </a:lvl4pPr>
            <a:lvl5pPr marL="1828800" indent="0" algn="ctr">
              <a:lnSpc>
                <a:spcPct val="120000"/>
              </a:lnSpc>
              <a:buNone/>
              <a:defRPr sz="5400" b="0" i="0">
                <a:latin typeface="Inter Light" panose="02000503000000020004" pitchFamily="2" charset="0"/>
                <a:ea typeface="Inter Light" panose="02000503000000020004" pitchFamily="2" charset="0"/>
              </a:defRPr>
            </a:lvl5pPr>
          </a:lstStyle>
          <a:p>
            <a:pPr lvl="0"/>
            <a:r>
              <a:rPr lang="en-US" dirty="0"/>
              <a:t>Click to edit Master</a:t>
            </a:r>
            <a:endParaRPr lang="en-GB" dirty="0"/>
          </a:p>
        </p:txBody>
      </p:sp>
    </p:spTree>
    <p:extLst>
      <p:ext uri="{BB962C8B-B14F-4D97-AF65-F5344CB8AC3E}">
        <p14:creationId xmlns:p14="http://schemas.microsoft.com/office/powerpoint/2010/main" val="6927017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ing">
    <p:spTree>
      <p:nvGrpSpPr>
        <p:cNvPr id="1" name=""/>
        <p:cNvGrpSpPr/>
        <p:nvPr/>
      </p:nvGrpSpPr>
      <p:grpSpPr>
        <a:xfrm>
          <a:off x="0" y="0"/>
          <a:ext cx="0" cy="0"/>
          <a:chOff x="0" y="0"/>
          <a:chExt cx="0" cy="0"/>
        </a:xfrm>
      </p:grpSpPr>
      <p:sp>
        <p:nvSpPr>
          <p:cNvPr id="7" name="Rectangle 5">
            <a:extLst>
              <a:ext uri="{FF2B5EF4-FFF2-40B4-BE49-F238E27FC236}">
                <a16:creationId xmlns:a16="http://schemas.microsoft.com/office/drawing/2014/main" id="{8DA9DD1D-89D2-721C-48C0-457622161B33}"/>
              </a:ext>
            </a:extLst>
          </p:cNvPr>
          <p:cNvSpPr>
            <a:spLocks noChangeArrowheads="1"/>
          </p:cNvSpPr>
          <p:nvPr userDrawn="1"/>
        </p:nvSpPr>
        <p:spPr bwMode="auto">
          <a:xfrm>
            <a:off x="2062162" y="2052910"/>
            <a:ext cx="342722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4800" b="1" u="none" strike="noStrike" cap="none" normalizeH="0" baseline="0" dirty="0">
                <a:solidFill>
                  <a:schemeClr val="tx1"/>
                </a:solidFill>
                <a:effectLst/>
                <a:latin typeface="Inter" panose="02000503000000020004" pitchFamily="2" charset="0"/>
                <a:ea typeface="Inter" panose="02000503000000020004" pitchFamily="2" charset="0"/>
              </a:rPr>
              <a:t>Thank You.</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4800" b="1" dirty="0">
                <a:solidFill>
                  <a:schemeClr val="tx1"/>
                </a:solidFill>
                <a:latin typeface="Inter" panose="02000503000000020004" pitchFamily="2" charset="0"/>
                <a:ea typeface="Inter" panose="02000503000000020004" pitchFamily="2" charset="0"/>
              </a:rPr>
              <a:t>It’s Nice</a:t>
            </a:r>
            <a:endParaRPr kumimoji="0" lang="en-US" altLang="en-US" sz="4800" b="1" u="none" strike="noStrike" cap="none" normalizeH="0" baseline="0" dirty="0">
              <a:solidFill>
                <a:schemeClr val="tx1"/>
              </a:solidFill>
              <a:effectLst/>
              <a:latin typeface="Inter" panose="02000503000000020004" pitchFamily="2" charset="0"/>
              <a:ea typeface="Inter" panose="02000503000000020004" pitchFamily="2" charset="0"/>
            </a:endParaRPr>
          </a:p>
        </p:txBody>
      </p:sp>
      <p:sp>
        <p:nvSpPr>
          <p:cNvPr id="8" name="Titolo 4">
            <a:extLst>
              <a:ext uri="{FF2B5EF4-FFF2-40B4-BE49-F238E27FC236}">
                <a16:creationId xmlns:a16="http://schemas.microsoft.com/office/drawing/2014/main" id="{9E118D51-A263-419D-7A5E-FBBB134A125F}"/>
              </a:ext>
            </a:extLst>
          </p:cNvPr>
          <p:cNvSpPr txBox="1">
            <a:spLocks/>
          </p:cNvSpPr>
          <p:nvPr userDrawn="1"/>
        </p:nvSpPr>
        <p:spPr>
          <a:xfrm>
            <a:off x="2062162" y="4384807"/>
            <a:ext cx="3632582" cy="314515"/>
          </a:xfrm>
          <a:prstGeom prst="rect">
            <a:avLst/>
          </a:prstGeom>
        </p:spPr>
        <p:txBody>
          <a:bodyPr lIns="0" tIns="0" rIns="0" bIns="0"/>
          <a:lstStyle>
            <a:lvl1pPr algn="l" defTabSz="914400" rtl="0" eaLnBrk="1" latinLnBrk="0" hangingPunct="1">
              <a:lnSpc>
                <a:spcPct val="90000"/>
              </a:lnSpc>
              <a:spcBef>
                <a:spcPct val="0"/>
              </a:spcBef>
              <a:buNone/>
              <a:defRPr sz="4400" b="1" i="0" kern="1200">
                <a:solidFill>
                  <a:srgbClr val="FFFFFF"/>
                </a:solidFill>
                <a:latin typeface="HelveticaNeueLT Com 55 Roman" panose="020B0604020202020204" pitchFamily="34" charset="77"/>
                <a:ea typeface="+mj-ea"/>
                <a:cs typeface="+mj-cs"/>
              </a:defRPr>
            </a:lvl1pPr>
          </a:lstStyle>
          <a:p>
            <a:r>
              <a:rPr lang="it-IT" sz="1400" b="1" i="0" dirty="0" err="1">
                <a:solidFill>
                  <a:schemeClr val="accent1"/>
                </a:solidFill>
                <a:latin typeface="Inter" panose="02000503000000020004" pitchFamily="2" charset="0"/>
                <a:ea typeface="Inter" panose="02000503000000020004" pitchFamily="2" charset="0"/>
              </a:rPr>
              <a:t>www.niceforyou.com</a:t>
            </a:r>
            <a:endParaRPr lang="it-IT" sz="1400" b="1" i="0" dirty="0">
              <a:solidFill>
                <a:schemeClr val="accent1"/>
              </a:solidFill>
              <a:latin typeface="Inter" panose="02000503000000020004" pitchFamily="2" charset="0"/>
              <a:ea typeface="Inter" panose="02000503000000020004" pitchFamily="2" charset="0"/>
            </a:endParaRPr>
          </a:p>
        </p:txBody>
      </p:sp>
      <p:pic>
        <p:nvPicPr>
          <p:cNvPr id="2" name="Immagine 1" descr="Immagine che contiene testo&#10;&#10;Descrizione generata automaticamente">
            <a:extLst>
              <a:ext uri="{FF2B5EF4-FFF2-40B4-BE49-F238E27FC236}">
                <a16:creationId xmlns:a16="http://schemas.microsoft.com/office/drawing/2014/main" id="{47835B97-E37B-6B1B-C2A6-CDC4F86508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1007" y="442025"/>
            <a:ext cx="1037817" cy="1037817"/>
          </a:xfrm>
          <a:prstGeom prst="rect">
            <a:avLst/>
          </a:prstGeom>
        </p:spPr>
      </p:pic>
    </p:spTree>
    <p:extLst>
      <p:ext uri="{BB962C8B-B14F-4D97-AF65-F5344CB8AC3E}">
        <p14:creationId xmlns:p14="http://schemas.microsoft.com/office/powerpoint/2010/main" val="618554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userDrawn="1">
            <p:custDataLst>
              <p:tags r:id="rId2"/>
            </p:custDataLst>
          </p:nvPr>
        </p:nvGraphicFramePr>
        <p:xfrm>
          <a:off x="1630" y="1492"/>
          <a:ext cx="1628" cy="1489"/>
        </p:xfrm>
        <a:graphic>
          <a:graphicData uri="http://schemas.openxmlformats.org/presentationml/2006/ole">
            <mc:AlternateContent xmlns:mc="http://schemas.openxmlformats.org/markup-compatibility/2006">
              <mc:Choice xmlns:v="urn:schemas-microsoft-com:vml" Requires="v">
                <p:oleObj spid="_x0000_s2050" name="think-cell Slide" r:id="rId5" imgW="360" imgH="360" progId="TCLayout.ActiveDocument.1">
                  <p:embed/>
                </p:oleObj>
              </mc:Choice>
              <mc:Fallback>
                <p:oleObj name="think-cell Slide" r:id="rId5" imgW="360" imgH="360" progId="TCLayout.ActiveDocument.1">
                  <p:embed/>
                  <p:pic>
                    <p:nvPicPr>
                      <p:cNvPr id="17" name="Object 1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30" y="1492"/>
                        <a:ext cx="1628" cy="14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userDrawn="1">
            <p:custDataLst>
              <p:tags r:id="rId3"/>
            </p:custDataLst>
          </p:nvPr>
        </p:nvSpPr>
        <p:spPr>
          <a:xfrm>
            <a:off x="1" y="0"/>
            <a:ext cx="162820"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1097044"/>
            <a:endParaRPr lang="en-US" sz="2600" b="1" dirty="0">
              <a:solidFill>
                <a:prstClr val="white"/>
              </a:solidFill>
              <a:sym typeface="Calibri"/>
            </a:endParaRPr>
          </a:p>
        </p:txBody>
      </p:sp>
      <p:grpSp>
        <p:nvGrpSpPr>
          <p:cNvPr id="11" name="Group 10"/>
          <p:cNvGrpSpPr/>
          <p:nvPr userDrawn="1"/>
        </p:nvGrpSpPr>
        <p:grpSpPr>
          <a:xfrm>
            <a:off x="15" y="214313"/>
            <a:ext cx="12180450" cy="0"/>
            <a:chOff x="0" y="7010400"/>
            <a:chExt cx="11875939" cy="0"/>
          </a:xfrm>
        </p:grpSpPr>
        <p:cxnSp>
          <p:nvCxnSpPr>
            <p:cNvPr id="12" name="Straight Connector 11"/>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itle Placeholder 1"/>
          <p:cNvSpPr>
            <a:spLocks noGrp="1"/>
          </p:cNvSpPr>
          <p:nvPr>
            <p:ph type="title"/>
          </p:nvPr>
        </p:nvSpPr>
        <p:spPr>
          <a:xfrm>
            <a:off x="278900" y="309562"/>
            <a:ext cx="11634198" cy="369332"/>
          </a:xfrm>
          <a:prstGeom prst="rect">
            <a:avLst/>
          </a:prstGeom>
        </p:spPr>
        <p:txBody>
          <a:bodyPr vert="horz" wrap="square" lIns="0" tIns="0" rIns="0" bIns="0" rtlCol="0" anchor="t">
            <a:spAutoFit/>
          </a:bodyPr>
          <a:lstStyle>
            <a:lvl1pPr>
              <a:defRPr sz="2400"/>
            </a:lvl1pPr>
          </a:lstStyle>
          <a:p>
            <a:r>
              <a:rPr lang="en-US" dirty="0"/>
              <a:t>Click to edit Master title style</a:t>
            </a:r>
          </a:p>
        </p:txBody>
      </p:sp>
    </p:spTree>
    <p:extLst>
      <p:ext uri="{BB962C8B-B14F-4D97-AF65-F5344CB8AC3E}">
        <p14:creationId xmlns:p14="http://schemas.microsoft.com/office/powerpoint/2010/main" val="217179709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1355" y="271472"/>
            <a:ext cx="11629292" cy="369332"/>
          </a:xfrm>
        </p:spPr>
        <p:txBody>
          <a:bodyPr wrap="square" lIns="0" tIns="0" rIns="0" bIns="0">
            <a:spAutoFit/>
          </a:bodyPr>
          <a:lstStyle>
            <a:lvl1pPr>
              <a:defRPr sz="2400" baseline="0"/>
            </a:lvl1pPr>
          </a:lstStyle>
          <a:p>
            <a:r>
              <a:rPr lang="en-US" dirty="0"/>
              <a:t>Click to edit Master title style</a:t>
            </a:r>
          </a:p>
        </p:txBody>
      </p:sp>
    </p:spTree>
    <p:extLst>
      <p:ext uri="{BB962C8B-B14F-4D97-AF65-F5344CB8AC3E}">
        <p14:creationId xmlns:p14="http://schemas.microsoft.com/office/powerpoint/2010/main" val="738847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2" hasCustomPrompt="1"/>
          </p:nvPr>
        </p:nvSpPr>
        <p:spPr>
          <a:xfrm>
            <a:off x="839788" y="1233488"/>
            <a:ext cx="7202487" cy="4932362"/>
          </a:xfrm>
        </p:spPr>
        <p:txBody>
          <a:bodyPr>
            <a:normAutofit/>
          </a:bodyPr>
          <a:lstStyle>
            <a:lvl1pPr>
              <a:defRPr sz="18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able of Contents</a:t>
            </a:r>
          </a:p>
        </p:txBody>
      </p:sp>
      <p:sp>
        <p:nvSpPr>
          <p:cNvPr id="4" name="Slide Number Placeholder 3">
            <a:extLst>
              <a:ext uri="{FF2B5EF4-FFF2-40B4-BE49-F238E27FC236}">
                <a16:creationId xmlns:a16="http://schemas.microsoft.com/office/drawing/2014/main" id="{E0EA2349-05C3-9E4C-88BE-36723E4B6E80}"/>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6007166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81356" y="271473"/>
            <a:ext cx="11629292" cy="369332"/>
          </a:xfrm>
        </p:spPr>
        <p:txBody>
          <a:bodyPr wrap="square" lIns="0" tIns="0" rIns="0" bIns="0">
            <a:spAutoFit/>
          </a:bodyPr>
          <a:lstStyle>
            <a:lvl1pPr>
              <a:defRPr sz="2399" baseline="0"/>
            </a:lvl1pPr>
          </a:lstStyle>
          <a:p>
            <a:r>
              <a:rPr lang="en-US" dirty="0"/>
              <a:t>Click to edit Master title style</a:t>
            </a:r>
          </a:p>
        </p:txBody>
      </p:sp>
    </p:spTree>
    <p:extLst>
      <p:ext uri="{BB962C8B-B14F-4D97-AF65-F5344CB8AC3E}">
        <p14:creationId xmlns:p14="http://schemas.microsoft.com/office/powerpoint/2010/main" val="2802805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Blank">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Slide Number Placeholder 3">
            <a:extLst>
              <a:ext uri="{FF2B5EF4-FFF2-40B4-BE49-F238E27FC236}">
                <a16:creationId xmlns:a16="http://schemas.microsoft.com/office/drawing/2014/main" id="{D0493841-C8FD-6E48-9D27-6A352FF9A12A}"/>
              </a:ext>
            </a:extLst>
          </p:cNvPr>
          <p:cNvSpPr>
            <a:spLocks noGrp="1"/>
          </p:cNvSpPr>
          <p:nvPr>
            <p:ph type="sldNum" sz="quarter" idx="11"/>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9243641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8908607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ase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984664"/>
            <a:ext cx="5181600"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6" name="Slide Number Placeholder 5">
            <a:extLst>
              <a:ext uri="{FF2B5EF4-FFF2-40B4-BE49-F238E27FC236}">
                <a16:creationId xmlns:a16="http://schemas.microsoft.com/office/drawing/2014/main" id="{CA9A14CD-ACE9-C44D-9E3B-2FE0023DEFB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4407728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as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1" name="Content Placeholder 3"/>
          <p:cNvSpPr>
            <a:spLocks noGrp="1"/>
          </p:cNvSpPr>
          <p:nvPr>
            <p:ph sz="half" idx="2"/>
          </p:nvPr>
        </p:nvSpPr>
        <p:spPr>
          <a:xfrm>
            <a:off x="7408718" y="1233488"/>
            <a:ext cx="3945082" cy="4943475"/>
          </a:xfrm>
        </p:spPr>
        <p:txBody>
          <a:bodyPr>
            <a:normAutofit/>
          </a:bodyPr>
          <a:lstStyle>
            <a:lvl1pPr>
              <a:defRPr sz="24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a:t>Edit Master text styles</a:t>
            </a:r>
          </a:p>
        </p:txBody>
      </p:sp>
      <p:sp>
        <p:nvSpPr>
          <p:cNvPr id="13" name="Text Placeholder 11"/>
          <p:cNvSpPr>
            <a:spLocks noGrp="1"/>
          </p:cNvSpPr>
          <p:nvPr>
            <p:ph type="body" sz="quarter" idx="12" hasCustomPrompt="1"/>
          </p:nvPr>
        </p:nvSpPr>
        <p:spPr>
          <a:xfrm>
            <a:off x="839788" y="1233488"/>
            <a:ext cx="6103272"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Text Placeholder 3"/>
          <p:cNvSpPr>
            <a:spLocks noGrp="1"/>
          </p:cNvSpPr>
          <p:nvPr>
            <p:ph type="body" sz="quarter" idx="13" hasCustomPrompt="1"/>
          </p:nvPr>
        </p:nvSpPr>
        <p:spPr>
          <a:xfrm>
            <a:off x="839788" y="2159000"/>
            <a:ext cx="6081712" cy="4006850"/>
          </a:xfrm>
        </p:spPr>
        <p:txBody>
          <a:bodyPr>
            <a:normAutofit/>
          </a:bodyPr>
          <a:lstStyle>
            <a:lvl1pPr>
              <a:defRPr sz="2000" baseline="0"/>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Text</a:t>
            </a:r>
          </a:p>
        </p:txBody>
      </p:sp>
      <p:sp>
        <p:nvSpPr>
          <p:cNvPr id="5" name="Slide Number Placeholder 4">
            <a:extLst>
              <a:ext uri="{FF2B5EF4-FFF2-40B4-BE49-F238E27FC236}">
                <a16:creationId xmlns:a16="http://schemas.microsoft.com/office/drawing/2014/main" id="{77294375-B587-3F4C-9E44-5ADC407C4FF3}"/>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39772085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able Placeholder 4"/>
          <p:cNvSpPr>
            <a:spLocks noGrp="1"/>
          </p:cNvSpPr>
          <p:nvPr>
            <p:ph type="tbl" sz="quarter" idx="12"/>
          </p:nvPr>
        </p:nvSpPr>
        <p:spPr>
          <a:xfrm>
            <a:off x="839788" y="1984664"/>
            <a:ext cx="10512425" cy="4181186"/>
          </a:xfrm>
        </p:spPr>
        <p:txBody>
          <a:bodyPr/>
          <a:lstStyle/>
          <a:p>
            <a:r>
              <a:rPr lang="en-US"/>
              <a:t>Click icon to add table</a:t>
            </a:r>
          </a:p>
        </p:txBody>
      </p:sp>
      <p:sp>
        <p:nvSpPr>
          <p:cNvPr id="7" name="Text Placeholder 11"/>
          <p:cNvSpPr>
            <a:spLocks noGrp="1"/>
          </p:cNvSpPr>
          <p:nvPr>
            <p:ph type="body" sz="quarter" idx="13"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4" name="Slide Number Placeholder 3">
            <a:extLst>
              <a:ext uri="{FF2B5EF4-FFF2-40B4-BE49-F238E27FC236}">
                <a16:creationId xmlns:a16="http://schemas.microsoft.com/office/drawing/2014/main" id="{AEE31B91-61A9-EE4C-89C3-7E166596E1BF}"/>
              </a:ext>
            </a:extLst>
          </p:cNvPr>
          <p:cNvSpPr>
            <a:spLocks noGrp="1"/>
          </p:cNvSpPr>
          <p:nvPr>
            <p:ph type="sldNum" sz="quarter" idx="15"/>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1707282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Base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199" y="1984664"/>
            <a:ext cx="10514013" cy="419229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11"/>
          <p:cNvSpPr>
            <a:spLocks noGrp="1"/>
          </p:cNvSpPr>
          <p:nvPr>
            <p:ph type="body" sz="quarter" idx="12" hasCustomPrompt="1"/>
          </p:nvPr>
        </p:nvSpPr>
        <p:spPr>
          <a:xfrm>
            <a:off x="839788" y="1233488"/>
            <a:ext cx="10512425" cy="512762"/>
          </a:xfrm>
        </p:spPr>
        <p:txBody>
          <a:bodyPr/>
          <a:lstStyle>
            <a:lvl1pPr>
              <a:defRPr baseline="0">
                <a:solidFill>
                  <a:schemeClr val="tx1"/>
                </a:solidFill>
                <a:latin typeface="Montserrat Light" charset="0"/>
              </a:defRPr>
            </a:lvl1pPr>
          </a:lstStyle>
          <a:p>
            <a:pPr marL="228600" marR="0" lvl="0" indent="-228600" algn="l" defTabSz="914400" rtl="0" eaLnBrk="1" fontAlgn="auto" latinLnBrk="0" hangingPunct="1">
              <a:lnSpc>
                <a:spcPct val="90000"/>
              </a:lnSpc>
              <a:spcBef>
                <a:spcPts val="1000"/>
              </a:spcBef>
              <a:spcAft>
                <a:spcPts val="0"/>
              </a:spcAft>
              <a:buClrTx/>
              <a:buSzTx/>
              <a:buFont typeface="Arial"/>
              <a:buNone/>
              <a:tabLst/>
              <a:defRPr/>
            </a:pPr>
            <a:r>
              <a:rPr lang="en-US" dirty="0"/>
              <a:t>Enter Header text</a:t>
            </a:r>
          </a:p>
        </p:txBody>
      </p:sp>
      <p:sp>
        <p:nvSpPr>
          <p:cNvPr id="5" name="Slide Number Placeholder 4">
            <a:extLst>
              <a:ext uri="{FF2B5EF4-FFF2-40B4-BE49-F238E27FC236}">
                <a16:creationId xmlns:a16="http://schemas.microsoft.com/office/drawing/2014/main" id="{1956DDB8-7B64-EF42-9250-BD09A0898B0D}"/>
              </a:ext>
            </a:extLst>
          </p:cNvPr>
          <p:cNvSpPr>
            <a:spLocks noGrp="1"/>
          </p:cNvSpPr>
          <p:nvPr>
            <p:ph type="sldNum" sz="quarter" idx="14"/>
          </p:nvPr>
        </p:nvSpPr>
        <p:spPr/>
        <p:txBody>
          <a:bodyPr/>
          <a:lstStyle/>
          <a:p>
            <a:fld id="{4658F449-AC56-C64A-8488-86A10DE691DA}" type="slidenum">
              <a:rPr lang="en-US" smtClean="0"/>
              <a:pPr/>
              <a:t>‹#›</a:t>
            </a:fld>
            <a:endParaRPr lang="en-US"/>
          </a:p>
        </p:txBody>
      </p:sp>
    </p:spTree>
    <p:extLst>
      <p:ext uri="{BB962C8B-B14F-4D97-AF65-F5344CB8AC3E}">
        <p14:creationId xmlns:p14="http://schemas.microsoft.com/office/powerpoint/2010/main" val="3955989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vmlDrawing" Target="../drawings/vmlDrawing1.vml"/><Relationship Id="rId7" Type="http://schemas.openxmlformats.org/officeDocument/2006/relationships/image" Target="../media/image8.emf"/><Relationship Id="rId2" Type="http://schemas.openxmlformats.org/officeDocument/2006/relationships/theme" Target="../theme/theme4.xml"/><Relationship Id="rId1" Type="http://schemas.openxmlformats.org/officeDocument/2006/relationships/slideLayout" Target="../slideLayouts/slideLayout28.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ags" Target="../tags/tag1.xml"/><Relationship Id="rId9"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heme" Target="../theme/theme5.xml"/><Relationship Id="rId7" Type="http://schemas.openxmlformats.org/officeDocument/2006/relationships/oleObject" Target="../embeddings/oleObject3.bin"/><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image" Target="../media/image10.png"/><Relationship Id="rId4" Type="http://schemas.openxmlformats.org/officeDocument/2006/relationships/vmlDrawing" Target="../drawings/vmlDrawing3.vml"/><Relationship Id="rId9"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D0FD12-626B-6E49-B012-6834826DED48}"/>
              </a:ext>
            </a:extLst>
          </p:cNvPr>
          <p:cNvSpPr/>
          <p:nvPr userDrawn="1"/>
        </p:nvSpPr>
        <p:spPr>
          <a:xfrm>
            <a:off x="0" y="0"/>
            <a:ext cx="12192000" cy="9432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6873240" cy="447675"/>
          </a:xfrm>
          <a:prstGeom prst="rect">
            <a:avLst/>
          </a:prstGeom>
        </p:spPr>
        <p:txBody>
          <a:bodyPr vert="horz" lIns="91440" tIns="45720" rIns="91440" bIns="4572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38200" y="1233488"/>
            <a:ext cx="10515600" cy="49434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a:extLst>
              <a:ext uri="{FF2B5EF4-FFF2-40B4-BE49-F238E27FC236}">
                <a16:creationId xmlns:a16="http://schemas.microsoft.com/office/drawing/2014/main" id="{CD570C52-4A05-1744-BCD2-0537DC4DCF4C}"/>
              </a:ext>
            </a:extLst>
          </p:cNvPr>
          <p:cNvSpPr>
            <a:spLocks noGrp="1"/>
          </p:cNvSpPr>
          <p:nvPr>
            <p:ph type="sldNum" sz="quarter" idx="4"/>
          </p:nvPr>
        </p:nvSpPr>
        <p:spPr>
          <a:xfrm>
            <a:off x="833388" y="6356351"/>
            <a:ext cx="620027" cy="352458"/>
          </a:xfrm>
          <a:prstGeom prst="rect">
            <a:avLst/>
          </a:prstGeom>
        </p:spPr>
        <p:txBody>
          <a:bodyPr vert="horz" lIns="91440" tIns="45720" rIns="91440" bIns="45720" rtlCol="0" anchor="ctr"/>
          <a:lstStyle>
            <a:lvl1pPr algn="l">
              <a:defRPr sz="1200" baseline="0">
                <a:solidFill>
                  <a:schemeClr val="tx1"/>
                </a:solidFill>
              </a:defRPr>
            </a:lvl1pPr>
          </a:lstStyle>
          <a:p>
            <a:fld id="{4658F449-AC56-C64A-8488-86A10DE691DA}" type="slidenum">
              <a:rPr lang="en-US" smtClean="0"/>
              <a:pPr/>
              <a:t>‹#›</a:t>
            </a:fld>
            <a:endParaRPr lang="en-US"/>
          </a:p>
        </p:txBody>
      </p:sp>
      <p:pic>
        <p:nvPicPr>
          <p:cNvPr id="9" name="Picture 8">
            <a:extLst>
              <a:ext uri="{FF2B5EF4-FFF2-40B4-BE49-F238E27FC236}">
                <a16:creationId xmlns:a16="http://schemas.microsoft.com/office/drawing/2014/main" id="{8F46E4A3-6ED3-F74F-BDDB-A694088FED89}"/>
              </a:ext>
            </a:extLst>
          </p:cNvPr>
          <p:cNvPicPr>
            <a:picLocks noChangeAspect="1"/>
          </p:cNvPicPr>
          <p:nvPr userDrawn="1"/>
        </p:nvPicPr>
        <p:blipFill>
          <a:blip r:embed="rId23">
            <a:extLst>
              <a:ext uri="{28A0092B-C50C-407E-A947-70E740481C1C}">
                <a14:useLocalDpi xmlns:a14="http://schemas.microsoft.com/office/drawing/2010/main" val="0"/>
              </a:ext>
            </a:extLst>
          </a:blip>
          <a:stretch>
            <a:fillRect/>
          </a:stretch>
        </p:blipFill>
        <p:spPr>
          <a:xfrm>
            <a:off x="10279781" y="-274437"/>
            <a:ext cx="1931469" cy="1255633"/>
          </a:xfrm>
          <a:prstGeom prst="rect">
            <a:avLst/>
          </a:prstGeom>
        </p:spPr>
      </p:pic>
      <p:pic>
        <p:nvPicPr>
          <p:cNvPr id="12" name="Picture 11">
            <a:extLst>
              <a:ext uri="{FF2B5EF4-FFF2-40B4-BE49-F238E27FC236}">
                <a16:creationId xmlns:a16="http://schemas.microsoft.com/office/drawing/2014/main" id="{60C65406-E82C-4117-AE2C-904DC697A858}"/>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568292" y="6207644"/>
            <a:ext cx="828040" cy="593270"/>
          </a:xfrm>
          <a:prstGeom prst="rect">
            <a:avLst/>
          </a:prstGeom>
        </p:spPr>
      </p:pic>
      <p:sp>
        <p:nvSpPr>
          <p:cNvPr id="8" name="Footer Placeholder 5">
            <a:extLst>
              <a:ext uri="{FF2B5EF4-FFF2-40B4-BE49-F238E27FC236}">
                <a16:creationId xmlns:a16="http://schemas.microsoft.com/office/drawing/2014/main" id="{E33FE46D-D6E4-4921-9DC5-84AC90E975E0}"/>
              </a:ext>
            </a:extLst>
          </p:cNvPr>
          <p:cNvSpPr txBox="1">
            <a:spLocks/>
          </p:cNvSpPr>
          <p:nvPr userDrawn="1"/>
        </p:nvSpPr>
        <p:spPr>
          <a:xfrm>
            <a:off x="1899960" y="6355843"/>
            <a:ext cx="4362451"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2023 Continental Automated Buildings Association</a:t>
            </a:r>
          </a:p>
        </p:txBody>
      </p:sp>
      <p:sp>
        <p:nvSpPr>
          <p:cNvPr id="10" name="Footer Placeholder 5">
            <a:extLst>
              <a:ext uri="{FF2B5EF4-FFF2-40B4-BE49-F238E27FC236}">
                <a16:creationId xmlns:a16="http://schemas.microsoft.com/office/drawing/2014/main" id="{7F3EF41C-5F87-4A4D-BBE6-D28B04D67907}"/>
              </a:ext>
            </a:extLst>
          </p:cNvPr>
          <p:cNvSpPr txBox="1">
            <a:spLocks/>
          </p:cNvSpPr>
          <p:nvPr userDrawn="1"/>
        </p:nvSpPr>
        <p:spPr>
          <a:xfrm>
            <a:off x="7143750" y="6355843"/>
            <a:ext cx="2181225"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Connected Home Council</a:t>
            </a:r>
          </a:p>
        </p:txBody>
      </p:sp>
      <p:pic>
        <p:nvPicPr>
          <p:cNvPr id="11" name="Picture 2">
            <a:extLst>
              <a:ext uri="{FF2B5EF4-FFF2-40B4-BE49-F238E27FC236}">
                <a16:creationId xmlns:a16="http://schemas.microsoft.com/office/drawing/2014/main" id="{F2F7D22C-B462-4FA5-80EF-2836B356C4D2}"/>
              </a:ext>
            </a:extLst>
          </p:cNvPr>
          <p:cNvPicPr>
            <a:picLocks noChangeAspect="1" noChangeArrowheads="1"/>
          </p:cNvPicPr>
          <p:nvPr userDrawn="1"/>
        </p:nvPicPr>
        <p:blipFill>
          <a:blip r:embed="rId25">
            <a:extLst>
              <a:ext uri="{28A0092B-C50C-407E-A947-70E740481C1C}">
                <a14:useLocalDpi xmlns:a14="http://schemas.microsoft.com/office/drawing/2010/main" val="0"/>
              </a:ext>
            </a:extLst>
          </a:blip>
          <a:srcRect/>
          <a:stretch>
            <a:fillRect/>
          </a:stretch>
        </p:blipFill>
        <p:spPr bwMode="auto">
          <a:xfrm>
            <a:off x="11368086" y="6034347"/>
            <a:ext cx="820994" cy="8209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659589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7" r:id="rId9"/>
    <p:sldLayoutId id="2147483878" r:id="rId10"/>
    <p:sldLayoutId id="2147483893" r:id="rId11"/>
    <p:sldLayoutId id="2147483892" r:id="rId12"/>
    <p:sldLayoutId id="2147483894" r:id="rId13"/>
    <p:sldLayoutId id="2147483882" r:id="rId14"/>
    <p:sldLayoutId id="2147483883" r:id="rId15"/>
    <p:sldLayoutId id="2147483884" r:id="rId16"/>
    <p:sldLayoutId id="2147483885" r:id="rId17"/>
    <p:sldLayoutId id="2147483886" r:id="rId18"/>
    <p:sldLayoutId id="2147483887" r:id="rId19"/>
    <p:sldLayoutId id="2147483888" r:id="rId20"/>
    <p:sldLayoutId id="2147483889" r:id="rId21"/>
  </p:sldLayoutIdLst>
  <p:hf hdr="0" ftr="0" dt="0"/>
  <p:txStyles>
    <p:title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p15:clr>
            <a:srgbClr val="F26B43"/>
          </p15:clr>
        </p15:guide>
        <p15:guide id="8" pos="529">
          <p15:clr>
            <a:srgbClr val="F26B43"/>
          </p15:clr>
        </p15:guide>
        <p15:guide id="9" pos="7151">
          <p15:clr>
            <a:srgbClr val="F26B43"/>
          </p15:clr>
        </p15:guide>
        <p15:guide id="10" orient="horz" pos="777">
          <p15:clr>
            <a:srgbClr val="F26B43"/>
          </p15:clr>
        </p15:guide>
        <p15:guide id="11" orient="horz" pos="414">
          <p15:clr>
            <a:srgbClr val="F26B43"/>
          </p15:clr>
        </p15:guide>
        <p15:guide id="12" orient="horz" pos="388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D0FD12-626B-6E49-B012-6834826DED48}"/>
              </a:ext>
            </a:extLst>
          </p:cNvPr>
          <p:cNvSpPr/>
          <p:nvPr userDrawn="1"/>
        </p:nvSpPr>
        <p:spPr>
          <a:xfrm>
            <a:off x="0" y="0"/>
            <a:ext cx="12192000" cy="94327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838200" y="365125"/>
            <a:ext cx="6873240" cy="44767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p:cNvSpPr>
            <a:spLocks noGrp="1"/>
          </p:cNvSpPr>
          <p:nvPr>
            <p:ph type="body" idx="1"/>
          </p:nvPr>
        </p:nvSpPr>
        <p:spPr>
          <a:xfrm>
            <a:off x="838200" y="1233488"/>
            <a:ext cx="10515600" cy="494347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8F46E4A3-6ED3-F74F-BDDB-A694088FED8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279781" y="-274437"/>
            <a:ext cx="1931469" cy="1255633"/>
          </a:xfrm>
          <a:prstGeom prst="rect">
            <a:avLst/>
          </a:prstGeom>
        </p:spPr>
      </p:pic>
      <p:pic>
        <p:nvPicPr>
          <p:cNvPr id="7" name="Picture 6">
            <a:extLst>
              <a:ext uri="{FF2B5EF4-FFF2-40B4-BE49-F238E27FC236}">
                <a16:creationId xmlns:a16="http://schemas.microsoft.com/office/drawing/2014/main" id="{CA5F3499-DC87-4000-9AD8-F3306FD5652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568292" y="6207644"/>
            <a:ext cx="828040" cy="593270"/>
          </a:xfrm>
          <a:prstGeom prst="rect">
            <a:avLst/>
          </a:prstGeom>
        </p:spPr>
      </p:pic>
    </p:spTree>
    <p:extLst>
      <p:ext uri="{BB962C8B-B14F-4D97-AF65-F5344CB8AC3E}">
        <p14:creationId xmlns:p14="http://schemas.microsoft.com/office/powerpoint/2010/main" val="756595898"/>
      </p:ext>
    </p:extLst>
  </p:cSld>
  <p:clrMap bg1="lt1" tx1="dk1" bg2="lt2" tx2="dk2" accent1="accent1" accent2="accent2" accent3="accent3" accent4="accent4" accent5="accent5" accent6="accent6" hlink="hlink" folHlink="folHlink"/>
  <p:sldLayoutIdLst>
    <p:sldLayoutId id="2147483896" r:id="rId1"/>
    <p:sldLayoutId id="2147483895" r:id="rId2"/>
    <p:sldLayoutId id="2147483891" r:id="rId3"/>
  </p:sldLayoutIdLst>
  <p:hf hdr="0" dt="0"/>
  <p:txStyles>
    <p:title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pos="529" userDrawn="1">
          <p15:clr>
            <a:srgbClr val="F26B43"/>
          </p15:clr>
        </p15:guide>
        <p15:guide id="9" pos="7151" userDrawn="1">
          <p15:clr>
            <a:srgbClr val="F26B43"/>
          </p15:clr>
        </p15:guide>
        <p15:guide id="10" orient="horz" pos="777" userDrawn="1">
          <p15:clr>
            <a:srgbClr val="F26B43"/>
          </p15:clr>
        </p15:guide>
        <p15:guide id="11" orient="horz" pos="414" userDrawn="1">
          <p15:clr>
            <a:srgbClr val="F26B43"/>
          </p15:clr>
        </p15:guide>
        <p15:guide id="12" orient="horz" pos="388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3887996"/>
      </p:ext>
    </p:extLst>
  </p:cSld>
  <p:clrMap bg1="lt1" tx1="dk1" bg2="lt2" tx2="dk2" accent1="accent1" accent2="accent2" accent3="accent3" accent4="accent4" accent5="accent5" accent6="accent6" hlink="hlink" folHlink="folHlink"/>
  <p:sldLayoutIdLst>
    <p:sldLayoutId id="2147483809" r:id="rId1"/>
    <p:sldLayoutId id="2147483678" r:id="rId2"/>
    <p:sldLayoutId id="2147483808" r:id="rId3"/>
  </p:sldLayoutIdLst>
  <p:hf hdr="0" ftr="0" dt="0"/>
  <p:txStyles>
    <p:titleStyle>
      <a:lvl1pPr algn="l" defTabSz="914400" rtl="0" eaLnBrk="1" latinLnBrk="0" hangingPunct="1">
        <a:lnSpc>
          <a:spcPct val="90000"/>
        </a:lnSpc>
        <a:spcBef>
          <a:spcPct val="0"/>
        </a:spcBef>
        <a:buNone/>
        <a:defRPr sz="4400" b="1" i="0" kern="1200">
          <a:solidFill>
            <a:srgbClr val="FFFFFF"/>
          </a:solidFill>
          <a:latin typeface="HelveticaNeueLT Com 55 Roman" panose="020B0604020202020204" pitchFamily="34" charset="77"/>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rgbClr val="FFFFFF"/>
          </a:solidFill>
          <a:latin typeface="HelveticaNeueLT Com 45 Lt" panose="020B0403020202020204" pitchFamily="34"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rgbClr val="FFFFFF"/>
          </a:solidFill>
          <a:latin typeface="HelveticaNeueLT Com 45 Lt" panose="020B0403020202020204" pitchFamily="34"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rgbClr val="FFFFFF"/>
          </a:solidFill>
          <a:latin typeface="HelveticaNeueLT Com 45 Lt" panose="020B0403020202020204" pitchFamily="34"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rgbClr val="FFFFFF"/>
          </a:solidFill>
          <a:latin typeface="HelveticaNeueLT Com 45 Lt" panose="020B0403020202020204" pitchFamily="34"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rgbClr val="FFFFFF"/>
          </a:solidFill>
          <a:latin typeface="HelveticaNeueLT Com 45 Lt" panose="020B0403020202020204" pitchFamily="34"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4"/>
            </p:custDataLst>
          </p:nvPr>
        </p:nvGraphicFramePr>
        <p:xfrm>
          <a:off x="1630" y="1492"/>
          <a:ext cx="1628" cy="1489"/>
        </p:xfrm>
        <a:graphic>
          <a:graphicData uri="http://schemas.openxmlformats.org/presentationml/2006/ole">
            <mc:AlternateContent xmlns:mc="http://schemas.openxmlformats.org/markup-compatibility/2006">
              <mc:Choice xmlns:v="urn:schemas-microsoft-com:vml" Requires="v">
                <p:oleObj spid="_x0000_s1026" name="think-cell Slide" r:id="rId6" imgW="360" imgH="360" progId="TCLayout.ActiveDocument.1">
                  <p:embed/>
                </p:oleObj>
              </mc:Choice>
              <mc:Fallback>
                <p:oleObj name="think-cell Slide" r:id="rId6" imgW="360" imgH="360" progId="TCLayout.ActiveDocument.1">
                  <p:embed/>
                  <p:pic>
                    <p:nvPicPr>
                      <p:cNvPr id="12" name="Object 1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30" y="1492"/>
                        <a:ext cx="1628" cy="148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5"/>
            </p:custDataLst>
          </p:nvPr>
        </p:nvSpPr>
        <p:spPr>
          <a:xfrm>
            <a:off x="1" y="0"/>
            <a:ext cx="162820"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1097044"/>
            <a:endParaRPr lang="en-US" sz="3000" b="1" dirty="0">
              <a:solidFill>
                <a:prstClr val="white"/>
              </a:solidFill>
              <a:sym typeface="Calibri"/>
            </a:endParaRPr>
          </a:p>
        </p:txBody>
      </p:sp>
      <p:sp>
        <p:nvSpPr>
          <p:cNvPr id="3" name="Text Placeholder 2"/>
          <p:cNvSpPr>
            <a:spLocks noGrp="1"/>
          </p:cNvSpPr>
          <p:nvPr>
            <p:ph type="body" idx="1"/>
          </p:nvPr>
        </p:nvSpPr>
        <p:spPr>
          <a:xfrm>
            <a:off x="609600" y="1457326"/>
            <a:ext cx="10972801" cy="4525963"/>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 y="6643702"/>
            <a:ext cx="12192000" cy="214313"/>
          </a:xfrm>
          <a:prstGeom prst="rect">
            <a:avLst/>
          </a:prstGeom>
        </p:spPr>
      </p:pic>
      <p:pic>
        <p:nvPicPr>
          <p:cNvPr id="10" name="Picture 9"/>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42217" y="6641554"/>
            <a:ext cx="3029322" cy="235832"/>
          </a:xfrm>
          <a:prstGeom prst="rect">
            <a:avLst/>
          </a:prstGeom>
        </p:spPr>
      </p:pic>
      <p:grpSp>
        <p:nvGrpSpPr>
          <p:cNvPr id="13" name="Group 12"/>
          <p:cNvGrpSpPr/>
          <p:nvPr/>
        </p:nvGrpSpPr>
        <p:grpSpPr>
          <a:xfrm>
            <a:off x="15" y="214313"/>
            <a:ext cx="12180450" cy="0"/>
            <a:chOff x="0" y="7010400"/>
            <a:chExt cx="11875939" cy="0"/>
          </a:xfrm>
        </p:grpSpPr>
        <p:cxnSp>
          <p:nvCxnSpPr>
            <p:cNvPr id="14" name="Straight Connector 13"/>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11765979" y="6674594"/>
            <a:ext cx="150721" cy="153888"/>
          </a:xfrm>
          <a:prstGeom prst="rect">
            <a:avLst/>
          </a:prstGeom>
        </p:spPr>
        <p:txBody>
          <a:bodyPr vert="horz" wrap="square" lIns="0" tIns="0" rIns="0" bIns="0" rtlCol="0" anchor="ctr">
            <a:spAutoFit/>
          </a:bodyPr>
          <a:lstStyle>
            <a:defPPr>
              <a:defRPr lang="en-US"/>
            </a:defPPr>
            <a:lvl1pPr algn="r">
              <a:defRPr sz="1000">
                <a:solidFill>
                  <a:schemeClr val="tx1">
                    <a:tint val="75000"/>
                  </a:schemeClr>
                </a:solidFill>
              </a:defRPr>
            </a:lvl1pPr>
          </a:lstStyle>
          <a:p>
            <a:pPr defTabSz="1097044"/>
            <a:fld id="{71CD41B7-D8E7-46DE-B5DB-17BDF6CBC4C2}" type="slidenum">
              <a:rPr lang="en-GB" sz="1000">
                <a:solidFill>
                  <a:srgbClr val="17426B"/>
                </a:solidFill>
              </a:rPr>
              <a:pPr defTabSz="1097044"/>
              <a:t>‹#›</a:t>
            </a:fld>
            <a:endParaRPr lang="en-GB" sz="1000" dirty="0">
              <a:solidFill>
                <a:srgbClr val="17426B"/>
              </a:solidFill>
            </a:endParaRPr>
          </a:p>
        </p:txBody>
      </p:sp>
      <p:sp>
        <p:nvSpPr>
          <p:cNvPr id="22" name="Title Placeholder 1"/>
          <p:cNvSpPr>
            <a:spLocks noGrp="1"/>
          </p:cNvSpPr>
          <p:nvPr>
            <p:ph type="title"/>
          </p:nvPr>
        </p:nvSpPr>
        <p:spPr>
          <a:xfrm>
            <a:off x="608950" y="-105667"/>
            <a:ext cx="10974103" cy="1143000"/>
          </a:xfrm>
          <a:prstGeom prst="rect">
            <a:avLst/>
          </a:prstGeom>
        </p:spPr>
        <p:txBody>
          <a:bodyPr vert="horz" lIns="91421" tIns="45710" rIns="91421" bIns="45710" rtlCol="0" anchor="ctr">
            <a:normAutofit/>
          </a:bodyPr>
          <a:lstStyle/>
          <a:p>
            <a:r>
              <a:rPr lang="en-US" dirty="0"/>
              <a:t>Click to edit Master title style</a:t>
            </a:r>
          </a:p>
        </p:txBody>
      </p:sp>
    </p:spTree>
    <p:extLst>
      <p:ext uri="{BB962C8B-B14F-4D97-AF65-F5344CB8AC3E}">
        <p14:creationId xmlns:p14="http://schemas.microsoft.com/office/powerpoint/2010/main" val="760433660"/>
      </p:ext>
    </p:extLst>
  </p:cSld>
  <p:clrMap bg1="lt1" tx1="dk1" bg2="lt2" tx2="dk2" accent1="accent1" accent2="accent2" accent3="accent3" accent4="accent4" accent5="accent5" accent6="accent6" hlink="hlink" folHlink="folHlink"/>
  <p:sldLayoutIdLst>
    <p:sldLayoutId id="2147483861" r:id="rId1"/>
  </p:sldLayoutIdLst>
  <p:txStyles>
    <p:titleStyle>
      <a:lvl1pPr algn="l" defTabSz="1097044" rtl="0" eaLnBrk="1" latinLnBrk="0" hangingPunct="1">
        <a:spcBef>
          <a:spcPct val="0"/>
        </a:spcBef>
        <a:buNone/>
        <a:defRPr sz="3200" b="1" kern="1200" cap="all" baseline="0">
          <a:solidFill>
            <a:srgbClr val="17426B"/>
          </a:solidFill>
          <a:latin typeface="+mj-lt"/>
          <a:ea typeface="+mj-ea"/>
          <a:cs typeface="+mj-cs"/>
        </a:defRPr>
      </a:lvl1pPr>
    </p:titleStyle>
    <p:bodyStyle>
      <a:lvl1pPr marL="411392" indent="-411392" algn="l" defTabSz="1097044" rtl="0" eaLnBrk="1" latinLnBrk="0" hangingPunct="1">
        <a:spcBef>
          <a:spcPct val="20000"/>
        </a:spcBef>
        <a:buFont typeface="Arial" pitchFamily="34" charset="0"/>
        <a:buChar char="•"/>
        <a:defRPr sz="2800" kern="1200">
          <a:solidFill>
            <a:schemeClr val="tx1"/>
          </a:solidFill>
          <a:latin typeface="+mn-lt"/>
          <a:ea typeface="+mn-ea"/>
          <a:cs typeface="+mn-cs"/>
        </a:defRPr>
      </a:lvl1pPr>
      <a:lvl2pPr marL="891348" indent="-342826" algn="l" defTabSz="1097044" rtl="0" eaLnBrk="1" latinLnBrk="0" hangingPunct="1">
        <a:spcBef>
          <a:spcPct val="20000"/>
        </a:spcBef>
        <a:buFont typeface="Arial" pitchFamily="34" charset="0"/>
        <a:buChar char="–"/>
        <a:defRPr sz="2400" kern="1200">
          <a:solidFill>
            <a:schemeClr val="tx1"/>
          </a:solidFill>
          <a:latin typeface="+mn-lt"/>
          <a:ea typeface="+mn-ea"/>
          <a:cs typeface="+mn-cs"/>
        </a:defRPr>
      </a:lvl2pPr>
      <a:lvl3pPr marL="1371305" indent="-274261" algn="l" defTabSz="1097044" rtl="0" eaLnBrk="1" latinLnBrk="0" hangingPunct="1">
        <a:spcBef>
          <a:spcPct val="20000"/>
        </a:spcBef>
        <a:buFont typeface="Arial" pitchFamily="34" charset="0"/>
        <a:buChar char="•"/>
        <a:defRPr sz="2000" kern="1200">
          <a:solidFill>
            <a:schemeClr val="tx1"/>
          </a:solidFill>
          <a:latin typeface="+mn-lt"/>
          <a:ea typeface="+mn-ea"/>
          <a:cs typeface="+mn-cs"/>
        </a:defRPr>
      </a:lvl3pPr>
      <a:lvl4pPr marL="1919827" indent="-274261" algn="l" defTabSz="1097044" rtl="0" eaLnBrk="1" latinLnBrk="0" hangingPunct="1">
        <a:spcBef>
          <a:spcPct val="20000"/>
        </a:spcBef>
        <a:buFont typeface="Arial" pitchFamily="34" charset="0"/>
        <a:buChar char="–"/>
        <a:defRPr sz="1800" kern="1200">
          <a:solidFill>
            <a:schemeClr val="tx1"/>
          </a:solidFill>
          <a:latin typeface="+mn-lt"/>
          <a:ea typeface="+mn-ea"/>
          <a:cs typeface="+mn-cs"/>
        </a:defRPr>
      </a:lvl4pPr>
      <a:lvl5pPr marL="2468349" indent="-274261" algn="l" defTabSz="109704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3016870" indent="-274261" algn="l" defTabSz="1097044"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5393" indent="-274261" algn="l" defTabSz="1097044"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3915" indent="-274261" algn="l" defTabSz="1097044"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2436" indent="-274261" algn="l" defTabSz="1097044"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044" rtl="0" eaLnBrk="1" latinLnBrk="0" hangingPunct="1">
        <a:defRPr sz="2200" kern="1200">
          <a:solidFill>
            <a:schemeClr val="tx1"/>
          </a:solidFill>
          <a:latin typeface="+mn-lt"/>
          <a:ea typeface="+mn-ea"/>
          <a:cs typeface="+mn-cs"/>
        </a:defRPr>
      </a:lvl1pPr>
      <a:lvl2pPr marL="548522" algn="l" defTabSz="1097044" rtl="0" eaLnBrk="1" latinLnBrk="0" hangingPunct="1">
        <a:defRPr sz="2200" kern="1200">
          <a:solidFill>
            <a:schemeClr val="tx1"/>
          </a:solidFill>
          <a:latin typeface="+mn-lt"/>
          <a:ea typeface="+mn-ea"/>
          <a:cs typeface="+mn-cs"/>
        </a:defRPr>
      </a:lvl2pPr>
      <a:lvl3pPr marL="1097044" algn="l" defTabSz="1097044" rtl="0" eaLnBrk="1" latinLnBrk="0" hangingPunct="1">
        <a:defRPr sz="2200" kern="1200">
          <a:solidFill>
            <a:schemeClr val="tx1"/>
          </a:solidFill>
          <a:latin typeface="+mn-lt"/>
          <a:ea typeface="+mn-ea"/>
          <a:cs typeface="+mn-cs"/>
        </a:defRPr>
      </a:lvl3pPr>
      <a:lvl4pPr marL="1645566" algn="l" defTabSz="1097044" rtl="0" eaLnBrk="1" latinLnBrk="0" hangingPunct="1">
        <a:defRPr sz="2200" kern="1200">
          <a:solidFill>
            <a:schemeClr val="tx1"/>
          </a:solidFill>
          <a:latin typeface="+mn-lt"/>
          <a:ea typeface="+mn-ea"/>
          <a:cs typeface="+mn-cs"/>
        </a:defRPr>
      </a:lvl4pPr>
      <a:lvl5pPr marL="2194088" algn="l" defTabSz="1097044" rtl="0" eaLnBrk="1" latinLnBrk="0" hangingPunct="1">
        <a:defRPr sz="2200" kern="1200">
          <a:solidFill>
            <a:schemeClr val="tx1"/>
          </a:solidFill>
          <a:latin typeface="+mn-lt"/>
          <a:ea typeface="+mn-ea"/>
          <a:cs typeface="+mn-cs"/>
        </a:defRPr>
      </a:lvl5pPr>
      <a:lvl6pPr marL="2742610" algn="l" defTabSz="1097044" rtl="0" eaLnBrk="1" latinLnBrk="0" hangingPunct="1">
        <a:defRPr sz="2200" kern="1200">
          <a:solidFill>
            <a:schemeClr val="tx1"/>
          </a:solidFill>
          <a:latin typeface="+mn-lt"/>
          <a:ea typeface="+mn-ea"/>
          <a:cs typeface="+mn-cs"/>
        </a:defRPr>
      </a:lvl6pPr>
      <a:lvl7pPr marL="3291132" algn="l" defTabSz="1097044" rtl="0" eaLnBrk="1" latinLnBrk="0" hangingPunct="1">
        <a:defRPr sz="2200" kern="1200">
          <a:solidFill>
            <a:schemeClr val="tx1"/>
          </a:solidFill>
          <a:latin typeface="+mn-lt"/>
          <a:ea typeface="+mn-ea"/>
          <a:cs typeface="+mn-cs"/>
        </a:defRPr>
      </a:lvl7pPr>
      <a:lvl8pPr marL="3839653" algn="l" defTabSz="1097044" rtl="0" eaLnBrk="1" latinLnBrk="0" hangingPunct="1">
        <a:defRPr sz="2200" kern="1200">
          <a:solidFill>
            <a:schemeClr val="tx1"/>
          </a:solidFill>
          <a:latin typeface="+mn-lt"/>
          <a:ea typeface="+mn-ea"/>
          <a:cs typeface="+mn-cs"/>
        </a:defRPr>
      </a:lvl8pPr>
      <a:lvl9pPr marL="4388175" algn="l" defTabSz="1097044"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5"/>
            </p:custDataLst>
          </p:nvPr>
        </p:nvGraphicFramePr>
        <p:xfrm>
          <a:off x="1634" y="1525"/>
          <a:ext cx="1629" cy="1491"/>
        </p:xfrm>
        <a:graphic>
          <a:graphicData uri="http://schemas.openxmlformats.org/presentationml/2006/ole">
            <mc:AlternateContent xmlns:mc="http://schemas.openxmlformats.org/markup-compatibility/2006">
              <mc:Choice xmlns:v="urn:schemas-microsoft-com:vml" Requires="v">
                <p:oleObj spid="_x0000_s3074" name="think-cell Slide" r:id="rId7" imgW="347" imgH="346" progId="TCLayout.ActiveDocument.1">
                  <p:embed/>
                </p:oleObj>
              </mc:Choice>
              <mc:Fallback>
                <p:oleObj name="think-cell Slide" r:id="rId7" imgW="347" imgH="346" progId="TCLayout.ActiveDocument.1">
                  <p:embed/>
                  <p:pic>
                    <p:nvPicPr>
                      <p:cNvPr id="12" name="Object 11" hidden="1"/>
                      <p:cNvPicPr/>
                      <p:nvPr/>
                    </p:nvPicPr>
                    <p:blipFill>
                      <a:blip r:embed="rId8"/>
                      <a:stretch>
                        <a:fillRect/>
                      </a:stretch>
                    </p:blipFill>
                    <p:spPr>
                      <a:xfrm>
                        <a:off x="1634" y="1525"/>
                        <a:ext cx="1629" cy="1491"/>
                      </a:xfrm>
                      <a:prstGeom prst="rect">
                        <a:avLst/>
                      </a:prstGeom>
                    </p:spPr>
                  </p:pic>
                </p:oleObj>
              </mc:Fallback>
            </mc:AlternateContent>
          </a:graphicData>
        </a:graphic>
      </p:graphicFrame>
      <p:sp>
        <p:nvSpPr>
          <p:cNvPr id="11" name="Rectangle 10" hidden="1"/>
          <p:cNvSpPr/>
          <p:nvPr>
            <p:custDataLst>
              <p:tags r:id="rId6"/>
            </p:custDataLst>
          </p:nvPr>
        </p:nvSpPr>
        <p:spPr>
          <a:xfrm>
            <a:off x="3" y="3"/>
            <a:ext cx="162820" cy="14882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813" b="1" i="0" baseline="0" dirty="0">
              <a:latin typeface="Calibri"/>
              <a:ea typeface="+mj-ea"/>
              <a:cs typeface="+mj-cs"/>
              <a:sym typeface="Calibri"/>
            </a:endParaRPr>
          </a:p>
        </p:txBody>
      </p:sp>
      <p:sp>
        <p:nvSpPr>
          <p:cNvPr id="3" name="Text Placeholder 2"/>
          <p:cNvSpPr>
            <a:spLocks noGrp="1"/>
          </p:cNvSpPr>
          <p:nvPr>
            <p:ph type="body" idx="1"/>
          </p:nvPr>
        </p:nvSpPr>
        <p:spPr>
          <a:xfrm>
            <a:off x="609600" y="1457326"/>
            <a:ext cx="10972801" cy="45259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 y="6643726"/>
            <a:ext cx="12192000" cy="214313"/>
          </a:xfrm>
          <a:prstGeom prst="rect">
            <a:avLst/>
          </a:prstGeom>
        </p:spPr>
      </p:pic>
      <p:pic>
        <p:nvPicPr>
          <p:cNvPr id="10" name="Picture 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642201" y="6641555"/>
            <a:ext cx="3029323" cy="235832"/>
          </a:xfrm>
          <a:prstGeom prst="rect">
            <a:avLst/>
          </a:prstGeom>
        </p:spPr>
      </p:pic>
      <p:grpSp>
        <p:nvGrpSpPr>
          <p:cNvPr id="13" name="Group 12"/>
          <p:cNvGrpSpPr/>
          <p:nvPr/>
        </p:nvGrpSpPr>
        <p:grpSpPr>
          <a:xfrm>
            <a:off x="6" y="214313"/>
            <a:ext cx="12180449" cy="0"/>
            <a:chOff x="0" y="7010400"/>
            <a:chExt cx="11875939" cy="0"/>
          </a:xfrm>
        </p:grpSpPr>
        <p:cxnSp>
          <p:nvCxnSpPr>
            <p:cNvPr id="14" name="Straight Connector 13"/>
            <p:cNvCxnSpPr/>
            <p:nvPr/>
          </p:nvCxnSpPr>
          <p:spPr>
            <a:xfrm>
              <a:off x="10706100" y="7010400"/>
              <a:ext cx="1169839" cy="0"/>
            </a:xfrm>
            <a:prstGeom prst="line">
              <a:avLst/>
            </a:prstGeom>
            <a:ln w="19050">
              <a:solidFill>
                <a:srgbClr val="BCD9EE"/>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6325870" y="7010400"/>
              <a:ext cx="444246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0" y="7010400"/>
              <a:ext cx="4038600" cy="0"/>
            </a:xfrm>
            <a:prstGeom prst="line">
              <a:avLst/>
            </a:prstGeom>
            <a:ln w="19050">
              <a:solidFill>
                <a:srgbClr val="1582C5"/>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664162" y="7010400"/>
              <a:ext cx="1884037" cy="0"/>
            </a:xfrm>
            <a:prstGeom prst="line">
              <a:avLst/>
            </a:prstGeom>
            <a:ln w="190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012504" y="7010400"/>
              <a:ext cx="726377" cy="0"/>
            </a:xfrm>
            <a:prstGeom prst="line">
              <a:avLst/>
            </a:prstGeom>
            <a:ln w="19050">
              <a:solidFill>
                <a:srgbClr val="9FD3E1"/>
              </a:solidFill>
            </a:ln>
          </p:spPr>
          <p:style>
            <a:lnRef idx="1">
              <a:schemeClr val="accent1"/>
            </a:lnRef>
            <a:fillRef idx="0">
              <a:schemeClr val="accent1"/>
            </a:fillRef>
            <a:effectRef idx="0">
              <a:schemeClr val="accent1"/>
            </a:effectRef>
            <a:fontRef idx="minor">
              <a:schemeClr val="tx1"/>
            </a:fontRef>
          </p:style>
        </p:cxnSp>
      </p:grpSp>
      <p:sp>
        <p:nvSpPr>
          <p:cNvPr id="19" name="TextBox 18"/>
          <p:cNvSpPr txBox="1"/>
          <p:nvPr/>
        </p:nvSpPr>
        <p:spPr>
          <a:xfrm>
            <a:off x="11765980" y="6674595"/>
            <a:ext cx="150721" cy="153888"/>
          </a:xfrm>
          <a:prstGeom prst="rect">
            <a:avLst/>
          </a:prstGeom>
        </p:spPr>
        <p:txBody>
          <a:bodyPr vert="horz" wrap="square" lIns="0" tIns="0" rIns="0" bIns="0" rtlCol="0" anchor="ctr">
            <a:spAutoFit/>
          </a:bodyPr>
          <a:lstStyle>
            <a:defPPr>
              <a:defRPr lang="en-US"/>
            </a:defPPr>
            <a:lvl1pPr algn="r">
              <a:defRPr sz="1000">
                <a:solidFill>
                  <a:schemeClr val="tx1">
                    <a:tint val="75000"/>
                  </a:schemeClr>
                </a:solidFill>
              </a:defRPr>
            </a:lvl1pPr>
          </a:lstStyle>
          <a:p>
            <a:pPr lvl="0"/>
            <a:fld id="{71CD41B7-D8E7-46DE-B5DB-17BDF6CBC4C2}" type="slidenum">
              <a:rPr lang="en-GB" sz="1000">
                <a:solidFill>
                  <a:schemeClr val="tx2"/>
                </a:solidFill>
              </a:rPr>
              <a:pPr lvl="0"/>
              <a:t>‹#›</a:t>
            </a:fld>
            <a:endParaRPr lang="en-GB" sz="1000" dirty="0">
              <a:solidFill>
                <a:schemeClr val="tx2"/>
              </a:solidFill>
            </a:endParaRPr>
          </a:p>
        </p:txBody>
      </p:sp>
      <p:sp>
        <p:nvSpPr>
          <p:cNvPr id="22" name="Title Placeholder 1"/>
          <p:cNvSpPr>
            <a:spLocks noGrp="1"/>
          </p:cNvSpPr>
          <p:nvPr>
            <p:ph type="title"/>
          </p:nvPr>
        </p:nvSpPr>
        <p:spPr>
          <a:xfrm>
            <a:off x="608956" y="214354"/>
            <a:ext cx="10974103" cy="1226999"/>
          </a:xfrm>
          <a:prstGeom prst="rect">
            <a:avLst/>
          </a:prstGeom>
        </p:spPr>
        <p:txBody>
          <a:bodyPr vert="horz" lIns="91235" tIns="45618" rIns="91235" bIns="45618" rtlCol="0" anchor="t" anchorCtr="0">
            <a:normAutofit/>
          </a:bodyPr>
          <a:lstStyle/>
          <a:p>
            <a:r>
              <a:rPr lang="en-US"/>
              <a:t>Click to edit Master title style</a:t>
            </a:r>
          </a:p>
        </p:txBody>
      </p:sp>
    </p:spTree>
    <p:extLst>
      <p:ext uri="{BB962C8B-B14F-4D97-AF65-F5344CB8AC3E}">
        <p14:creationId xmlns:p14="http://schemas.microsoft.com/office/powerpoint/2010/main" val="788415606"/>
      </p:ext>
    </p:extLst>
  </p:cSld>
  <p:clrMap bg1="lt1" tx1="dk1" bg2="lt2" tx2="dk2" accent1="accent1" accent2="accent2" accent3="accent3" accent4="accent4" accent5="accent5" accent6="accent6" hlink="hlink" folHlink="folHlink"/>
  <p:sldLayoutIdLst>
    <p:sldLayoutId id="2147484015" r:id="rId1"/>
    <p:sldLayoutId id="2147484001" r:id="rId2"/>
  </p:sldLayoutIdLst>
  <p:txStyles>
    <p:titleStyle>
      <a:lvl1pPr algn="l" defTabSz="1026134" rtl="0" eaLnBrk="1" latinLnBrk="0" hangingPunct="1">
        <a:spcBef>
          <a:spcPct val="0"/>
        </a:spcBef>
        <a:buNone/>
        <a:defRPr sz="2999" b="1" kern="1200" cap="all" baseline="0">
          <a:solidFill>
            <a:srgbClr val="17426B"/>
          </a:solidFill>
          <a:latin typeface="+mj-lt"/>
          <a:ea typeface="+mj-ea"/>
          <a:cs typeface="+mj-cs"/>
        </a:defRPr>
      </a:lvl1pPr>
    </p:titleStyle>
    <p:bodyStyle>
      <a:lvl1pPr marL="384794" indent="-384794" algn="l" defTabSz="1026134" rtl="0" eaLnBrk="1" latinLnBrk="0" hangingPunct="1">
        <a:spcBef>
          <a:spcPct val="20000"/>
        </a:spcBef>
        <a:buFont typeface="Arial" pitchFamily="34" charset="0"/>
        <a:buChar char="•"/>
        <a:defRPr sz="1500" kern="1200">
          <a:solidFill>
            <a:schemeClr val="tx1"/>
          </a:solidFill>
          <a:latin typeface="+mn-lt"/>
          <a:ea typeface="+mn-ea"/>
          <a:cs typeface="+mn-cs"/>
        </a:defRPr>
      </a:lvl1pPr>
      <a:lvl2pPr marL="833730" indent="-320674" algn="l" defTabSz="1026134" rtl="0" eaLnBrk="1" latinLnBrk="0" hangingPunct="1">
        <a:spcBef>
          <a:spcPct val="20000"/>
        </a:spcBef>
        <a:buFont typeface="Arial" pitchFamily="34" charset="0"/>
        <a:buChar char="–"/>
        <a:defRPr sz="1218" kern="1200">
          <a:solidFill>
            <a:schemeClr val="tx1"/>
          </a:solidFill>
          <a:latin typeface="+mn-lt"/>
          <a:ea typeface="+mn-ea"/>
          <a:cs typeface="+mn-cs"/>
        </a:defRPr>
      </a:lvl2pPr>
      <a:lvl3pPr marL="1282670" indent="-256536" algn="l" defTabSz="1026134" rtl="0" eaLnBrk="1" latinLnBrk="0" hangingPunct="1">
        <a:spcBef>
          <a:spcPct val="20000"/>
        </a:spcBef>
        <a:buFont typeface="Arial" pitchFamily="34" charset="0"/>
        <a:buChar char="•"/>
        <a:defRPr sz="1125" kern="1200">
          <a:solidFill>
            <a:schemeClr val="tx1"/>
          </a:solidFill>
          <a:latin typeface="+mn-lt"/>
          <a:ea typeface="+mn-ea"/>
          <a:cs typeface="+mn-cs"/>
        </a:defRPr>
      </a:lvl3pPr>
      <a:lvl4pPr marL="1795734" indent="-256536" algn="l" defTabSz="1026134" rtl="0" eaLnBrk="1" latinLnBrk="0" hangingPunct="1">
        <a:spcBef>
          <a:spcPct val="20000"/>
        </a:spcBef>
        <a:buFont typeface="Arial" pitchFamily="34" charset="0"/>
        <a:buChar char="–"/>
        <a:defRPr sz="1030" kern="1200">
          <a:solidFill>
            <a:schemeClr val="tx1"/>
          </a:solidFill>
          <a:latin typeface="+mn-lt"/>
          <a:ea typeface="+mn-ea"/>
          <a:cs typeface="+mn-cs"/>
        </a:defRPr>
      </a:lvl4pPr>
      <a:lvl5pPr marL="2308801" indent="-256536" algn="l" defTabSz="1026134" rtl="0" eaLnBrk="1" latinLnBrk="0" hangingPunct="1">
        <a:spcBef>
          <a:spcPct val="20000"/>
        </a:spcBef>
        <a:buFont typeface="Arial" pitchFamily="34" charset="0"/>
        <a:buChar char="»"/>
        <a:defRPr sz="1030" kern="1200">
          <a:solidFill>
            <a:schemeClr val="tx1"/>
          </a:solidFill>
          <a:latin typeface="+mn-lt"/>
          <a:ea typeface="+mn-ea"/>
          <a:cs typeface="+mn-cs"/>
        </a:defRPr>
      </a:lvl5pPr>
      <a:lvl6pPr marL="2821873" indent="-256536" algn="l" defTabSz="1026134" rtl="0" eaLnBrk="1" latinLnBrk="0" hangingPunct="1">
        <a:spcBef>
          <a:spcPct val="20000"/>
        </a:spcBef>
        <a:buFont typeface="Arial" pitchFamily="34" charset="0"/>
        <a:buChar char="•"/>
        <a:defRPr sz="2250" kern="1200">
          <a:solidFill>
            <a:schemeClr val="tx1"/>
          </a:solidFill>
          <a:latin typeface="+mn-lt"/>
          <a:ea typeface="+mn-ea"/>
          <a:cs typeface="+mn-cs"/>
        </a:defRPr>
      </a:lvl6pPr>
      <a:lvl7pPr marL="3334935" indent="-256536" algn="l" defTabSz="1026134" rtl="0" eaLnBrk="1" latinLnBrk="0" hangingPunct="1">
        <a:spcBef>
          <a:spcPct val="20000"/>
        </a:spcBef>
        <a:buFont typeface="Arial" pitchFamily="34" charset="0"/>
        <a:buChar char="•"/>
        <a:defRPr sz="2250" kern="1200">
          <a:solidFill>
            <a:schemeClr val="tx1"/>
          </a:solidFill>
          <a:latin typeface="+mn-lt"/>
          <a:ea typeface="+mn-ea"/>
          <a:cs typeface="+mn-cs"/>
        </a:defRPr>
      </a:lvl7pPr>
      <a:lvl8pPr marL="3848002" indent="-256536" algn="l" defTabSz="1026134" rtl="0" eaLnBrk="1" latinLnBrk="0" hangingPunct="1">
        <a:spcBef>
          <a:spcPct val="20000"/>
        </a:spcBef>
        <a:buFont typeface="Arial" pitchFamily="34" charset="0"/>
        <a:buChar char="•"/>
        <a:defRPr sz="2250" kern="1200">
          <a:solidFill>
            <a:schemeClr val="tx1"/>
          </a:solidFill>
          <a:latin typeface="+mn-lt"/>
          <a:ea typeface="+mn-ea"/>
          <a:cs typeface="+mn-cs"/>
        </a:defRPr>
      </a:lvl8pPr>
      <a:lvl9pPr marL="4361072" indent="-256536" algn="l" defTabSz="1026134" rtl="0" eaLnBrk="1" latinLnBrk="0" hangingPunct="1">
        <a:spcBef>
          <a:spcPct val="20000"/>
        </a:spcBef>
        <a:buFont typeface="Arial" pitchFamily="34" charset="0"/>
        <a:buChar char="•"/>
        <a:defRPr sz="2250" kern="1200">
          <a:solidFill>
            <a:schemeClr val="tx1"/>
          </a:solidFill>
          <a:latin typeface="+mn-lt"/>
          <a:ea typeface="+mn-ea"/>
          <a:cs typeface="+mn-cs"/>
        </a:defRPr>
      </a:lvl9pPr>
    </p:bodyStyle>
    <p:otherStyle>
      <a:defPPr>
        <a:defRPr lang="en-US"/>
      </a:defPPr>
      <a:lvl1pPr marL="0" algn="l" defTabSz="1026134" rtl="0" eaLnBrk="1" latinLnBrk="0" hangingPunct="1">
        <a:defRPr sz="2062" kern="1200">
          <a:solidFill>
            <a:schemeClr val="tx1"/>
          </a:solidFill>
          <a:latin typeface="+mn-lt"/>
          <a:ea typeface="+mn-ea"/>
          <a:cs typeface="+mn-cs"/>
        </a:defRPr>
      </a:lvl1pPr>
      <a:lvl2pPr marL="513070" algn="l" defTabSz="1026134" rtl="0" eaLnBrk="1" latinLnBrk="0" hangingPunct="1">
        <a:defRPr sz="2062" kern="1200">
          <a:solidFill>
            <a:schemeClr val="tx1"/>
          </a:solidFill>
          <a:latin typeface="+mn-lt"/>
          <a:ea typeface="+mn-ea"/>
          <a:cs typeface="+mn-cs"/>
        </a:defRPr>
      </a:lvl2pPr>
      <a:lvl3pPr marL="1026134" algn="l" defTabSz="1026134" rtl="0" eaLnBrk="1" latinLnBrk="0" hangingPunct="1">
        <a:defRPr sz="2062" kern="1200">
          <a:solidFill>
            <a:schemeClr val="tx1"/>
          </a:solidFill>
          <a:latin typeface="+mn-lt"/>
          <a:ea typeface="+mn-ea"/>
          <a:cs typeface="+mn-cs"/>
        </a:defRPr>
      </a:lvl3pPr>
      <a:lvl4pPr marL="1539200" algn="l" defTabSz="1026134" rtl="0" eaLnBrk="1" latinLnBrk="0" hangingPunct="1">
        <a:defRPr sz="2062" kern="1200">
          <a:solidFill>
            <a:schemeClr val="tx1"/>
          </a:solidFill>
          <a:latin typeface="+mn-lt"/>
          <a:ea typeface="+mn-ea"/>
          <a:cs typeface="+mn-cs"/>
        </a:defRPr>
      </a:lvl4pPr>
      <a:lvl5pPr marL="2052259" algn="l" defTabSz="1026134" rtl="0" eaLnBrk="1" latinLnBrk="0" hangingPunct="1">
        <a:defRPr sz="2062" kern="1200">
          <a:solidFill>
            <a:schemeClr val="tx1"/>
          </a:solidFill>
          <a:latin typeface="+mn-lt"/>
          <a:ea typeface="+mn-ea"/>
          <a:cs typeface="+mn-cs"/>
        </a:defRPr>
      </a:lvl5pPr>
      <a:lvl6pPr marL="2565327" algn="l" defTabSz="1026134" rtl="0" eaLnBrk="1" latinLnBrk="0" hangingPunct="1">
        <a:defRPr sz="2062" kern="1200">
          <a:solidFill>
            <a:schemeClr val="tx1"/>
          </a:solidFill>
          <a:latin typeface="+mn-lt"/>
          <a:ea typeface="+mn-ea"/>
          <a:cs typeface="+mn-cs"/>
        </a:defRPr>
      </a:lvl6pPr>
      <a:lvl7pPr marL="3078389" algn="l" defTabSz="1026134" rtl="0" eaLnBrk="1" latinLnBrk="0" hangingPunct="1">
        <a:defRPr sz="2062" kern="1200">
          <a:solidFill>
            <a:schemeClr val="tx1"/>
          </a:solidFill>
          <a:latin typeface="+mn-lt"/>
          <a:ea typeface="+mn-ea"/>
          <a:cs typeface="+mn-cs"/>
        </a:defRPr>
      </a:lvl7pPr>
      <a:lvl8pPr marL="3591459" algn="l" defTabSz="1026134" rtl="0" eaLnBrk="1" latinLnBrk="0" hangingPunct="1">
        <a:defRPr sz="2062" kern="1200">
          <a:solidFill>
            <a:schemeClr val="tx1"/>
          </a:solidFill>
          <a:latin typeface="+mn-lt"/>
          <a:ea typeface="+mn-ea"/>
          <a:cs typeface="+mn-cs"/>
        </a:defRPr>
      </a:lvl8pPr>
      <a:lvl9pPr marL="4104530" algn="l" defTabSz="1026134" rtl="0" eaLnBrk="1" latinLnBrk="0" hangingPunct="1">
        <a:defRPr sz="20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chart" Target="../charts/chart1.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35.emf"/><Relationship Id="rId5" Type="http://schemas.openxmlformats.org/officeDocument/2006/relationships/oleObject" Target="../embeddings/oleObject6.bin"/><Relationship Id="rId4"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11.xml"/><Relationship Id="rId7" Type="http://schemas.openxmlformats.org/officeDocument/2006/relationships/chart" Target="../charts/chart2.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35.emf"/><Relationship Id="rId5" Type="http://schemas.openxmlformats.org/officeDocument/2006/relationships/oleObject" Target="../embeddings/oleObject7.bin"/><Relationship Id="rId4"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13.xml"/><Relationship Id="rId7" Type="http://schemas.openxmlformats.org/officeDocument/2006/relationships/chart" Target="../charts/chart4.xml"/><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35.emf"/><Relationship Id="rId5" Type="http://schemas.openxmlformats.org/officeDocument/2006/relationships/oleObject" Target="../embeddings/oleObject8.bin"/><Relationship Id="rId4"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tags" Target="../tags/tag15.xml"/><Relationship Id="rId7" Type="http://schemas.openxmlformats.org/officeDocument/2006/relationships/chart" Target="../charts/chart6.xml"/><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35.emf"/><Relationship Id="rId5" Type="http://schemas.openxmlformats.org/officeDocument/2006/relationships/oleObject" Target="../embeddings/oleObject9.bin"/><Relationship Id="rId4"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16.xml"/><Relationship Id="rId1" Type="http://schemas.openxmlformats.org/officeDocument/2006/relationships/vmlDrawing" Target="../drawings/vmlDrawing10.vml"/><Relationship Id="rId5" Type="http://schemas.openxmlformats.org/officeDocument/2006/relationships/image" Target="../media/image28.emf"/><Relationship Id="rId4" Type="http://schemas.openxmlformats.org/officeDocument/2006/relationships/oleObject" Target="../embeddings/oleObject10.bin"/></Relationships>
</file>

<file path=ppt/slides/_rels/slide1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xml"/><Relationship Id="rId1" Type="http://schemas.openxmlformats.org/officeDocument/2006/relationships/slideLayout" Target="../slideLayouts/slideLayout28.xml"/></Relationships>
</file>

<file path=ppt/slides/_rels/slide1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3.xml"/><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9.xml"/><Relationship Id="rId1" Type="http://schemas.openxmlformats.org/officeDocument/2006/relationships/tags" Target="../tags/tag17.xml"/><Relationship Id="rId5" Type="http://schemas.openxmlformats.org/officeDocument/2006/relationships/image" Target="../media/image36.gif"/><Relationship Id="rId4" Type="http://schemas.openxmlformats.org/officeDocument/2006/relationships/chart" Target="../charts/chart1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9.xml"/><Relationship Id="rId1" Type="http://schemas.openxmlformats.org/officeDocument/2006/relationships/tags" Target="../tags/tag18.xml"/><Relationship Id="rId5" Type="http://schemas.openxmlformats.org/officeDocument/2006/relationships/image" Target="../media/image36.gif"/><Relationship Id="rId4" Type="http://schemas.openxmlformats.org/officeDocument/2006/relationships/chart" Target="../charts/chart12.xm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9.xml"/><Relationship Id="rId1" Type="http://schemas.openxmlformats.org/officeDocument/2006/relationships/tags" Target="../tags/tag19.xml"/><Relationship Id="rId5" Type="http://schemas.openxmlformats.org/officeDocument/2006/relationships/image" Target="../media/image36.gif"/><Relationship Id="rId4" Type="http://schemas.openxmlformats.org/officeDocument/2006/relationships/chart" Target="../charts/chart13.xml"/></Relationships>
</file>

<file path=ppt/slides/_rels/slide21.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jpeg"/><Relationship Id="rId39" Type="http://schemas.openxmlformats.org/officeDocument/2006/relationships/image" Target="../media/image68.jpeg"/><Relationship Id="rId21" Type="http://schemas.openxmlformats.org/officeDocument/2006/relationships/image" Target="../media/image50.png"/><Relationship Id="rId34" Type="http://schemas.openxmlformats.org/officeDocument/2006/relationships/image" Target="../media/image63.png"/><Relationship Id="rId42" Type="http://schemas.openxmlformats.org/officeDocument/2006/relationships/image" Target="../media/image71.png"/><Relationship Id="rId47" Type="http://schemas.openxmlformats.org/officeDocument/2006/relationships/image" Target="../media/image76.png"/><Relationship Id="rId50" Type="http://schemas.openxmlformats.org/officeDocument/2006/relationships/image" Target="../media/image79.jpeg"/><Relationship Id="rId55" Type="http://schemas.openxmlformats.org/officeDocument/2006/relationships/image" Target="../media/image84.png"/><Relationship Id="rId7" Type="http://schemas.openxmlformats.org/officeDocument/2006/relationships/image" Target="../media/image38.png"/><Relationship Id="rId2" Type="http://schemas.openxmlformats.org/officeDocument/2006/relationships/tags" Target="../tags/tag20.xml"/><Relationship Id="rId16" Type="http://schemas.openxmlformats.org/officeDocument/2006/relationships/image" Target="../media/image45.jpeg"/><Relationship Id="rId29" Type="http://schemas.openxmlformats.org/officeDocument/2006/relationships/image" Target="../media/image58.png"/><Relationship Id="rId11" Type="http://schemas.openxmlformats.org/officeDocument/2006/relationships/image" Target="../media/image40.pn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6.png"/><Relationship Id="rId40" Type="http://schemas.openxmlformats.org/officeDocument/2006/relationships/image" Target="../media/image69.png"/><Relationship Id="rId45" Type="http://schemas.openxmlformats.org/officeDocument/2006/relationships/image" Target="../media/image74.jpeg"/><Relationship Id="rId53" Type="http://schemas.openxmlformats.org/officeDocument/2006/relationships/image" Target="../media/image82.jpeg"/><Relationship Id="rId58" Type="http://schemas.openxmlformats.org/officeDocument/2006/relationships/image" Target="../media/image36.gif"/><Relationship Id="rId5" Type="http://schemas.openxmlformats.org/officeDocument/2006/relationships/image" Target="../media/image28.emf"/><Relationship Id="rId19" Type="http://schemas.openxmlformats.org/officeDocument/2006/relationships/image" Target="../media/image48.jpeg"/><Relationship Id="rId4" Type="http://schemas.openxmlformats.org/officeDocument/2006/relationships/oleObject" Target="../embeddings/oleObject11.bin"/><Relationship Id="rId9" Type="http://schemas.openxmlformats.org/officeDocument/2006/relationships/image" Target="../media/image39.png"/><Relationship Id="rId14" Type="http://schemas.openxmlformats.org/officeDocument/2006/relationships/image" Target="../media/image43.png"/><Relationship Id="rId22" Type="http://schemas.openxmlformats.org/officeDocument/2006/relationships/image" Target="../media/image51.jpeg"/><Relationship Id="rId27" Type="http://schemas.openxmlformats.org/officeDocument/2006/relationships/image" Target="../media/image56.jpeg"/><Relationship Id="rId30" Type="http://schemas.openxmlformats.org/officeDocument/2006/relationships/image" Target="../media/image59.gif"/><Relationship Id="rId35" Type="http://schemas.openxmlformats.org/officeDocument/2006/relationships/image" Target="../media/image64.png"/><Relationship Id="rId43" Type="http://schemas.openxmlformats.org/officeDocument/2006/relationships/image" Target="../media/image72.png"/><Relationship Id="rId48" Type="http://schemas.openxmlformats.org/officeDocument/2006/relationships/image" Target="../media/image77.png"/><Relationship Id="rId56" Type="http://schemas.openxmlformats.org/officeDocument/2006/relationships/image" Target="../media/image85.jpeg"/><Relationship Id="rId8" Type="http://schemas.microsoft.com/office/2007/relationships/hdphoto" Target="../media/hdphoto2.wdp"/><Relationship Id="rId51" Type="http://schemas.openxmlformats.org/officeDocument/2006/relationships/image" Target="../media/image80.png"/><Relationship Id="rId3" Type="http://schemas.openxmlformats.org/officeDocument/2006/relationships/slideLayout" Target="../slideLayouts/slideLayout28.xml"/><Relationship Id="rId12" Type="http://schemas.openxmlformats.org/officeDocument/2006/relationships/image" Target="../media/image41.png"/><Relationship Id="rId17" Type="http://schemas.openxmlformats.org/officeDocument/2006/relationships/image" Target="../media/image46.png"/><Relationship Id="rId25" Type="http://schemas.openxmlformats.org/officeDocument/2006/relationships/image" Target="../media/image54.png"/><Relationship Id="rId33" Type="http://schemas.openxmlformats.org/officeDocument/2006/relationships/image" Target="../media/image62.png"/><Relationship Id="rId38" Type="http://schemas.openxmlformats.org/officeDocument/2006/relationships/image" Target="../media/image67.png"/><Relationship Id="rId46" Type="http://schemas.openxmlformats.org/officeDocument/2006/relationships/image" Target="../media/image75.png"/><Relationship Id="rId20" Type="http://schemas.openxmlformats.org/officeDocument/2006/relationships/image" Target="../media/image49.jpeg"/><Relationship Id="rId41" Type="http://schemas.openxmlformats.org/officeDocument/2006/relationships/image" Target="../media/image70.png"/><Relationship Id="rId54" Type="http://schemas.openxmlformats.org/officeDocument/2006/relationships/image" Target="../media/image83.png"/><Relationship Id="rId1" Type="http://schemas.openxmlformats.org/officeDocument/2006/relationships/vmlDrawing" Target="../drawings/vmlDrawing11.vml"/><Relationship Id="rId6" Type="http://schemas.openxmlformats.org/officeDocument/2006/relationships/image" Target="../media/image37.jpeg"/><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5.png"/><Relationship Id="rId49" Type="http://schemas.openxmlformats.org/officeDocument/2006/relationships/image" Target="../media/image78.png"/><Relationship Id="rId57" Type="http://schemas.openxmlformats.org/officeDocument/2006/relationships/image" Target="../media/image86.png"/><Relationship Id="rId10" Type="http://schemas.microsoft.com/office/2007/relationships/hdphoto" Target="../media/hdphoto3.wdp"/><Relationship Id="rId31" Type="http://schemas.openxmlformats.org/officeDocument/2006/relationships/image" Target="../media/image60.png"/><Relationship Id="rId44" Type="http://schemas.openxmlformats.org/officeDocument/2006/relationships/image" Target="../media/image73.png"/><Relationship Id="rId52" Type="http://schemas.openxmlformats.org/officeDocument/2006/relationships/image" Target="../media/image81.png"/></Relationships>
</file>

<file path=ppt/slides/_rels/slide22.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8.xml"/><Relationship Id="rId1" Type="http://schemas.openxmlformats.org/officeDocument/2006/relationships/slideLayout" Target="../slideLayouts/slideLayout29.xml"/><Relationship Id="rId4" Type="http://schemas.openxmlformats.org/officeDocument/2006/relationships/image" Target="../media/image36.gif"/></Relationships>
</file>

<file path=ppt/slides/_rels/slide23.xml.rels><?xml version="1.0" encoding="UTF-8" standalone="yes"?>
<Relationships xmlns="http://schemas.openxmlformats.org/package/2006/relationships"><Relationship Id="rId8" Type="http://schemas.openxmlformats.org/officeDocument/2006/relationships/image" Target="../media/image87.png"/><Relationship Id="rId13" Type="http://schemas.openxmlformats.org/officeDocument/2006/relationships/image" Target="../media/image43.png"/><Relationship Id="rId18" Type="http://schemas.openxmlformats.org/officeDocument/2006/relationships/image" Target="../media/image37.jpeg"/><Relationship Id="rId26" Type="http://schemas.openxmlformats.org/officeDocument/2006/relationships/image" Target="../media/image96.jpeg"/><Relationship Id="rId3" Type="http://schemas.openxmlformats.org/officeDocument/2006/relationships/slideLayout" Target="../slideLayouts/slideLayout28.xml"/><Relationship Id="rId21" Type="http://schemas.openxmlformats.org/officeDocument/2006/relationships/image" Target="../media/image92.png"/><Relationship Id="rId7" Type="http://schemas.openxmlformats.org/officeDocument/2006/relationships/image" Target="../media/image55.jpeg"/><Relationship Id="rId12" Type="http://schemas.openxmlformats.org/officeDocument/2006/relationships/image" Target="../media/image42.png"/><Relationship Id="rId17" Type="http://schemas.openxmlformats.org/officeDocument/2006/relationships/image" Target="../media/image51.jpeg"/><Relationship Id="rId25" Type="http://schemas.openxmlformats.org/officeDocument/2006/relationships/image" Target="../media/image95.png"/><Relationship Id="rId2" Type="http://schemas.openxmlformats.org/officeDocument/2006/relationships/tags" Target="../tags/tag21.xml"/><Relationship Id="rId16" Type="http://schemas.openxmlformats.org/officeDocument/2006/relationships/image" Target="../media/image47.png"/><Relationship Id="rId20" Type="http://schemas.openxmlformats.org/officeDocument/2006/relationships/image" Target="../media/image91.png"/><Relationship Id="rId29" Type="http://schemas.openxmlformats.org/officeDocument/2006/relationships/image" Target="../media/image99.png"/><Relationship Id="rId1" Type="http://schemas.openxmlformats.org/officeDocument/2006/relationships/vmlDrawing" Target="../drawings/vmlDrawing12.vml"/><Relationship Id="rId6" Type="http://schemas.openxmlformats.org/officeDocument/2006/relationships/image" Target="../media/image54.png"/><Relationship Id="rId11" Type="http://schemas.openxmlformats.org/officeDocument/2006/relationships/image" Target="../media/image41.png"/><Relationship Id="rId24" Type="http://schemas.openxmlformats.org/officeDocument/2006/relationships/image" Target="../media/image94.png"/><Relationship Id="rId32" Type="http://schemas.openxmlformats.org/officeDocument/2006/relationships/image" Target="../media/image36.gif"/><Relationship Id="rId5" Type="http://schemas.openxmlformats.org/officeDocument/2006/relationships/image" Target="../media/image28.emf"/><Relationship Id="rId15" Type="http://schemas.openxmlformats.org/officeDocument/2006/relationships/image" Target="../media/image46.png"/><Relationship Id="rId23" Type="http://schemas.openxmlformats.org/officeDocument/2006/relationships/image" Target="../media/image93.png"/><Relationship Id="rId28" Type="http://schemas.openxmlformats.org/officeDocument/2006/relationships/image" Target="../media/image98.png"/><Relationship Id="rId10" Type="http://schemas.openxmlformats.org/officeDocument/2006/relationships/image" Target="../media/image89.jpeg"/><Relationship Id="rId19" Type="http://schemas.openxmlformats.org/officeDocument/2006/relationships/image" Target="../media/image65.png"/><Relationship Id="rId31" Type="http://schemas.openxmlformats.org/officeDocument/2006/relationships/image" Target="../media/image101.png"/><Relationship Id="rId4" Type="http://schemas.openxmlformats.org/officeDocument/2006/relationships/oleObject" Target="../embeddings/oleObject12.bin"/><Relationship Id="rId9" Type="http://schemas.openxmlformats.org/officeDocument/2006/relationships/image" Target="../media/image88.png"/><Relationship Id="rId14" Type="http://schemas.openxmlformats.org/officeDocument/2006/relationships/image" Target="../media/image90.jpeg"/><Relationship Id="rId22" Type="http://schemas.openxmlformats.org/officeDocument/2006/relationships/image" Target="../media/image40.png"/><Relationship Id="rId27" Type="http://schemas.openxmlformats.org/officeDocument/2006/relationships/image" Target="../media/image97.png"/><Relationship Id="rId30" Type="http://schemas.openxmlformats.org/officeDocument/2006/relationships/image" Target="../media/image10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hyperlink" Target="http://www.caba.org/chc"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www.caba.org/chc" TargetMode="External"/><Relationship Id="rId1" Type="http://schemas.openxmlformats.org/officeDocument/2006/relationships/slideLayout" Target="../slideLayouts/slideLayout4.xml"/><Relationship Id="rId6" Type="http://schemas.openxmlformats.org/officeDocument/2006/relationships/image" Target="../media/image16.gif"/><Relationship Id="rId5" Type="http://schemas.openxmlformats.org/officeDocument/2006/relationships/image" Target="../media/image15.jpeg"/><Relationship Id="rId4" Type="http://schemas.openxmlformats.org/officeDocument/2006/relationships/image" Target="../media/image14.jpg"/></Relationships>
</file>

<file path=ppt/slides/_rels/slide4.xml.rels><?xml version="1.0" encoding="UTF-8" standalone="yes"?>
<Relationships xmlns="http://schemas.openxmlformats.org/package/2006/relationships"><Relationship Id="rId2" Type="http://schemas.openxmlformats.org/officeDocument/2006/relationships/hyperlink" Target="http://www.caba.org/chc" TargetMode="Externa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slideLayout" Target="../slideLayouts/slideLayout5.xml"/><Relationship Id="rId1" Type="http://schemas.openxmlformats.org/officeDocument/2006/relationships/vmlDrawing" Target="../drawings/vmlDrawing4.vml"/><Relationship Id="rId6" Type="http://schemas.openxmlformats.org/officeDocument/2006/relationships/image" Target="../media/image21.jpeg"/><Relationship Id="rId5" Type="http://schemas.openxmlformats.org/officeDocument/2006/relationships/image" Target="../media/image20.png"/><Relationship Id="rId10" Type="http://schemas.openxmlformats.org/officeDocument/2006/relationships/image" Target="../media/image23.jpeg"/><Relationship Id="rId4" Type="http://schemas.openxmlformats.org/officeDocument/2006/relationships/image" Target="../media/image19.png"/><Relationship Id="rId9" Type="http://schemas.openxmlformats.org/officeDocument/2006/relationships/image" Target="../media/image17.wmf"/></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4.xml"/><Relationship Id="rId5" Type="http://schemas.openxmlformats.org/officeDocument/2006/relationships/hyperlink" Target="mailto:Klopotowska@caba.org" TargetMode="Externa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28.xml"/><Relationship Id="rId7" Type="http://schemas.openxmlformats.org/officeDocument/2006/relationships/image" Target="../media/image28.emf"/><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29.png"/><Relationship Id="rId4" Type="http://schemas.openxmlformats.org/officeDocument/2006/relationships/notesSlide" Target="../notesSlides/notesSlide1.xml"/><Relationship Id="rId9" Type="http://schemas.microsoft.com/office/2007/relationships/hdphoto" Target="../media/hdphoto1.wdp"/></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30.xml"/><Relationship Id="rId5" Type="http://schemas.openxmlformats.org/officeDocument/2006/relationships/image" Target="../media/image34.png"/><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noChangeArrowheads="1"/>
          </p:cNvSpPr>
          <p:nvPr>
            <p:ph type="ctrTitle"/>
          </p:nvPr>
        </p:nvSpPr>
        <p:spPr/>
        <p:txBody>
          <a:bodyPr>
            <a:normAutofit fontScale="90000"/>
          </a:bodyPr>
          <a:lstStyle/>
          <a:p>
            <a:r>
              <a:rPr lang="en-US" altLang="en-US" sz="3200" b="1" dirty="0">
                <a:solidFill>
                  <a:schemeClr val="tx1"/>
                </a:solidFill>
              </a:rPr>
              <a:t>Connected Home Council (CHC) Webinar </a:t>
            </a:r>
            <a:br>
              <a:rPr lang="en-US" altLang="en-US" sz="3200" b="1" dirty="0">
                <a:solidFill>
                  <a:schemeClr val="tx1"/>
                </a:solidFill>
              </a:rPr>
            </a:br>
            <a:r>
              <a:rPr lang="en-CA" altLang="en-US" sz="4500" b="1" dirty="0">
                <a:solidFill>
                  <a:schemeClr val="tx1"/>
                </a:solidFill>
              </a:rPr>
              <a:t>Meeting will commence 1:05pm ET</a:t>
            </a:r>
            <a:br>
              <a:rPr lang="en-CA" altLang="en-US" sz="3200" b="1" dirty="0">
                <a:solidFill>
                  <a:schemeClr val="tx1"/>
                </a:solidFill>
              </a:rPr>
            </a:br>
            <a:br>
              <a:rPr lang="en-US" altLang="en-US" sz="500" b="1" dirty="0">
                <a:solidFill>
                  <a:schemeClr val="tx1"/>
                </a:solidFill>
              </a:rPr>
            </a:br>
            <a:r>
              <a:rPr lang="en-US" altLang="en-US" sz="2000" dirty="0"/>
              <a:t>Tuesday,</a:t>
            </a:r>
            <a:r>
              <a:rPr lang="en-US" altLang="en-US" sz="2000" dirty="0">
                <a:solidFill>
                  <a:schemeClr val="tx1"/>
                </a:solidFill>
              </a:rPr>
              <a:t> May 9, 2023</a:t>
            </a:r>
            <a:r>
              <a:rPr lang="en-US" sz="2000" dirty="0">
                <a:solidFill>
                  <a:schemeClr val="tx1"/>
                </a:solidFill>
              </a:rPr>
              <a:t>, 1 PM – 2:30 PM (ET)</a:t>
            </a:r>
            <a:endParaRPr lang="en-US" altLang="en-US" sz="2400" dirty="0">
              <a:solidFill>
                <a:schemeClr val="tx1"/>
              </a:solidFill>
            </a:endParaRPr>
          </a:p>
        </p:txBody>
      </p:sp>
      <p:sp>
        <p:nvSpPr>
          <p:cNvPr id="3" name="Subtitle 2"/>
          <p:cNvSpPr>
            <a:spLocks noGrp="1"/>
          </p:cNvSpPr>
          <p:nvPr>
            <p:ph type="subTitle" idx="1"/>
          </p:nvPr>
        </p:nvSpPr>
        <p:spPr>
          <a:xfrm>
            <a:off x="838200" y="3732403"/>
            <a:ext cx="8725250" cy="1430024"/>
          </a:xfrm>
        </p:spPr>
        <p:txBody>
          <a:bodyPr>
            <a:normAutofit/>
          </a:bodyPr>
          <a:lstStyle/>
          <a:p>
            <a:r>
              <a:rPr lang="en-US" sz="2000" dirty="0"/>
              <a:t>CHC Chair:  Ken Wacks (Ken Wacks Associates)</a:t>
            </a:r>
          </a:p>
          <a:p>
            <a:r>
              <a:rPr lang="en-US" sz="2000" dirty="0"/>
              <a:t>Vice-Chair:  Charles Hume (Southwire Company, LLC) </a:t>
            </a:r>
          </a:p>
        </p:txBody>
      </p:sp>
    </p:spTree>
    <p:extLst>
      <p:ext uri="{BB962C8B-B14F-4D97-AF65-F5344CB8AC3E}">
        <p14:creationId xmlns:p14="http://schemas.microsoft.com/office/powerpoint/2010/main" val="573922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3217" y="2516"/>
          <a:ext cx="1629" cy="1489"/>
        </p:xfrm>
        <a:graphic>
          <a:graphicData uri="http://schemas.openxmlformats.org/presentationml/2006/ole">
            <mc:AlternateContent xmlns:mc="http://schemas.openxmlformats.org/markup-compatibility/2006">
              <mc:Choice xmlns:v="urn:schemas-microsoft-com:vml" Requires="v">
                <p:oleObj spid="_x0000_s6146"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3217" y="2516"/>
                        <a:ext cx="1629" cy="1489"/>
                      </a:xfrm>
                      <a:prstGeom prst="rect">
                        <a:avLst/>
                      </a:prstGeom>
                    </p:spPr>
                  </p:pic>
                </p:oleObj>
              </mc:Fallback>
            </mc:AlternateContent>
          </a:graphicData>
        </a:graphic>
      </p:graphicFrame>
      <p:sp>
        <p:nvSpPr>
          <p:cNvPr id="3" name="Rectangle 2" hidden="1"/>
          <p:cNvSpPr/>
          <p:nvPr>
            <p:custDataLst>
              <p:tags r:id="rId3"/>
            </p:custDataLst>
          </p:nvPr>
        </p:nvSpPr>
        <p:spPr>
          <a:xfrm>
            <a:off x="1588" y="897"/>
            <a:ext cx="162778" cy="1487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0874"/>
            <a:endParaRPr lang="en-US" sz="3199" b="1">
              <a:solidFill>
                <a:prstClr val="white"/>
              </a:solidFill>
              <a:sym typeface="Calibri"/>
            </a:endParaRPr>
          </a:p>
        </p:txBody>
      </p:sp>
      <p:sp>
        <p:nvSpPr>
          <p:cNvPr id="2" name="Title 1"/>
          <p:cNvSpPr>
            <a:spLocks noGrp="1"/>
          </p:cNvSpPr>
          <p:nvPr>
            <p:ph type="title"/>
          </p:nvPr>
        </p:nvSpPr>
        <p:spPr>
          <a:xfrm>
            <a:off x="280416" y="309562"/>
            <a:ext cx="11631168" cy="369332"/>
          </a:xfrm>
        </p:spPr>
        <p:txBody>
          <a:bodyPr/>
          <a:lstStyle/>
          <a:p>
            <a:r>
              <a:rPr lang="en-GB" dirty="0"/>
              <a:t>Electrification of transport</a:t>
            </a:r>
          </a:p>
        </p:txBody>
      </p:sp>
      <p:graphicFrame>
        <p:nvGraphicFramePr>
          <p:cNvPr id="6" name="Chart 5"/>
          <p:cNvGraphicFramePr/>
          <p:nvPr/>
        </p:nvGraphicFramePr>
        <p:xfrm>
          <a:off x="335294" y="1513468"/>
          <a:ext cx="11521440" cy="4861367"/>
        </p:xfrm>
        <a:graphic>
          <a:graphicData uri="http://schemas.openxmlformats.org/drawingml/2006/chart">
            <c:chart xmlns:c="http://schemas.openxmlformats.org/drawingml/2006/chart" xmlns:r="http://schemas.openxmlformats.org/officeDocument/2006/relationships" r:id="rId7"/>
          </a:graphicData>
        </a:graphic>
      </p:graphicFrame>
      <p:sp>
        <p:nvSpPr>
          <p:cNvPr id="7" name="TextBox 6">
            <a:extLst>
              <a:ext uri="{FF2B5EF4-FFF2-40B4-BE49-F238E27FC236}">
                <a16:creationId xmlns:a16="http://schemas.microsoft.com/office/drawing/2014/main" id="{25E6E619-3CF3-B211-D72D-1C01FED25DC6}"/>
              </a:ext>
            </a:extLst>
          </p:cNvPr>
          <p:cNvSpPr txBox="1"/>
          <p:nvPr/>
        </p:nvSpPr>
        <p:spPr>
          <a:xfrm>
            <a:off x="11279153" y="6473517"/>
            <a:ext cx="629980" cy="153888"/>
          </a:xfrm>
          <a:prstGeom prst="rect">
            <a:avLst/>
          </a:prstGeom>
          <a:noFill/>
        </p:spPr>
        <p:txBody>
          <a:bodyPr wrap="square" lIns="0" tIns="0" rIns="0" bIns="0" rtlCol="0" anchor="b">
            <a:spAutoFit/>
          </a:bodyPr>
          <a:lstStyle/>
          <a:p>
            <a:pPr algn="r" defTabSz="835867"/>
            <a:r>
              <a:rPr lang="en-US" sz="1000" dirty="0">
                <a:solidFill>
                  <a:schemeClr val="tx2"/>
                </a:solidFill>
                <a:latin typeface="Calibri"/>
                <a:cs typeface="Calibri" panose="020F0502020204030204" pitchFamily="34" charset="0"/>
              </a:rPr>
              <a:t>Source: RMI</a:t>
            </a:r>
          </a:p>
        </p:txBody>
      </p:sp>
      <p:sp>
        <p:nvSpPr>
          <p:cNvPr id="9" name="Rectangle: Rounded Corners 8">
            <a:extLst>
              <a:ext uri="{FF2B5EF4-FFF2-40B4-BE49-F238E27FC236}">
                <a16:creationId xmlns:a16="http://schemas.microsoft.com/office/drawing/2014/main" id="{6F90B317-A490-0F80-DB8E-7C992EC0B78F}"/>
              </a:ext>
            </a:extLst>
          </p:cNvPr>
          <p:cNvSpPr>
            <a:spLocks/>
          </p:cNvSpPr>
          <p:nvPr/>
        </p:nvSpPr>
        <p:spPr>
          <a:xfrm flipH="1">
            <a:off x="280416" y="771846"/>
            <a:ext cx="11631168" cy="64293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224" defTabSz="857228"/>
            <a:endParaRPr lang="en-US" sz="1500" b="1" dirty="0">
              <a:solidFill>
                <a:prstClr val="white"/>
              </a:solidFill>
            </a:endParaRPr>
          </a:p>
        </p:txBody>
      </p:sp>
      <p:sp>
        <p:nvSpPr>
          <p:cNvPr id="10" name="Rectangle 9">
            <a:extLst>
              <a:ext uri="{FF2B5EF4-FFF2-40B4-BE49-F238E27FC236}">
                <a16:creationId xmlns:a16="http://schemas.microsoft.com/office/drawing/2014/main" id="{037C4617-D0B8-7762-B9C7-B603307FFE69}"/>
              </a:ext>
            </a:extLst>
          </p:cNvPr>
          <p:cNvSpPr/>
          <p:nvPr/>
        </p:nvSpPr>
        <p:spPr>
          <a:xfrm>
            <a:off x="1119061" y="970207"/>
            <a:ext cx="10656276" cy="246221"/>
          </a:xfrm>
          <a:prstGeom prst="rect">
            <a:avLst/>
          </a:prstGeom>
        </p:spPr>
        <p:txBody>
          <a:bodyPr wrap="square" lIns="0" tIns="0" rIns="0" bIns="0" anchor="ctr">
            <a:spAutoFit/>
          </a:bodyPr>
          <a:lstStyle/>
          <a:p>
            <a:pPr defTabSz="835867"/>
            <a:r>
              <a:rPr lang="en-US" sz="1600" b="1" dirty="0">
                <a:solidFill>
                  <a:prstClr val="white"/>
                </a:solidFill>
              </a:rPr>
              <a:t>EV’s account for the lion’s share of battery demand – accelerated growth in this market directly impacts the storage market </a:t>
            </a:r>
          </a:p>
        </p:txBody>
      </p:sp>
      <p:sp>
        <p:nvSpPr>
          <p:cNvPr id="11" name="Oval 10">
            <a:extLst>
              <a:ext uri="{FF2B5EF4-FFF2-40B4-BE49-F238E27FC236}">
                <a16:creationId xmlns:a16="http://schemas.microsoft.com/office/drawing/2014/main" id="{385FD51F-849D-3DA1-BE4C-B1F322B27A3B}"/>
              </a:ext>
            </a:extLst>
          </p:cNvPr>
          <p:cNvSpPr/>
          <p:nvPr/>
        </p:nvSpPr>
        <p:spPr>
          <a:xfrm>
            <a:off x="416665" y="810242"/>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dirty="0"/>
          </a:p>
        </p:txBody>
      </p:sp>
      <p:sp>
        <p:nvSpPr>
          <p:cNvPr id="12" name="Rectangle 11">
            <a:extLst>
              <a:ext uri="{FF2B5EF4-FFF2-40B4-BE49-F238E27FC236}">
                <a16:creationId xmlns:a16="http://schemas.microsoft.com/office/drawing/2014/main" id="{5522FFFC-835F-3F9C-BA29-36EDB1B52C88}"/>
              </a:ext>
            </a:extLst>
          </p:cNvPr>
          <p:cNvSpPr/>
          <p:nvPr/>
        </p:nvSpPr>
        <p:spPr>
          <a:xfrm>
            <a:off x="280417" y="1071885"/>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dirty="0"/>
          </a:p>
        </p:txBody>
      </p:sp>
      <p:grpSp>
        <p:nvGrpSpPr>
          <p:cNvPr id="22" name="Group 21"/>
          <p:cNvGrpSpPr/>
          <p:nvPr/>
        </p:nvGrpSpPr>
        <p:grpSpPr>
          <a:xfrm>
            <a:off x="516310" y="960908"/>
            <a:ext cx="366856" cy="264814"/>
            <a:chOff x="-763064" y="2895601"/>
            <a:chExt cx="532876" cy="390525"/>
          </a:xfrm>
          <a:solidFill>
            <a:schemeClr val="bg1"/>
          </a:solidFill>
        </p:grpSpPr>
        <p:sp>
          <p:nvSpPr>
            <p:cNvPr id="23" name="Freeform 57"/>
            <p:cNvSpPr>
              <a:spLocks noEditPoints="1"/>
            </p:cNvSpPr>
            <p:nvPr/>
          </p:nvSpPr>
          <p:spPr bwMode="auto">
            <a:xfrm>
              <a:off x="-763064" y="2963863"/>
              <a:ext cx="522288" cy="249238"/>
            </a:xfrm>
            <a:custGeom>
              <a:avLst/>
              <a:gdLst>
                <a:gd name="T0" fmla="*/ 293 w 582"/>
                <a:gd name="T1" fmla="*/ 1 h 278"/>
                <a:gd name="T2" fmla="*/ 563 w 582"/>
                <a:gd name="T3" fmla="*/ 1 h 278"/>
                <a:gd name="T4" fmla="*/ 582 w 582"/>
                <a:gd name="T5" fmla="*/ 20 h 278"/>
                <a:gd name="T6" fmla="*/ 544 w 582"/>
                <a:gd name="T7" fmla="*/ 57 h 278"/>
                <a:gd name="T8" fmla="*/ 527 w 582"/>
                <a:gd name="T9" fmla="*/ 74 h 278"/>
                <a:gd name="T10" fmla="*/ 528 w 582"/>
                <a:gd name="T11" fmla="*/ 258 h 278"/>
                <a:gd name="T12" fmla="*/ 509 w 582"/>
                <a:gd name="T13" fmla="*/ 278 h 278"/>
                <a:gd name="T14" fmla="*/ 73 w 582"/>
                <a:gd name="T15" fmla="*/ 278 h 278"/>
                <a:gd name="T16" fmla="*/ 54 w 582"/>
                <a:gd name="T17" fmla="*/ 258 h 278"/>
                <a:gd name="T18" fmla="*/ 55 w 582"/>
                <a:gd name="T19" fmla="*/ 76 h 278"/>
                <a:gd name="T20" fmla="*/ 36 w 582"/>
                <a:gd name="T21" fmla="*/ 57 h 278"/>
                <a:gd name="T22" fmla="*/ 0 w 582"/>
                <a:gd name="T23" fmla="*/ 22 h 278"/>
                <a:gd name="T24" fmla="*/ 21 w 582"/>
                <a:gd name="T25" fmla="*/ 0 h 278"/>
                <a:gd name="T26" fmla="*/ 293 w 582"/>
                <a:gd name="T27" fmla="*/ 1 h 278"/>
                <a:gd name="T28" fmla="*/ 293 w 582"/>
                <a:gd name="T29" fmla="*/ 1 h 278"/>
                <a:gd name="T30" fmla="*/ 148 w 582"/>
                <a:gd name="T31" fmla="*/ 39 h 278"/>
                <a:gd name="T32" fmla="*/ 137 w 582"/>
                <a:gd name="T33" fmla="*/ 54 h 278"/>
                <a:gd name="T34" fmla="*/ 118 w 582"/>
                <a:gd name="T35" fmla="*/ 74 h 278"/>
                <a:gd name="T36" fmla="*/ 104 w 582"/>
                <a:gd name="T37" fmla="*/ 85 h 278"/>
                <a:gd name="T38" fmla="*/ 117 w 582"/>
                <a:gd name="T39" fmla="*/ 95 h 278"/>
                <a:gd name="T40" fmla="*/ 137 w 582"/>
                <a:gd name="T41" fmla="*/ 114 h 278"/>
                <a:gd name="T42" fmla="*/ 149 w 582"/>
                <a:gd name="T43" fmla="*/ 130 h 278"/>
                <a:gd name="T44" fmla="*/ 160 w 582"/>
                <a:gd name="T45" fmla="*/ 113 h 278"/>
                <a:gd name="T46" fmla="*/ 178 w 582"/>
                <a:gd name="T47" fmla="*/ 94 h 278"/>
                <a:gd name="T48" fmla="*/ 193 w 582"/>
                <a:gd name="T49" fmla="*/ 85 h 278"/>
                <a:gd name="T50" fmla="*/ 180 w 582"/>
                <a:gd name="T51" fmla="*/ 74 h 278"/>
                <a:gd name="T52" fmla="*/ 160 w 582"/>
                <a:gd name="T53" fmla="*/ 54 h 278"/>
                <a:gd name="T54" fmla="*/ 148 w 582"/>
                <a:gd name="T55" fmla="*/ 39 h 278"/>
                <a:gd name="T56" fmla="*/ 433 w 582"/>
                <a:gd name="T57" fmla="*/ 95 h 278"/>
                <a:gd name="T58" fmla="*/ 469 w 582"/>
                <a:gd name="T59" fmla="*/ 95 h 278"/>
                <a:gd name="T60" fmla="*/ 478 w 582"/>
                <a:gd name="T61" fmla="*/ 85 h 278"/>
                <a:gd name="T62" fmla="*/ 468 w 582"/>
                <a:gd name="T63" fmla="*/ 74 h 278"/>
                <a:gd name="T64" fmla="*/ 399 w 582"/>
                <a:gd name="T65" fmla="*/ 74 h 278"/>
                <a:gd name="T66" fmla="*/ 389 w 582"/>
                <a:gd name="T67" fmla="*/ 84 h 278"/>
                <a:gd name="T68" fmla="*/ 399 w 582"/>
                <a:gd name="T69" fmla="*/ 95 h 278"/>
                <a:gd name="T70" fmla="*/ 433 w 582"/>
                <a:gd name="T71" fmla="*/ 95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82" h="278">
                  <a:moveTo>
                    <a:pt x="293" y="1"/>
                  </a:moveTo>
                  <a:cubicBezTo>
                    <a:pt x="383" y="1"/>
                    <a:pt x="473" y="1"/>
                    <a:pt x="563" y="1"/>
                  </a:cubicBezTo>
                  <a:cubicBezTo>
                    <a:pt x="578" y="0"/>
                    <a:pt x="582" y="5"/>
                    <a:pt x="582" y="20"/>
                  </a:cubicBezTo>
                  <a:cubicBezTo>
                    <a:pt x="581" y="57"/>
                    <a:pt x="582" y="57"/>
                    <a:pt x="544" y="57"/>
                  </a:cubicBezTo>
                  <a:cubicBezTo>
                    <a:pt x="531" y="57"/>
                    <a:pt x="527" y="61"/>
                    <a:pt x="527" y="74"/>
                  </a:cubicBezTo>
                  <a:cubicBezTo>
                    <a:pt x="528" y="135"/>
                    <a:pt x="527" y="197"/>
                    <a:pt x="528" y="258"/>
                  </a:cubicBezTo>
                  <a:cubicBezTo>
                    <a:pt x="528" y="272"/>
                    <a:pt x="525" y="278"/>
                    <a:pt x="509" y="278"/>
                  </a:cubicBezTo>
                  <a:cubicBezTo>
                    <a:pt x="364" y="277"/>
                    <a:pt x="218" y="277"/>
                    <a:pt x="73" y="278"/>
                  </a:cubicBezTo>
                  <a:cubicBezTo>
                    <a:pt x="57" y="278"/>
                    <a:pt x="54" y="272"/>
                    <a:pt x="54" y="258"/>
                  </a:cubicBezTo>
                  <a:cubicBezTo>
                    <a:pt x="55" y="197"/>
                    <a:pt x="54" y="137"/>
                    <a:pt x="55" y="76"/>
                  </a:cubicBezTo>
                  <a:cubicBezTo>
                    <a:pt x="55" y="61"/>
                    <a:pt x="51" y="57"/>
                    <a:pt x="36" y="57"/>
                  </a:cubicBezTo>
                  <a:cubicBezTo>
                    <a:pt x="1" y="58"/>
                    <a:pt x="1" y="57"/>
                    <a:pt x="0" y="22"/>
                  </a:cubicBezTo>
                  <a:cubicBezTo>
                    <a:pt x="0" y="5"/>
                    <a:pt x="4" y="0"/>
                    <a:pt x="21" y="0"/>
                  </a:cubicBezTo>
                  <a:cubicBezTo>
                    <a:pt x="112" y="1"/>
                    <a:pt x="202" y="1"/>
                    <a:pt x="293" y="1"/>
                  </a:cubicBezTo>
                  <a:cubicBezTo>
                    <a:pt x="293" y="1"/>
                    <a:pt x="293" y="1"/>
                    <a:pt x="293" y="1"/>
                  </a:cubicBezTo>
                  <a:close/>
                  <a:moveTo>
                    <a:pt x="148" y="39"/>
                  </a:moveTo>
                  <a:cubicBezTo>
                    <a:pt x="136" y="38"/>
                    <a:pt x="137" y="47"/>
                    <a:pt x="137" y="54"/>
                  </a:cubicBezTo>
                  <a:cubicBezTo>
                    <a:pt x="139" y="69"/>
                    <a:pt x="135" y="76"/>
                    <a:pt x="118" y="74"/>
                  </a:cubicBezTo>
                  <a:cubicBezTo>
                    <a:pt x="110" y="72"/>
                    <a:pt x="104" y="74"/>
                    <a:pt x="104" y="85"/>
                  </a:cubicBezTo>
                  <a:cubicBezTo>
                    <a:pt x="105" y="95"/>
                    <a:pt x="111" y="95"/>
                    <a:pt x="117" y="95"/>
                  </a:cubicBezTo>
                  <a:cubicBezTo>
                    <a:pt x="132" y="93"/>
                    <a:pt x="140" y="97"/>
                    <a:pt x="137" y="114"/>
                  </a:cubicBezTo>
                  <a:cubicBezTo>
                    <a:pt x="136" y="121"/>
                    <a:pt x="136" y="130"/>
                    <a:pt x="149" y="130"/>
                  </a:cubicBezTo>
                  <a:cubicBezTo>
                    <a:pt x="161" y="130"/>
                    <a:pt x="161" y="122"/>
                    <a:pt x="160" y="113"/>
                  </a:cubicBezTo>
                  <a:cubicBezTo>
                    <a:pt x="158" y="99"/>
                    <a:pt x="163" y="92"/>
                    <a:pt x="178" y="94"/>
                  </a:cubicBezTo>
                  <a:cubicBezTo>
                    <a:pt x="185" y="95"/>
                    <a:pt x="193" y="97"/>
                    <a:pt x="193" y="85"/>
                  </a:cubicBezTo>
                  <a:cubicBezTo>
                    <a:pt x="194" y="74"/>
                    <a:pt x="188" y="73"/>
                    <a:pt x="180" y="74"/>
                  </a:cubicBezTo>
                  <a:cubicBezTo>
                    <a:pt x="163" y="76"/>
                    <a:pt x="158" y="69"/>
                    <a:pt x="160" y="54"/>
                  </a:cubicBezTo>
                  <a:cubicBezTo>
                    <a:pt x="161" y="45"/>
                    <a:pt x="159" y="37"/>
                    <a:pt x="148" y="39"/>
                  </a:cubicBezTo>
                  <a:close/>
                  <a:moveTo>
                    <a:pt x="433" y="95"/>
                  </a:moveTo>
                  <a:cubicBezTo>
                    <a:pt x="445" y="95"/>
                    <a:pt x="457" y="94"/>
                    <a:pt x="469" y="95"/>
                  </a:cubicBezTo>
                  <a:cubicBezTo>
                    <a:pt x="475" y="95"/>
                    <a:pt x="478" y="92"/>
                    <a:pt x="478" y="85"/>
                  </a:cubicBezTo>
                  <a:cubicBezTo>
                    <a:pt x="478" y="79"/>
                    <a:pt x="477" y="74"/>
                    <a:pt x="468" y="74"/>
                  </a:cubicBezTo>
                  <a:cubicBezTo>
                    <a:pt x="445" y="74"/>
                    <a:pt x="422" y="74"/>
                    <a:pt x="399" y="74"/>
                  </a:cubicBezTo>
                  <a:cubicBezTo>
                    <a:pt x="391" y="73"/>
                    <a:pt x="389" y="77"/>
                    <a:pt x="389" y="84"/>
                  </a:cubicBezTo>
                  <a:cubicBezTo>
                    <a:pt x="389" y="92"/>
                    <a:pt x="391" y="95"/>
                    <a:pt x="399" y="95"/>
                  </a:cubicBezTo>
                  <a:cubicBezTo>
                    <a:pt x="410" y="94"/>
                    <a:pt x="422" y="95"/>
                    <a:pt x="433"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082027"/>
              <a:endParaRPr lang="en-IN" sz="2133">
                <a:solidFill>
                  <a:srgbClr val="000000"/>
                </a:solidFill>
              </a:endParaRPr>
            </a:p>
          </p:txBody>
        </p:sp>
        <p:sp>
          <p:nvSpPr>
            <p:cNvPr id="24" name="Freeform 58"/>
            <p:cNvSpPr>
              <a:spLocks/>
            </p:cNvSpPr>
            <p:nvPr/>
          </p:nvSpPr>
          <p:spPr bwMode="auto">
            <a:xfrm>
              <a:off x="-752476" y="3233738"/>
              <a:ext cx="522288" cy="52388"/>
            </a:xfrm>
            <a:custGeom>
              <a:avLst/>
              <a:gdLst>
                <a:gd name="T0" fmla="*/ 291 w 582"/>
                <a:gd name="T1" fmla="*/ 57 h 57"/>
                <a:gd name="T2" fmla="*/ 19 w 582"/>
                <a:gd name="T3" fmla="*/ 57 h 57"/>
                <a:gd name="T4" fmla="*/ 0 w 582"/>
                <a:gd name="T5" fmla="*/ 39 h 57"/>
                <a:gd name="T6" fmla="*/ 39 w 582"/>
                <a:gd name="T7" fmla="*/ 0 h 57"/>
                <a:gd name="T8" fmla="*/ 563 w 582"/>
                <a:gd name="T9" fmla="*/ 0 h 57"/>
                <a:gd name="T10" fmla="*/ 582 w 582"/>
                <a:gd name="T11" fmla="*/ 19 h 57"/>
                <a:gd name="T12" fmla="*/ 543 w 582"/>
                <a:gd name="T13" fmla="*/ 57 h 57"/>
                <a:gd name="T14" fmla="*/ 291 w 582"/>
                <a:gd name="T15" fmla="*/ 57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2" h="57">
                  <a:moveTo>
                    <a:pt x="291" y="57"/>
                  </a:moveTo>
                  <a:cubicBezTo>
                    <a:pt x="201" y="57"/>
                    <a:pt x="110" y="57"/>
                    <a:pt x="19" y="57"/>
                  </a:cubicBezTo>
                  <a:cubicBezTo>
                    <a:pt x="5" y="57"/>
                    <a:pt x="0" y="54"/>
                    <a:pt x="0" y="39"/>
                  </a:cubicBezTo>
                  <a:cubicBezTo>
                    <a:pt x="1" y="0"/>
                    <a:pt x="0" y="0"/>
                    <a:pt x="39" y="0"/>
                  </a:cubicBezTo>
                  <a:cubicBezTo>
                    <a:pt x="214" y="0"/>
                    <a:pt x="388" y="0"/>
                    <a:pt x="563" y="0"/>
                  </a:cubicBezTo>
                  <a:cubicBezTo>
                    <a:pt x="577" y="0"/>
                    <a:pt x="582" y="3"/>
                    <a:pt x="582" y="19"/>
                  </a:cubicBezTo>
                  <a:cubicBezTo>
                    <a:pt x="581" y="57"/>
                    <a:pt x="582" y="57"/>
                    <a:pt x="543" y="57"/>
                  </a:cubicBezTo>
                  <a:cubicBezTo>
                    <a:pt x="459" y="57"/>
                    <a:pt x="375" y="57"/>
                    <a:pt x="291"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082027"/>
              <a:endParaRPr lang="en-IN" sz="2133">
                <a:solidFill>
                  <a:srgbClr val="000000"/>
                </a:solidFill>
              </a:endParaRPr>
            </a:p>
          </p:txBody>
        </p:sp>
        <p:sp>
          <p:nvSpPr>
            <p:cNvPr id="26" name="Freeform 59"/>
            <p:cNvSpPr>
              <a:spLocks/>
            </p:cNvSpPr>
            <p:nvPr/>
          </p:nvSpPr>
          <p:spPr bwMode="auto">
            <a:xfrm>
              <a:off x="-706438" y="2895601"/>
              <a:ext cx="53975" cy="55563"/>
            </a:xfrm>
            <a:custGeom>
              <a:avLst/>
              <a:gdLst>
                <a:gd name="T0" fmla="*/ 29 w 60"/>
                <a:gd name="T1" fmla="*/ 57 h 63"/>
                <a:gd name="T2" fmla="*/ 2 w 60"/>
                <a:gd name="T3" fmla="*/ 38 h 63"/>
                <a:gd name="T4" fmla="*/ 30 w 60"/>
                <a:gd name="T5" fmla="*/ 0 h 63"/>
                <a:gd name="T6" fmla="*/ 57 w 60"/>
                <a:gd name="T7" fmla="*/ 37 h 63"/>
                <a:gd name="T8" fmla="*/ 29 w 60"/>
                <a:gd name="T9" fmla="*/ 57 h 63"/>
              </a:gdLst>
              <a:ahLst/>
              <a:cxnLst>
                <a:cxn ang="0">
                  <a:pos x="T0" y="T1"/>
                </a:cxn>
                <a:cxn ang="0">
                  <a:pos x="T2" y="T3"/>
                </a:cxn>
                <a:cxn ang="0">
                  <a:pos x="T4" y="T5"/>
                </a:cxn>
                <a:cxn ang="0">
                  <a:pos x="T6" y="T7"/>
                </a:cxn>
                <a:cxn ang="0">
                  <a:pos x="T8" y="T9"/>
                </a:cxn>
              </a:cxnLst>
              <a:rect l="0" t="0" r="r" b="b"/>
              <a:pathLst>
                <a:path w="60" h="63">
                  <a:moveTo>
                    <a:pt x="29" y="57"/>
                  </a:moveTo>
                  <a:cubicBezTo>
                    <a:pt x="17" y="56"/>
                    <a:pt x="0" y="63"/>
                    <a:pt x="2" y="38"/>
                  </a:cubicBezTo>
                  <a:cubicBezTo>
                    <a:pt x="4" y="14"/>
                    <a:pt x="13" y="0"/>
                    <a:pt x="30" y="0"/>
                  </a:cubicBezTo>
                  <a:cubicBezTo>
                    <a:pt x="47" y="0"/>
                    <a:pt x="55" y="14"/>
                    <a:pt x="57" y="37"/>
                  </a:cubicBezTo>
                  <a:cubicBezTo>
                    <a:pt x="60" y="63"/>
                    <a:pt x="42" y="56"/>
                    <a:pt x="2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082027"/>
              <a:endParaRPr lang="en-IN" sz="2133">
                <a:solidFill>
                  <a:srgbClr val="000000"/>
                </a:solidFill>
              </a:endParaRPr>
            </a:p>
          </p:txBody>
        </p:sp>
        <p:sp>
          <p:nvSpPr>
            <p:cNvPr id="27" name="Freeform 60"/>
            <p:cNvSpPr>
              <a:spLocks/>
            </p:cNvSpPr>
            <p:nvPr/>
          </p:nvSpPr>
          <p:spPr bwMode="auto">
            <a:xfrm>
              <a:off x="-328613" y="2895601"/>
              <a:ext cx="53975" cy="55563"/>
            </a:xfrm>
            <a:custGeom>
              <a:avLst/>
              <a:gdLst>
                <a:gd name="T0" fmla="*/ 29 w 59"/>
                <a:gd name="T1" fmla="*/ 57 h 63"/>
                <a:gd name="T2" fmla="*/ 2 w 59"/>
                <a:gd name="T3" fmla="*/ 38 h 63"/>
                <a:gd name="T4" fmla="*/ 30 w 59"/>
                <a:gd name="T5" fmla="*/ 0 h 63"/>
                <a:gd name="T6" fmla="*/ 57 w 59"/>
                <a:gd name="T7" fmla="*/ 37 h 63"/>
                <a:gd name="T8" fmla="*/ 29 w 59"/>
                <a:gd name="T9" fmla="*/ 57 h 63"/>
              </a:gdLst>
              <a:ahLst/>
              <a:cxnLst>
                <a:cxn ang="0">
                  <a:pos x="T0" y="T1"/>
                </a:cxn>
                <a:cxn ang="0">
                  <a:pos x="T2" y="T3"/>
                </a:cxn>
                <a:cxn ang="0">
                  <a:pos x="T4" y="T5"/>
                </a:cxn>
                <a:cxn ang="0">
                  <a:pos x="T6" y="T7"/>
                </a:cxn>
                <a:cxn ang="0">
                  <a:pos x="T8" y="T9"/>
                </a:cxn>
              </a:cxnLst>
              <a:rect l="0" t="0" r="r" b="b"/>
              <a:pathLst>
                <a:path w="59" h="63">
                  <a:moveTo>
                    <a:pt x="29" y="57"/>
                  </a:moveTo>
                  <a:cubicBezTo>
                    <a:pt x="16" y="56"/>
                    <a:pt x="0" y="62"/>
                    <a:pt x="2" y="38"/>
                  </a:cubicBezTo>
                  <a:cubicBezTo>
                    <a:pt x="4" y="14"/>
                    <a:pt x="12" y="0"/>
                    <a:pt x="30" y="0"/>
                  </a:cubicBezTo>
                  <a:cubicBezTo>
                    <a:pt x="47" y="1"/>
                    <a:pt x="55" y="14"/>
                    <a:pt x="57" y="37"/>
                  </a:cubicBezTo>
                  <a:cubicBezTo>
                    <a:pt x="59" y="63"/>
                    <a:pt x="42" y="56"/>
                    <a:pt x="2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defTabSz="1082027"/>
              <a:endParaRPr lang="en-IN" sz="2133">
                <a:solidFill>
                  <a:srgbClr val="000000"/>
                </a:solidFill>
              </a:endParaRPr>
            </a:p>
          </p:txBody>
        </p:sp>
      </p:grpSp>
    </p:spTree>
    <p:extLst>
      <p:ext uri="{BB962C8B-B14F-4D97-AF65-F5344CB8AC3E}">
        <p14:creationId xmlns:p14="http://schemas.microsoft.com/office/powerpoint/2010/main" val="15965091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3217" y="2516"/>
          <a:ext cx="1629" cy="1489"/>
        </p:xfrm>
        <a:graphic>
          <a:graphicData uri="http://schemas.openxmlformats.org/presentationml/2006/ole">
            <mc:AlternateContent xmlns:mc="http://schemas.openxmlformats.org/markup-compatibility/2006">
              <mc:Choice xmlns:v="urn:schemas-microsoft-com:vml" Requires="v">
                <p:oleObj spid="_x0000_s7170"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3217" y="2516"/>
                        <a:ext cx="1629" cy="1489"/>
                      </a:xfrm>
                      <a:prstGeom prst="rect">
                        <a:avLst/>
                      </a:prstGeom>
                    </p:spPr>
                  </p:pic>
                </p:oleObj>
              </mc:Fallback>
            </mc:AlternateContent>
          </a:graphicData>
        </a:graphic>
      </p:graphicFrame>
      <p:sp>
        <p:nvSpPr>
          <p:cNvPr id="3" name="Rectangle 2" hidden="1"/>
          <p:cNvSpPr/>
          <p:nvPr>
            <p:custDataLst>
              <p:tags r:id="rId3"/>
            </p:custDataLst>
          </p:nvPr>
        </p:nvSpPr>
        <p:spPr>
          <a:xfrm>
            <a:off x="1588" y="897"/>
            <a:ext cx="162778" cy="1487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080874" rtl="0" eaLnBrk="1" fontAlgn="auto" latinLnBrk="0" hangingPunct="1">
              <a:lnSpc>
                <a:spcPct val="100000"/>
              </a:lnSpc>
              <a:spcBef>
                <a:spcPts val="0"/>
              </a:spcBef>
              <a:spcAft>
                <a:spcPts val="0"/>
              </a:spcAft>
              <a:buClrTx/>
              <a:buSzTx/>
              <a:buFontTx/>
              <a:buNone/>
              <a:tabLst/>
              <a:defRPr/>
            </a:pPr>
            <a:endParaRPr kumimoji="0" lang="en-US" sz="3199" b="1" i="0" u="none" strike="noStrike" kern="1200" cap="none" spc="0" normalizeH="0" baseline="0" noProof="0">
              <a:ln>
                <a:noFill/>
              </a:ln>
              <a:solidFill>
                <a:prstClr val="white"/>
              </a:solidFill>
              <a:effectLst/>
              <a:uLnTx/>
              <a:uFillTx/>
              <a:latin typeface="Calibri"/>
              <a:ea typeface="+mn-ea"/>
              <a:cs typeface="+mn-cs"/>
              <a:sym typeface="Calibri"/>
            </a:endParaRPr>
          </a:p>
        </p:txBody>
      </p:sp>
      <p:sp>
        <p:nvSpPr>
          <p:cNvPr id="2" name="Title 1"/>
          <p:cNvSpPr>
            <a:spLocks noGrp="1"/>
          </p:cNvSpPr>
          <p:nvPr>
            <p:ph type="title"/>
          </p:nvPr>
        </p:nvSpPr>
        <p:spPr>
          <a:xfrm>
            <a:off x="280416" y="309562"/>
            <a:ext cx="11631168" cy="369332"/>
          </a:xfrm>
        </p:spPr>
        <p:txBody>
          <a:bodyPr/>
          <a:lstStyle/>
          <a:p>
            <a:r>
              <a:rPr lang="en-GB" dirty="0"/>
              <a:t>LITHIUM CONSUMPTION VS. RESERVES</a:t>
            </a:r>
          </a:p>
        </p:txBody>
      </p:sp>
      <p:sp>
        <p:nvSpPr>
          <p:cNvPr id="9" name="Rectangle: Rounded Corners 8">
            <a:extLst>
              <a:ext uri="{FF2B5EF4-FFF2-40B4-BE49-F238E27FC236}">
                <a16:creationId xmlns:a16="http://schemas.microsoft.com/office/drawing/2014/main" id="{6F90B317-A490-0F80-DB8E-7C992EC0B78F}"/>
              </a:ext>
            </a:extLst>
          </p:cNvPr>
          <p:cNvSpPr>
            <a:spLocks/>
          </p:cNvSpPr>
          <p:nvPr/>
        </p:nvSpPr>
        <p:spPr>
          <a:xfrm flipH="1">
            <a:off x="280416" y="771846"/>
            <a:ext cx="11631168" cy="64293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224" marR="0" lvl="0" indent="0" algn="l" defTabSz="857228"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037C4617-D0B8-7762-B9C7-B603307FFE69}"/>
              </a:ext>
            </a:extLst>
          </p:cNvPr>
          <p:cNvSpPr/>
          <p:nvPr/>
        </p:nvSpPr>
        <p:spPr>
          <a:xfrm>
            <a:off x="1119061" y="847096"/>
            <a:ext cx="10656276" cy="492443"/>
          </a:xfrm>
          <a:prstGeom prst="rect">
            <a:avLst/>
          </a:prstGeom>
        </p:spPr>
        <p:txBody>
          <a:bodyPr wrap="square" lIns="0" tIns="0" rIns="0" bIns="0" anchor="ctr">
            <a:spAutoFit/>
          </a:bodyPr>
          <a:lstStyle/>
          <a:p>
            <a:pPr marL="0" marR="0" lvl="0" indent="0" algn="l" defTabSz="835867"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a:ea typeface="+mn-ea"/>
                <a:cs typeface="+mn-cs"/>
              </a:rPr>
              <a:t>Known reserves will last at least through 2050 with recycling extending it further – Chile, Argentina, Australia and China dominate proven reserves </a:t>
            </a:r>
            <a:endParaRPr kumimoji="0" lang="en-US"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Oval 10">
            <a:extLst>
              <a:ext uri="{FF2B5EF4-FFF2-40B4-BE49-F238E27FC236}">
                <a16:creationId xmlns:a16="http://schemas.microsoft.com/office/drawing/2014/main" id="{385FD51F-849D-3DA1-BE4C-B1F322B27A3B}"/>
              </a:ext>
            </a:extLst>
          </p:cNvPr>
          <p:cNvSpPr/>
          <p:nvPr/>
        </p:nvSpPr>
        <p:spPr>
          <a:xfrm>
            <a:off x="416665" y="810242"/>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5522FFFC-835F-3F9C-BA29-36EDB1B52C88}"/>
              </a:ext>
            </a:extLst>
          </p:cNvPr>
          <p:cNvSpPr/>
          <p:nvPr/>
        </p:nvSpPr>
        <p:spPr>
          <a:xfrm>
            <a:off x="280417" y="1071885"/>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white"/>
              </a:solidFill>
              <a:effectLst/>
              <a:uLnTx/>
              <a:uFillTx/>
              <a:latin typeface="Calibri"/>
              <a:ea typeface="+mn-ea"/>
              <a:cs typeface="+mn-cs"/>
            </a:endParaRPr>
          </a:p>
        </p:txBody>
      </p:sp>
      <p:sp>
        <p:nvSpPr>
          <p:cNvPr id="4" name="Rectangle 3">
            <a:extLst>
              <a:ext uri="{FF2B5EF4-FFF2-40B4-BE49-F238E27FC236}">
                <a16:creationId xmlns:a16="http://schemas.microsoft.com/office/drawing/2014/main" id="{C85930CF-C48A-FE8D-0FB3-836F88C4E65F}"/>
              </a:ext>
            </a:extLst>
          </p:cNvPr>
          <p:cNvSpPr/>
          <p:nvPr/>
        </p:nvSpPr>
        <p:spPr>
          <a:xfrm>
            <a:off x="275526" y="1530471"/>
            <a:ext cx="11701272" cy="5042537"/>
          </a:xfrm>
          <a:prstGeom prst="rect">
            <a:avLst/>
          </a:prstGeom>
          <a:noFill/>
          <a:ln w="9525" cap="flat" cmpd="sng" algn="ctr">
            <a:solidFill>
              <a:srgbClr val="00B0F0"/>
            </a:solidFill>
            <a:prstDash val="solid"/>
            <a:miter lim="800000"/>
          </a:ln>
          <a:effectLst/>
        </p:spPr>
        <p:txBody>
          <a:bodyPr rtlCol="0" anchor="ctr"/>
          <a:lstStyle/>
          <a:p>
            <a:pPr marL="0" marR="0" lvl="0" indent="0" algn="ctr" defTabSz="609448" eaLnBrk="1" fontAlgn="auto" latinLnBrk="0" hangingPunct="1">
              <a:lnSpc>
                <a:spcPct val="100000"/>
              </a:lnSpc>
              <a:spcBef>
                <a:spcPts val="0"/>
              </a:spcBef>
              <a:spcAft>
                <a:spcPts val="0"/>
              </a:spcAft>
              <a:buClrTx/>
              <a:buSzTx/>
              <a:buFontTx/>
              <a:buNone/>
              <a:tabLst/>
              <a:defRPr/>
            </a:pPr>
            <a:endParaRPr kumimoji="0" lang="en-IN" sz="2399" b="0" i="0" u="none" strike="noStrike" kern="0" cap="none" spc="0" normalizeH="0" baseline="0" noProof="0" dirty="0">
              <a:ln>
                <a:noFill/>
              </a:ln>
              <a:solidFill>
                <a:srgbClr val="FFFFFF"/>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EC427A5B-AF7C-F20E-D465-A5DFF93BA9EB}"/>
              </a:ext>
            </a:extLst>
          </p:cNvPr>
          <p:cNvSpPr/>
          <p:nvPr/>
        </p:nvSpPr>
        <p:spPr>
          <a:xfrm>
            <a:off x="477822" y="6042275"/>
            <a:ext cx="11502370" cy="490943"/>
          </a:xfrm>
          <a:prstGeom prst="rect">
            <a:avLst/>
          </a:prstGeom>
          <a:noFill/>
          <a:scene3d>
            <a:camera prst="perspectiveLeft" zoom="91000"/>
            <a:lightRig rig="threePt" dir="t">
              <a:rot lat="0" lon="0" rev="20640000"/>
            </a:lightRig>
          </a:scene3d>
        </p:spPr>
      </p:sp>
      <p:grpSp>
        <p:nvGrpSpPr>
          <p:cNvPr id="13" name="Group 12">
            <a:extLst>
              <a:ext uri="{FF2B5EF4-FFF2-40B4-BE49-F238E27FC236}">
                <a16:creationId xmlns:a16="http://schemas.microsoft.com/office/drawing/2014/main" id="{6F2847B2-3FC9-C6D0-D457-ED520A67606A}"/>
              </a:ext>
            </a:extLst>
          </p:cNvPr>
          <p:cNvGrpSpPr/>
          <p:nvPr/>
        </p:nvGrpSpPr>
        <p:grpSpPr>
          <a:xfrm>
            <a:off x="2602206" y="1836074"/>
            <a:ext cx="9497126" cy="4431332"/>
            <a:chOff x="1836420" y="1072839"/>
            <a:chExt cx="7124700" cy="3324365"/>
          </a:xfrm>
        </p:grpSpPr>
        <p:grpSp>
          <p:nvGrpSpPr>
            <p:cNvPr id="14" name="Group 13">
              <a:extLst>
                <a:ext uri="{FF2B5EF4-FFF2-40B4-BE49-F238E27FC236}">
                  <a16:creationId xmlns:a16="http://schemas.microsoft.com/office/drawing/2014/main" id="{7A20E893-DA16-D05E-794A-51237FAAC296}"/>
                </a:ext>
              </a:extLst>
            </p:cNvPr>
            <p:cNvGrpSpPr/>
            <p:nvPr/>
          </p:nvGrpSpPr>
          <p:grpSpPr>
            <a:xfrm>
              <a:off x="1981110" y="4028901"/>
              <a:ext cx="6830796" cy="368303"/>
              <a:chOff x="332095" y="4028901"/>
              <a:chExt cx="8626496" cy="368303"/>
            </a:xfrm>
          </p:grpSpPr>
          <p:sp>
            <p:nvSpPr>
              <p:cNvPr id="19" name="Freeform: Shape 18">
                <a:extLst>
                  <a:ext uri="{FF2B5EF4-FFF2-40B4-BE49-F238E27FC236}">
                    <a16:creationId xmlns:a16="http://schemas.microsoft.com/office/drawing/2014/main" id="{7489D156-1AAD-7075-C189-779D2A52306B}"/>
                  </a:ext>
                </a:extLst>
              </p:cNvPr>
              <p:cNvSpPr/>
              <p:nvPr/>
            </p:nvSpPr>
            <p:spPr>
              <a:xfrm>
                <a:off x="332095" y="4028901"/>
                <a:ext cx="3079988" cy="368303"/>
              </a:xfrm>
              <a:custGeom>
                <a:avLst/>
                <a:gdLst>
                  <a:gd name="connsiteX0" fmla="*/ 0 w 3079988"/>
                  <a:gd name="connsiteY0" fmla="*/ 0 h 368303"/>
                  <a:gd name="connsiteX1" fmla="*/ 2895837 w 3079988"/>
                  <a:gd name="connsiteY1" fmla="*/ 0 h 368303"/>
                  <a:gd name="connsiteX2" fmla="*/ 3079988 w 3079988"/>
                  <a:gd name="connsiteY2" fmla="*/ 184152 h 368303"/>
                  <a:gd name="connsiteX3" fmla="*/ 2895837 w 3079988"/>
                  <a:gd name="connsiteY3" fmla="*/ 368303 h 368303"/>
                  <a:gd name="connsiteX4" fmla="*/ 0 w 3079988"/>
                  <a:gd name="connsiteY4" fmla="*/ 368303 h 368303"/>
                  <a:gd name="connsiteX5" fmla="*/ 184152 w 3079988"/>
                  <a:gd name="connsiteY5" fmla="*/ 184152 h 368303"/>
                  <a:gd name="connsiteX6" fmla="*/ 0 w 3079988"/>
                  <a:gd name="connsiteY6" fmla="*/ 0 h 36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9988" h="368303">
                    <a:moveTo>
                      <a:pt x="0" y="0"/>
                    </a:moveTo>
                    <a:lnTo>
                      <a:pt x="2895837" y="0"/>
                    </a:lnTo>
                    <a:lnTo>
                      <a:pt x="3079988" y="184152"/>
                    </a:lnTo>
                    <a:lnTo>
                      <a:pt x="2895837" y="368303"/>
                    </a:lnTo>
                    <a:lnTo>
                      <a:pt x="0" y="368303"/>
                    </a:lnTo>
                    <a:lnTo>
                      <a:pt x="184152" y="184152"/>
                    </a:lnTo>
                    <a:lnTo>
                      <a:pt x="0" y="0"/>
                    </a:lnTo>
                    <a:close/>
                  </a:path>
                </a:pathLst>
              </a:custGeom>
              <a:solidFill>
                <a:srgbClr val="0E4C8B"/>
              </a:solidFill>
              <a:ln>
                <a:solidFill>
                  <a:srgbClr val="FFFFFF"/>
                </a:solidFill>
              </a:ln>
              <a:effectLst/>
            </p:spPr>
            <p:txBody>
              <a:bodyPr spcFirstLastPara="0" vert="horz" wrap="square" lIns="320129" tIns="24886" rIns="270356" bIns="24886" numCol="1" spcCol="1270" anchor="ctr" anchorCtr="0">
                <a:noAutofit/>
              </a:bodyPr>
              <a:lstStyle/>
              <a:p>
                <a:pPr marL="0" marR="0" lvl="0" indent="0" algn="ctr" defTabSz="829526" eaLnBrk="1" fontAlgn="auto" latinLnBrk="0" hangingPunct="1">
                  <a:lnSpc>
                    <a:spcPct val="90000"/>
                  </a:lnSpc>
                  <a:spcBef>
                    <a:spcPct val="0"/>
                  </a:spcBef>
                  <a:spcAft>
                    <a:spcPct val="35000"/>
                  </a:spcAft>
                  <a:buClrTx/>
                  <a:buSzTx/>
                  <a:buFontTx/>
                  <a:buNone/>
                  <a:tabLst/>
                  <a:defRPr/>
                </a:pPr>
                <a:r>
                  <a:rPr lang="en-US" sz="1333" b="1" kern="0" dirty="0">
                    <a:solidFill>
                      <a:srgbClr val="FFFFFF"/>
                    </a:solidFill>
                    <a:latin typeface="Calibri"/>
                  </a:rPr>
                  <a:t>Significant market growth, but ICE still dominates</a:t>
                </a:r>
                <a:endParaRPr kumimoji="0" lang="en-US" sz="1333" b="1" i="0" u="none" strike="noStrike" kern="0" cap="none" spc="0" normalizeH="0" baseline="0" noProof="0" dirty="0">
                  <a:ln>
                    <a:noFill/>
                  </a:ln>
                  <a:solidFill>
                    <a:srgbClr val="FFFFFF"/>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E8224371-34A0-4356-3CBA-06B864D0B9DC}"/>
                  </a:ext>
                </a:extLst>
              </p:cNvPr>
              <p:cNvSpPr/>
              <p:nvPr/>
            </p:nvSpPr>
            <p:spPr>
              <a:xfrm>
                <a:off x="3106613" y="4028901"/>
                <a:ext cx="3079988" cy="368303"/>
              </a:xfrm>
              <a:custGeom>
                <a:avLst/>
                <a:gdLst>
                  <a:gd name="connsiteX0" fmla="*/ 0 w 3079988"/>
                  <a:gd name="connsiteY0" fmla="*/ 0 h 368303"/>
                  <a:gd name="connsiteX1" fmla="*/ 2895837 w 3079988"/>
                  <a:gd name="connsiteY1" fmla="*/ 0 h 368303"/>
                  <a:gd name="connsiteX2" fmla="*/ 3079988 w 3079988"/>
                  <a:gd name="connsiteY2" fmla="*/ 184152 h 368303"/>
                  <a:gd name="connsiteX3" fmla="*/ 2895837 w 3079988"/>
                  <a:gd name="connsiteY3" fmla="*/ 368303 h 368303"/>
                  <a:gd name="connsiteX4" fmla="*/ 0 w 3079988"/>
                  <a:gd name="connsiteY4" fmla="*/ 368303 h 368303"/>
                  <a:gd name="connsiteX5" fmla="*/ 184152 w 3079988"/>
                  <a:gd name="connsiteY5" fmla="*/ 184152 h 368303"/>
                  <a:gd name="connsiteX6" fmla="*/ 0 w 3079988"/>
                  <a:gd name="connsiteY6" fmla="*/ 0 h 36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9988" h="368303">
                    <a:moveTo>
                      <a:pt x="0" y="0"/>
                    </a:moveTo>
                    <a:lnTo>
                      <a:pt x="2895837" y="0"/>
                    </a:lnTo>
                    <a:lnTo>
                      <a:pt x="3079988" y="184152"/>
                    </a:lnTo>
                    <a:lnTo>
                      <a:pt x="2895837" y="368303"/>
                    </a:lnTo>
                    <a:lnTo>
                      <a:pt x="0" y="368303"/>
                    </a:lnTo>
                    <a:lnTo>
                      <a:pt x="184152" y="184152"/>
                    </a:lnTo>
                    <a:lnTo>
                      <a:pt x="0" y="0"/>
                    </a:lnTo>
                    <a:close/>
                  </a:path>
                </a:pathLst>
              </a:custGeom>
              <a:solidFill>
                <a:srgbClr val="0E4C8B"/>
              </a:solidFill>
              <a:ln>
                <a:solidFill>
                  <a:srgbClr val="FFFFFF"/>
                </a:solidFill>
              </a:ln>
              <a:effectLst/>
            </p:spPr>
            <p:txBody>
              <a:bodyPr spcFirstLastPara="0" vert="horz" wrap="square" lIns="320129" tIns="24886" rIns="270356" bIns="24886" numCol="1" spcCol="1270" anchor="ctr" anchorCtr="0">
                <a:noAutofit/>
              </a:bodyPr>
              <a:lstStyle/>
              <a:p>
                <a:pPr marL="0" marR="0" lvl="0" indent="0" algn="ctr" defTabSz="829526" eaLnBrk="1" fontAlgn="auto" latinLnBrk="0" hangingPunct="1">
                  <a:lnSpc>
                    <a:spcPct val="90000"/>
                  </a:lnSpc>
                  <a:spcBef>
                    <a:spcPct val="0"/>
                  </a:spcBef>
                  <a:spcAft>
                    <a:spcPct val="35000"/>
                  </a:spcAft>
                  <a:buClrTx/>
                  <a:buSzTx/>
                  <a:buFontTx/>
                  <a:buNone/>
                  <a:tabLst/>
                  <a:defRPr/>
                </a:pPr>
                <a:r>
                  <a:rPr kumimoji="0" lang="en-US" sz="1333" b="1" i="0" u="none" strike="noStrike" kern="0" cap="none" spc="0" normalizeH="0" baseline="0" noProof="0" dirty="0">
                    <a:ln>
                      <a:noFill/>
                    </a:ln>
                    <a:solidFill>
                      <a:srgbClr val="FFFFFF"/>
                    </a:solidFill>
                    <a:effectLst/>
                    <a:uLnTx/>
                    <a:uFillTx/>
                    <a:latin typeface="Calibri"/>
                    <a:ea typeface="+mn-ea"/>
                    <a:cs typeface="+mn-cs"/>
                  </a:rPr>
                  <a:t>Aggressive addition of Lithium mining?</a:t>
                </a:r>
              </a:p>
            </p:txBody>
          </p:sp>
          <p:sp>
            <p:nvSpPr>
              <p:cNvPr id="21" name="Freeform: Shape 20">
                <a:extLst>
                  <a:ext uri="{FF2B5EF4-FFF2-40B4-BE49-F238E27FC236}">
                    <a16:creationId xmlns:a16="http://schemas.microsoft.com/office/drawing/2014/main" id="{B4E9173E-81C4-E4C7-1EA2-CE21C3DCAF52}"/>
                  </a:ext>
                </a:extLst>
              </p:cNvPr>
              <p:cNvSpPr/>
              <p:nvPr/>
            </p:nvSpPr>
            <p:spPr>
              <a:xfrm>
                <a:off x="5878603" y="4028901"/>
                <a:ext cx="3079988" cy="368303"/>
              </a:xfrm>
              <a:custGeom>
                <a:avLst/>
                <a:gdLst>
                  <a:gd name="connsiteX0" fmla="*/ 0 w 3079988"/>
                  <a:gd name="connsiteY0" fmla="*/ 0 h 368303"/>
                  <a:gd name="connsiteX1" fmla="*/ 2895837 w 3079988"/>
                  <a:gd name="connsiteY1" fmla="*/ 0 h 368303"/>
                  <a:gd name="connsiteX2" fmla="*/ 3079988 w 3079988"/>
                  <a:gd name="connsiteY2" fmla="*/ 184152 h 368303"/>
                  <a:gd name="connsiteX3" fmla="*/ 2895837 w 3079988"/>
                  <a:gd name="connsiteY3" fmla="*/ 368303 h 368303"/>
                  <a:gd name="connsiteX4" fmla="*/ 0 w 3079988"/>
                  <a:gd name="connsiteY4" fmla="*/ 368303 h 368303"/>
                  <a:gd name="connsiteX5" fmla="*/ 184152 w 3079988"/>
                  <a:gd name="connsiteY5" fmla="*/ 184152 h 368303"/>
                  <a:gd name="connsiteX6" fmla="*/ 0 w 3079988"/>
                  <a:gd name="connsiteY6" fmla="*/ 0 h 368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79988" h="368303">
                    <a:moveTo>
                      <a:pt x="0" y="0"/>
                    </a:moveTo>
                    <a:lnTo>
                      <a:pt x="2895837" y="0"/>
                    </a:lnTo>
                    <a:lnTo>
                      <a:pt x="3079988" y="184152"/>
                    </a:lnTo>
                    <a:lnTo>
                      <a:pt x="2895837" y="368303"/>
                    </a:lnTo>
                    <a:lnTo>
                      <a:pt x="0" y="368303"/>
                    </a:lnTo>
                    <a:lnTo>
                      <a:pt x="184152" y="184152"/>
                    </a:lnTo>
                    <a:lnTo>
                      <a:pt x="0" y="0"/>
                    </a:lnTo>
                    <a:close/>
                  </a:path>
                </a:pathLst>
              </a:custGeom>
              <a:solidFill>
                <a:srgbClr val="0E4C8B"/>
              </a:solidFill>
              <a:ln>
                <a:solidFill>
                  <a:srgbClr val="FFFFFF"/>
                </a:solidFill>
              </a:ln>
              <a:effectLst/>
            </p:spPr>
            <p:txBody>
              <a:bodyPr spcFirstLastPara="0" vert="horz" wrap="square" lIns="320129" tIns="24886" rIns="270356" bIns="24886" numCol="1" spcCol="1270" anchor="ctr" anchorCtr="0">
                <a:noAutofit/>
              </a:bodyPr>
              <a:lstStyle/>
              <a:p>
                <a:pPr marL="0" marR="0" lvl="0" indent="0" algn="ctr" defTabSz="829526" eaLnBrk="1" fontAlgn="auto" latinLnBrk="0" hangingPunct="1">
                  <a:lnSpc>
                    <a:spcPct val="90000"/>
                  </a:lnSpc>
                  <a:spcBef>
                    <a:spcPct val="0"/>
                  </a:spcBef>
                  <a:spcAft>
                    <a:spcPct val="35000"/>
                  </a:spcAft>
                  <a:buClrTx/>
                  <a:buSzTx/>
                  <a:buFontTx/>
                  <a:buNone/>
                  <a:tabLst/>
                  <a:defRPr/>
                </a:pPr>
                <a:r>
                  <a:rPr kumimoji="0" lang="en-US" sz="1333" b="1" i="0" u="none" strike="noStrike" kern="0" cap="none" spc="0" normalizeH="0" baseline="0" noProof="0" dirty="0">
                    <a:ln>
                      <a:noFill/>
                    </a:ln>
                    <a:solidFill>
                      <a:srgbClr val="FFFFFF"/>
                    </a:solidFill>
                    <a:effectLst/>
                    <a:uLnTx/>
                    <a:uFillTx/>
                    <a:latin typeface="Calibri"/>
                    <a:ea typeface="+mn-ea"/>
                    <a:cs typeface="+mn-cs"/>
                  </a:rPr>
                  <a:t>Shift to newer materials?</a:t>
                </a:r>
              </a:p>
            </p:txBody>
          </p:sp>
        </p:grpSp>
        <p:graphicFrame>
          <p:nvGraphicFramePr>
            <p:cNvPr id="15" name="Chart 14">
              <a:extLst>
                <a:ext uri="{FF2B5EF4-FFF2-40B4-BE49-F238E27FC236}">
                  <a16:creationId xmlns:a16="http://schemas.microsoft.com/office/drawing/2014/main" id="{2EF70E8B-65F4-FED2-0E40-57ACF1A7A6D7}"/>
                </a:ext>
              </a:extLst>
            </p:cNvPr>
            <p:cNvGraphicFramePr/>
            <p:nvPr/>
          </p:nvGraphicFramePr>
          <p:xfrm>
            <a:off x="1836420" y="1717500"/>
            <a:ext cx="7124700" cy="216106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a:extLst>
                <a:ext uri="{FF2B5EF4-FFF2-40B4-BE49-F238E27FC236}">
                  <a16:creationId xmlns:a16="http://schemas.microsoft.com/office/drawing/2014/main" id="{EB1D3AFB-6873-53B4-F576-D39C5B700CB5}"/>
                </a:ext>
              </a:extLst>
            </p:cNvPr>
            <p:cNvGraphicFramePr/>
            <p:nvPr/>
          </p:nvGraphicFramePr>
          <p:xfrm>
            <a:off x="1836420" y="1072839"/>
            <a:ext cx="7124700" cy="1398456"/>
          </p:xfrm>
          <a:graphic>
            <a:graphicData uri="http://schemas.openxmlformats.org/drawingml/2006/chart">
              <c:chart xmlns:c="http://schemas.openxmlformats.org/drawingml/2006/chart" xmlns:r="http://schemas.openxmlformats.org/officeDocument/2006/relationships" r:id="rId8"/>
            </a:graphicData>
          </a:graphic>
        </p:graphicFrame>
        <p:cxnSp>
          <p:nvCxnSpPr>
            <p:cNvPr id="17" name="Straight Arrow Connector 16">
              <a:extLst>
                <a:ext uri="{FF2B5EF4-FFF2-40B4-BE49-F238E27FC236}">
                  <a16:creationId xmlns:a16="http://schemas.microsoft.com/office/drawing/2014/main" id="{C38BF3F6-6751-4A89-227D-A06A785405F9}"/>
                </a:ext>
              </a:extLst>
            </p:cNvPr>
            <p:cNvCxnSpPr>
              <a:cxnSpLocks/>
            </p:cNvCxnSpPr>
            <p:nvPr/>
          </p:nvCxnSpPr>
          <p:spPr>
            <a:xfrm>
              <a:off x="5036820" y="1289161"/>
              <a:ext cx="0" cy="928665"/>
            </a:xfrm>
            <a:prstGeom prst="straightConnector1">
              <a:avLst/>
            </a:prstGeom>
            <a:noFill/>
            <a:ln w="12700" cap="flat" cmpd="sng" algn="ctr">
              <a:solidFill>
                <a:srgbClr val="00B050"/>
              </a:solidFill>
              <a:prstDash val="solid"/>
              <a:miter lim="800000"/>
              <a:headEnd type="triangle"/>
              <a:tailEnd type="triangle"/>
            </a:ln>
            <a:effectLst/>
          </p:spPr>
        </p:cxnSp>
        <p:sp>
          <p:nvSpPr>
            <p:cNvPr id="18" name="TextBox 17">
              <a:extLst>
                <a:ext uri="{FF2B5EF4-FFF2-40B4-BE49-F238E27FC236}">
                  <a16:creationId xmlns:a16="http://schemas.microsoft.com/office/drawing/2014/main" id="{1E85FA43-3AD6-71A5-4926-2A391E5EE1F4}"/>
                </a:ext>
              </a:extLst>
            </p:cNvPr>
            <p:cNvSpPr txBox="1"/>
            <p:nvPr/>
          </p:nvSpPr>
          <p:spPr>
            <a:xfrm>
              <a:off x="4704750" y="1625167"/>
              <a:ext cx="1174680" cy="184714"/>
            </a:xfrm>
            <a:prstGeom prst="rect">
              <a:avLst/>
            </a:prstGeom>
            <a:noFill/>
          </p:spPr>
          <p:txBody>
            <a:bodyPr wrap="square" rtlCol="0">
              <a:spAutoFit/>
            </a:bodyPr>
            <a:lstStyle/>
            <a:p>
              <a:pPr marL="0" marR="0" lvl="0" indent="0" algn="ctr" defTabSz="609448"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00B050"/>
                  </a:solidFill>
                  <a:effectLst/>
                  <a:uLnTx/>
                  <a:uFillTx/>
                </a:rPr>
                <a:t>Excess</a:t>
              </a:r>
            </a:p>
          </p:txBody>
        </p:sp>
      </p:grpSp>
      <p:grpSp>
        <p:nvGrpSpPr>
          <p:cNvPr id="28" name="Group 27">
            <a:extLst>
              <a:ext uri="{FF2B5EF4-FFF2-40B4-BE49-F238E27FC236}">
                <a16:creationId xmlns:a16="http://schemas.microsoft.com/office/drawing/2014/main" id="{4A5F2621-F95C-0807-DCE3-FC7A8ECD6334}"/>
              </a:ext>
            </a:extLst>
          </p:cNvPr>
          <p:cNvGrpSpPr/>
          <p:nvPr/>
        </p:nvGrpSpPr>
        <p:grpSpPr>
          <a:xfrm>
            <a:off x="371324" y="2501962"/>
            <a:ext cx="2609235" cy="492057"/>
            <a:chOff x="334701" y="1098724"/>
            <a:chExt cx="1957436" cy="369139"/>
          </a:xfrm>
        </p:grpSpPr>
        <p:sp>
          <p:nvSpPr>
            <p:cNvPr id="43" name="TextBox 42">
              <a:extLst>
                <a:ext uri="{FF2B5EF4-FFF2-40B4-BE49-F238E27FC236}">
                  <a16:creationId xmlns:a16="http://schemas.microsoft.com/office/drawing/2014/main" id="{87747531-A7DB-E41C-2B88-570B14142C33}"/>
                </a:ext>
              </a:extLst>
            </p:cNvPr>
            <p:cNvSpPr txBox="1"/>
            <p:nvPr/>
          </p:nvSpPr>
          <p:spPr>
            <a:xfrm>
              <a:off x="637396" y="1098724"/>
              <a:ext cx="1654741" cy="369139"/>
            </a:xfrm>
            <a:prstGeom prst="rect">
              <a:avLst/>
            </a:prstGeom>
            <a:noFill/>
          </p:spPr>
          <p:txBody>
            <a:bodyPr wrap="square" lIns="0" tIns="0" rIns="0" bIns="0" rtlCol="0">
              <a:spAutoFit/>
            </a:bodyPr>
            <a:lstStyle/>
            <a:p>
              <a:pPr marL="0" marR="0" lvl="0" indent="0" defTabSz="609448" eaLnBrk="1" fontAlgn="auto" latinLnBrk="0" hangingPunct="1">
                <a:lnSpc>
                  <a:spcPct val="100000"/>
                </a:lnSpc>
                <a:spcBef>
                  <a:spcPts val="0"/>
                </a:spcBef>
                <a:spcAft>
                  <a:spcPts val="0"/>
                </a:spcAft>
                <a:buClrTx/>
                <a:buSzTx/>
                <a:buFontTx/>
                <a:buNone/>
                <a:tabLst/>
                <a:defRPr/>
              </a:pPr>
              <a:r>
                <a:rPr kumimoji="0" lang="en-US" sz="1066" b="1" i="0" u="none" strike="noStrike" kern="0" cap="none" spc="0" normalizeH="0" baseline="0" noProof="0" dirty="0">
                  <a:ln>
                    <a:noFill/>
                  </a:ln>
                  <a:solidFill>
                    <a:srgbClr val="172D55"/>
                  </a:solidFill>
                  <a:effectLst/>
                  <a:uLnTx/>
                  <a:uFillTx/>
                </a:rPr>
                <a:t>Total lithium reserves available</a:t>
              </a:r>
            </a:p>
            <a:p>
              <a:pPr marL="0" marR="0" lvl="0" indent="0" defTabSz="609448" eaLnBrk="1" fontAlgn="auto" latinLnBrk="0" hangingPunct="1">
                <a:lnSpc>
                  <a:spcPct val="100000"/>
                </a:lnSpc>
                <a:spcBef>
                  <a:spcPts val="0"/>
                </a:spcBef>
                <a:spcAft>
                  <a:spcPts val="0"/>
                </a:spcAft>
                <a:buClrTx/>
                <a:buSzTx/>
                <a:buFontTx/>
                <a:buNone/>
                <a:tabLst/>
                <a:defRPr/>
              </a:pPr>
              <a:r>
                <a:rPr kumimoji="0" lang="en-US" sz="1066" b="1" i="0" u="none" strike="noStrike" kern="0" cap="none" spc="0" normalizeH="0" baseline="0" noProof="0" dirty="0">
                  <a:ln>
                    <a:noFill/>
                  </a:ln>
                  <a:solidFill>
                    <a:srgbClr val="172D55"/>
                  </a:solidFill>
                  <a:effectLst/>
                  <a:uLnTx/>
                  <a:uFillTx/>
                </a:rPr>
                <a:t> (assuming addition + recycling = consumption)</a:t>
              </a:r>
              <a:r>
                <a:rPr kumimoji="0" lang="en-US" sz="1066" b="0" i="1" u="none" strike="noStrike" kern="0" cap="none" spc="0" normalizeH="0" baseline="0" noProof="0" dirty="0">
                  <a:ln>
                    <a:noFill/>
                  </a:ln>
                  <a:solidFill>
                    <a:srgbClr val="FFFFFF">
                      <a:lumMod val="50000"/>
                    </a:srgbClr>
                  </a:solidFill>
                  <a:effectLst/>
                  <a:uLnTx/>
                  <a:uFillTx/>
                </a:rPr>
                <a:t> ( in million tons)</a:t>
              </a:r>
              <a:endParaRPr kumimoji="0" lang="en-US" sz="1066" b="1" i="0" u="none" strike="noStrike" kern="0" cap="none" spc="0" normalizeH="0" baseline="0" noProof="0" dirty="0">
                <a:ln>
                  <a:noFill/>
                </a:ln>
                <a:solidFill>
                  <a:srgbClr val="172D55"/>
                </a:solidFill>
                <a:effectLst/>
                <a:uLnTx/>
                <a:uFillTx/>
              </a:endParaRPr>
            </a:p>
          </p:txBody>
        </p:sp>
        <p:cxnSp>
          <p:nvCxnSpPr>
            <p:cNvPr id="44" name="Straight Connector 43">
              <a:extLst>
                <a:ext uri="{FF2B5EF4-FFF2-40B4-BE49-F238E27FC236}">
                  <a16:creationId xmlns:a16="http://schemas.microsoft.com/office/drawing/2014/main" id="{C76FCC59-5FB7-2B4B-91A0-3A6F2DA17303}"/>
                </a:ext>
              </a:extLst>
            </p:cNvPr>
            <p:cNvCxnSpPr>
              <a:cxnSpLocks/>
            </p:cNvCxnSpPr>
            <p:nvPr/>
          </p:nvCxnSpPr>
          <p:spPr>
            <a:xfrm>
              <a:off x="334701" y="1265236"/>
              <a:ext cx="212480" cy="1"/>
            </a:xfrm>
            <a:prstGeom prst="line">
              <a:avLst/>
            </a:prstGeom>
            <a:noFill/>
            <a:ln w="28575" cap="flat" cmpd="sng" algn="ctr">
              <a:solidFill>
                <a:srgbClr val="FFFFFF">
                  <a:lumMod val="50000"/>
                </a:srgbClr>
              </a:solidFill>
              <a:prstDash val="sysDash"/>
              <a:miter lim="800000"/>
            </a:ln>
            <a:effectLst/>
          </p:spPr>
        </p:cxnSp>
      </p:grpSp>
      <p:grpSp>
        <p:nvGrpSpPr>
          <p:cNvPr id="29" name="Group 28">
            <a:extLst>
              <a:ext uri="{FF2B5EF4-FFF2-40B4-BE49-F238E27FC236}">
                <a16:creationId xmlns:a16="http://schemas.microsoft.com/office/drawing/2014/main" id="{C9B37A8D-1EA3-F1A0-E0A4-D2E8E5B5D2A3}"/>
              </a:ext>
            </a:extLst>
          </p:cNvPr>
          <p:cNvGrpSpPr/>
          <p:nvPr/>
        </p:nvGrpSpPr>
        <p:grpSpPr>
          <a:xfrm>
            <a:off x="371324" y="3283697"/>
            <a:ext cx="2214142" cy="492058"/>
            <a:chOff x="334702" y="1746502"/>
            <a:chExt cx="1661039" cy="369140"/>
          </a:xfrm>
        </p:grpSpPr>
        <p:sp>
          <p:nvSpPr>
            <p:cNvPr id="41" name="TextBox 40">
              <a:extLst>
                <a:ext uri="{FF2B5EF4-FFF2-40B4-BE49-F238E27FC236}">
                  <a16:creationId xmlns:a16="http://schemas.microsoft.com/office/drawing/2014/main" id="{2C91AAF7-2DB9-CBFE-9D29-5707E089C2AA}"/>
                </a:ext>
              </a:extLst>
            </p:cNvPr>
            <p:cNvSpPr txBox="1"/>
            <p:nvPr/>
          </p:nvSpPr>
          <p:spPr>
            <a:xfrm>
              <a:off x="632398" y="1746502"/>
              <a:ext cx="1363343" cy="369140"/>
            </a:xfrm>
            <a:prstGeom prst="rect">
              <a:avLst/>
            </a:prstGeom>
            <a:noFill/>
          </p:spPr>
          <p:txBody>
            <a:bodyPr wrap="square" lIns="0" tIns="0" rIns="0" bIns="0" rtlCol="0">
              <a:spAutoFit/>
            </a:bodyPr>
            <a:lstStyle/>
            <a:p>
              <a:pPr marL="0" marR="0" lvl="0" indent="0" defTabSz="609448" eaLnBrk="1" fontAlgn="auto" latinLnBrk="0" hangingPunct="1">
                <a:lnSpc>
                  <a:spcPct val="100000"/>
                </a:lnSpc>
                <a:spcBef>
                  <a:spcPts val="0"/>
                </a:spcBef>
                <a:spcAft>
                  <a:spcPts val="0"/>
                </a:spcAft>
                <a:buClrTx/>
                <a:buSzTx/>
                <a:buFontTx/>
                <a:buNone/>
                <a:tabLst/>
                <a:defRPr/>
              </a:pPr>
              <a:r>
                <a:rPr kumimoji="0" lang="en-US" sz="1066" b="1" i="0" u="none" strike="noStrike" kern="0" cap="none" spc="0" normalizeH="0" baseline="0" noProof="0" dirty="0">
                  <a:ln>
                    <a:noFill/>
                  </a:ln>
                  <a:solidFill>
                    <a:srgbClr val="172D55"/>
                  </a:solidFill>
                  <a:effectLst/>
                  <a:uLnTx/>
                  <a:uFillTx/>
                </a:rPr>
                <a:t>Cumulative Lithium consumption: All purposes</a:t>
              </a:r>
            </a:p>
            <a:p>
              <a:pPr marL="0" marR="0" lvl="0" indent="0" defTabSz="609448" eaLnBrk="1" fontAlgn="auto" latinLnBrk="0" hangingPunct="1">
                <a:lnSpc>
                  <a:spcPct val="100000"/>
                </a:lnSpc>
                <a:spcBef>
                  <a:spcPts val="0"/>
                </a:spcBef>
                <a:spcAft>
                  <a:spcPts val="0"/>
                </a:spcAft>
                <a:buClrTx/>
                <a:buSzTx/>
                <a:buFontTx/>
                <a:buNone/>
                <a:tabLst/>
                <a:defRPr/>
              </a:pPr>
              <a:r>
                <a:rPr kumimoji="0" lang="en-US" sz="1066" b="0" i="1" u="none" strike="noStrike" kern="0" cap="none" spc="0" normalizeH="0" baseline="0" noProof="0" dirty="0">
                  <a:ln>
                    <a:noFill/>
                  </a:ln>
                  <a:solidFill>
                    <a:srgbClr val="FFFFFF">
                      <a:lumMod val="50000"/>
                    </a:srgbClr>
                  </a:solidFill>
                  <a:effectLst/>
                  <a:uLnTx/>
                  <a:uFillTx/>
                </a:rPr>
                <a:t>( in million tonnes)</a:t>
              </a:r>
            </a:p>
          </p:txBody>
        </p:sp>
        <p:cxnSp>
          <p:nvCxnSpPr>
            <p:cNvPr id="42" name="Straight Connector 41">
              <a:extLst>
                <a:ext uri="{FF2B5EF4-FFF2-40B4-BE49-F238E27FC236}">
                  <a16:creationId xmlns:a16="http://schemas.microsoft.com/office/drawing/2014/main" id="{229DF15C-9350-26F2-4DB4-5B6EF68C1177}"/>
                </a:ext>
              </a:extLst>
            </p:cNvPr>
            <p:cNvCxnSpPr>
              <a:cxnSpLocks/>
            </p:cNvCxnSpPr>
            <p:nvPr/>
          </p:nvCxnSpPr>
          <p:spPr>
            <a:xfrm>
              <a:off x="334702" y="1931168"/>
              <a:ext cx="212479" cy="1"/>
            </a:xfrm>
            <a:prstGeom prst="line">
              <a:avLst/>
            </a:prstGeom>
            <a:noFill/>
            <a:ln w="9525" cap="flat" cmpd="sng" algn="ctr">
              <a:solidFill>
                <a:srgbClr val="172D55"/>
              </a:solidFill>
              <a:prstDash val="solid"/>
              <a:miter lim="800000"/>
            </a:ln>
            <a:effectLst/>
          </p:spPr>
        </p:cxnSp>
      </p:grpSp>
      <p:grpSp>
        <p:nvGrpSpPr>
          <p:cNvPr id="30" name="Group 29">
            <a:extLst>
              <a:ext uri="{FF2B5EF4-FFF2-40B4-BE49-F238E27FC236}">
                <a16:creationId xmlns:a16="http://schemas.microsoft.com/office/drawing/2014/main" id="{A943B1BA-62BB-AC0A-2069-4BE213ED23D3}"/>
              </a:ext>
            </a:extLst>
          </p:cNvPr>
          <p:cNvGrpSpPr/>
          <p:nvPr/>
        </p:nvGrpSpPr>
        <p:grpSpPr>
          <a:xfrm>
            <a:off x="371325" y="4065434"/>
            <a:ext cx="2258789" cy="656077"/>
            <a:chOff x="334702" y="2271634"/>
            <a:chExt cx="1694533" cy="492186"/>
          </a:xfrm>
        </p:grpSpPr>
        <p:sp>
          <p:nvSpPr>
            <p:cNvPr id="37" name="TextBox 36">
              <a:extLst>
                <a:ext uri="{FF2B5EF4-FFF2-40B4-BE49-F238E27FC236}">
                  <a16:creationId xmlns:a16="http://schemas.microsoft.com/office/drawing/2014/main" id="{83C943FE-BF69-9287-6071-A23FCCFB0CCB}"/>
                </a:ext>
              </a:extLst>
            </p:cNvPr>
            <p:cNvSpPr txBox="1"/>
            <p:nvPr/>
          </p:nvSpPr>
          <p:spPr>
            <a:xfrm>
              <a:off x="642395" y="2271634"/>
              <a:ext cx="1386840" cy="492186"/>
            </a:xfrm>
            <a:prstGeom prst="rect">
              <a:avLst/>
            </a:prstGeom>
            <a:noFill/>
          </p:spPr>
          <p:txBody>
            <a:bodyPr wrap="square" lIns="0" tIns="0" rIns="0" bIns="0" rtlCol="0">
              <a:spAutoFit/>
            </a:bodyPr>
            <a:lstStyle/>
            <a:p>
              <a:pPr marL="0" marR="0" lvl="0" indent="0" defTabSz="609448" eaLnBrk="1" fontAlgn="auto" latinLnBrk="0" hangingPunct="1">
                <a:lnSpc>
                  <a:spcPct val="100000"/>
                </a:lnSpc>
                <a:spcBef>
                  <a:spcPts val="0"/>
                </a:spcBef>
                <a:spcAft>
                  <a:spcPts val="0"/>
                </a:spcAft>
                <a:buClrTx/>
                <a:buSzTx/>
                <a:buFontTx/>
                <a:buNone/>
                <a:tabLst/>
                <a:defRPr/>
              </a:pPr>
              <a:r>
                <a:rPr kumimoji="0" lang="en-US" sz="1066" b="1" i="0" u="none" strike="noStrike" kern="0" cap="none" spc="0" normalizeH="0" baseline="0" noProof="0" dirty="0">
                  <a:ln>
                    <a:noFill/>
                  </a:ln>
                  <a:solidFill>
                    <a:srgbClr val="172D55"/>
                  </a:solidFill>
                  <a:effectLst/>
                  <a:uLnTx/>
                  <a:uFillTx/>
                </a:rPr>
                <a:t>Cumulative Lithium consumption from source for BEV cars &amp; trucks batteries</a:t>
              </a:r>
            </a:p>
            <a:p>
              <a:pPr marL="0" marR="0" lvl="0" indent="0" defTabSz="609448" eaLnBrk="1" fontAlgn="auto" latinLnBrk="0" hangingPunct="1">
                <a:lnSpc>
                  <a:spcPct val="100000"/>
                </a:lnSpc>
                <a:spcBef>
                  <a:spcPts val="0"/>
                </a:spcBef>
                <a:spcAft>
                  <a:spcPts val="0"/>
                </a:spcAft>
                <a:buClrTx/>
                <a:buSzTx/>
                <a:buFontTx/>
                <a:buNone/>
                <a:tabLst/>
                <a:defRPr/>
              </a:pPr>
              <a:r>
                <a:rPr kumimoji="0" lang="en-US" sz="1066" b="0" i="1" u="none" strike="noStrike" kern="0" cap="none" spc="0" normalizeH="0" baseline="0" noProof="0" dirty="0">
                  <a:ln>
                    <a:noFill/>
                  </a:ln>
                  <a:solidFill>
                    <a:srgbClr val="FFFFFF">
                      <a:lumMod val="50000"/>
                    </a:srgbClr>
                  </a:solidFill>
                  <a:effectLst/>
                  <a:uLnTx/>
                  <a:uFillTx/>
                </a:rPr>
                <a:t>( in million tons)</a:t>
              </a:r>
              <a:endParaRPr kumimoji="0" lang="en-US" sz="1066" b="1" i="0" u="none" strike="noStrike" kern="0" cap="none" spc="0" normalizeH="0" baseline="0" noProof="0" dirty="0">
                <a:ln>
                  <a:noFill/>
                </a:ln>
                <a:solidFill>
                  <a:srgbClr val="172D55"/>
                </a:solidFill>
                <a:effectLst/>
                <a:uLnTx/>
                <a:uFillTx/>
              </a:endParaRPr>
            </a:p>
          </p:txBody>
        </p:sp>
        <p:grpSp>
          <p:nvGrpSpPr>
            <p:cNvPr id="38" name="Group 37">
              <a:extLst>
                <a:ext uri="{FF2B5EF4-FFF2-40B4-BE49-F238E27FC236}">
                  <a16:creationId xmlns:a16="http://schemas.microsoft.com/office/drawing/2014/main" id="{0002F9CC-10D1-5C4C-B8E8-83C55C2CA528}"/>
                </a:ext>
              </a:extLst>
            </p:cNvPr>
            <p:cNvGrpSpPr/>
            <p:nvPr/>
          </p:nvGrpSpPr>
          <p:grpSpPr>
            <a:xfrm>
              <a:off x="334702" y="2500710"/>
              <a:ext cx="212479" cy="34290"/>
              <a:chOff x="334702" y="2525696"/>
              <a:chExt cx="212479" cy="34290"/>
            </a:xfrm>
          </p:grpSpPr>
          <p:cxnSp>
            <p:nvCxnSpPr>
              <p:cNvPr id="39" name="Straight Connector 38">
                <a:extLst>
                  <a:ext uri="{FF2B5EF4-FFF2-40B4-BE49-F238E27FC236}">
                    <a16:creationId xmlns:a16="http://schemas.microsoft.com/office/drawing/2014/main" id="{3B40F4BE-6AA0-6615-96FA-56BF0371ABED}"/>
                  </a:ext>
                </a:extLst>
              </p:cNvPr>
              <p:cNvCxnSpPr>
                <a:cxnSpLocks/>
              </p:cNvCxnSpPr>
              <p:nvPr/>
            </p:nvCxnSpPr>
            <p:spPr>
              <a:xfrm>
                <a:off x="334702" y="2542841"/>
                <a:ext cx="212479" cy="1"/>
              </a:xfrm>
              <a:prstGeom prst="line">
                <a:avLst/>
              </a:prstGeom>
              <a:noFill/>
              <a:ln w="9525" cap="flat" cmpd="sng" algn="ctr">
                <a:solidFill>
                  <a:srgbClr val="00B0F0">
                    <a:lumMod val="60000"/>
                    <a:lumOff val="40000"/>
                  </a:srgbClr>
                </a:solidFill>
                <a:prstDash val="solid"/>
                <a:miter lim="800000"/>
              </a:ln>
              <a:effectLst/>
            </p:spPr>
          </p:cxnSp>
          <p:sp>
            <p:nvSpPr>
              <p:cNvPr id="40" name="Oval 39">
                <a:extLst>
                  <a:ext uri="{FF2B5EF4-FFF2-40B4-BE49-F238E27FC236}">
                    <a16:creationId xmlns:a16="http://schemas.microsoft.com/office/drawing/2014/main" id="{447B84F0-EF49-E530-8D97-E6A427D712C1}"/>
                  </a:ext>
                </a:extLst>
              </p:cNvPr>
              <p:cNvSpPr/>
              <p:nvPr/>
            </p:nvSpPr>
            <p:spPr>
              <a:xfrm>
                <a:off x="423797" y="2525696"/>
                <a:ext cx="34289" cy="34290"/>
              </a:xfrm>
              <a:prstGeom prst="ellipse">
                <a:avLst/>
              </a:prstGeom>
              <a:solidFill>
                <a:srgbClr val="00B0F0">
                  <a:lumMod val="50000"/>
                </a:srgbClr>
              </a:solidFill>
              <a:ln w="12700" cap="flat" cmpd="sng" algn="ctr">
                <a:solidFill>
                  <a:srgbClr val="00B0F0">
                    <a:lumMod val="60000"/>
                    <a:lumOff val="40000"/>
                  </a:srgbClr>
                </a:solidFill>
                <a:prstDash val="solid"/>
                <a:miter lim="800000"/>
              </a:ln>
              <a:effectLst/>
            </p:spPr>
            <p:txBody>
              <a:bodyPr rtlCol="0" anchor="ctr"/>
              <a:lstStyle/>
              <a:p>
                <a:pPr marL="0" marR="0" lvl="0" indent="0" algn="ctr" defTabSz="60944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grpSp>
      </p:grpSp>
      <p:grpSp>
        <p:nvGrpSpPr>
          <p:cNvPr id="32" name="Group 31">
            <a:extLst>
              <a:ext uri="{FF2B5EF4-FFF2-40B4-BE49-F238E27FC236}">
                <a16:creationId xmlns:a16="http://schemas.microsoft.com/office/drawing/2014/main" id="{044C5FC7-69AE-A919-6BD7-1B1CCEEA7752}"/>
              </a:ext>
            </a:extLst>
          </p:cNvPr>
          <p:cNvGrpSpPr/>
          <p:nvPr/>
        </p:nvGrpSpPr>
        <p:grpSpPr>
          <a:xfrm>
            <a:off x="373115" y="4993907"/>
            <a:ext cx="2453482" cy="328040"/>
            <a:chOff x="336045" y="3444545"/>
            <a:chExt cx="1840591" cy="246094"/>
          </a:xfrm>
        </p:grpSpPr>
        <p:sp>
          <p:nvSpPr>
            <p:cNvPr id="33" name="TextBox 32">
              <a:extLst>
                <a:ext uri="{FF2B5EF4-FFF2-40B4-BE49-F238E27FC236}">
                  <a16:creationId xmlns:a16="http://schemas.microsoft.com/office/drawing/2014/main" id="{74A89265-98E8-5F61-FA88-3A9447764A2E}"/>
                </a:ext>
              </a:extLst>
            </p:cNvPr>
            <p:cNvSpPr txBox="1"/>
            <p:nvPr/>
          </p:nvSpPr>
          <p:spPr>
            <a:xfrm>
              <a:off x="637396" y="3444545"/>
              <a:ext cx="1539240" cy="246094"/>
            </a:xfrm>
            <a:prstGeom prst="rect">
              <a:avLst/>
            </a:prstGeom>
            <a:noFill/>
          </p:spPr>
          <p:txBody>
            <a:bodyPr wrap="square" lIns="0" tIns="0" rIns="0" bIns="0" rtlCol="0">
              <a:spAutoFit/>
            </a:bodyPr>
            <a:lstStyle/>
            <a:p>
              <a:pPr marL="0" marR="0" lvl="0" indent="0" defTabSz="609448" eaLnBrk="1" fontAlgn="auto" latinLnBrk="0" hangingPunct="1">
                <a:lnSpc>
                  <a:spcPct val="100000"/>
                </a:lnSpc>
                <a:spcBef>
                  <a:spcPts val="0"/>
                </a:spcBef>
                <a:spcAft>
                  <a:spcPts val="0"/>
                </a:spcAft>
                <a:buClrTx/>
                <a:buSzTx/>
                <a:buFontTx/>
                <a:buNone/>
                <a:tabLst/>
                <a:defRPr/>
              </a:pPr>
              <a:r>
                <a:rPr kumimoji="0" lang="en-US" sz="1066" b="1" i="0" u="none" strike="noStrike" kern="0" cap="none" spc="0" normalizeH="0" baseline="0" noProof="0" dirty="0">
                  <a:ln>
                    <a:noFill/>
                  </a:ln>
                  <a:solidFill>
                    <a:srgbClr val="172D55"/>
                  </a:solidFill>
                  <a:effectLst/>
                  <a:uLnTx/>
                  <a:uFillTx/>
                </a:rPr>
                <a:t>Global BEV new cars &amp; truck</a:t>
              </a:r>
            </a:p>
            <a:p>
              <a:pPr marL="0" marR="0" lvl="0" indent="0" defTabSz="609448" eaLnBrk="1" fontAlgn="auto" latinLnBrk="0" hangingPunct="1">
                <a:lnSpc>
                  <a:spcPct val="100000"/>
                </a:lnSpc>
                <a:spcBef>
                  <a:spcPts val="0"/>
                </a:spcBef>
                <a:spcAft>
                  <a:spcPts val="0"/>
                </a:spcAft>
                <a:buClrTx/>
                <a:buSzTx/>
                <a:buFontTx/>
                <a:buNone/>
                <a:tabLst/>
                <a:defRPr/>
              </a:pPr>
              <a:r>
                <a:rPr kumimoji="0" lang="en-US" sz="1066" b="1" i="0" u="none" strike="noStrike" kern="0" cap="none" spc="0" normalizeH="0" baseline="0" noProof="0" dirty="0">
                  <a:ln>
                    <a:noFill/>
                  </a:ln>
                  <a:solidFill>
                    <a:srgbClr val="172D55"/>
                  </a:solidFill>
                  <a:effectLst/>
                  <a:uLnTx/>
                  <a:uFillTx/>
                </a:rPr>
                <a:t>sales/yr </a:t>
              </a:r>
              <a:r>
                <a:rPr kumimoji="0" lang="en-US" sz="1066" b="0" i="1" u="none" strike="noStrike" kern="0" cap="none" spc="0" normalizeH="0" baseline="0" noProof="0" dirty="0">
                  <a:ln>
                    <a:noFill/>
                  </a:ln>
                  <a:solidFill>
                    <a:srgbClr val="FFFFFF">
                      <a:lumMod val="50000"/>
                    </a:srgbClr>
                  </a:solidFill>
                  <a:effectLst/>
                  <a:uLnTx/>
                  <a:uFillTx/>
                </a:rPr>
                <a:t>( in million units)</a:t>
              </a:r>
              <a:endParaRPr kumimoji="0" lang="en-US" sz="1066" b="1" i="0" u="none" strike="noStrike" kern="0" cap="none" spc="0" normalizeH="0" baseline="0" noProof="0" dirty="0">
                <a:ln>
                  <a:noFill/>
                </a:ln>
                <a:solidFill>
                  <a:srgbClr val="172D55"/>
                </a:solidFill>
                <a:effectLst/>
                <a:uLnTx/>
                <a:uFillTx/>
              </a:endParaRPr>
            </a:p>
          </p:txBody>
        </p:sp>
        <p:sp>
          <p:nvSpPr>
            <p:cNvPr id="34" name="Rectangle 33">
              <a:extLst>
                <a:ext uri="{FF2B5EF4-FFF2-40B4-BE49-F238E27FC236}">
                  <a16:creationId xmlns:a16="http://schemas.microsoft.com/office/drawing/2014/main" id="{6BB27B07-D196-4BCF-5DBA-0D378D2E1B83}"/>
                </a:ext>
              </a:extLst>
            </p:cNvPr>
            <p:cNvSpPr/>
            <p:nvPr/>
          </p:nvSpPr>
          <p:spPr>
            <a:xfrm>
              <a:off x="336045" y="3532859"/>
              <a:ext cx="209792" cy="69593"/>
            </a:xfrm>
            <a:prstGeom prst="rect">
              <a:avLst/>
            </a:prstGeom>
            <a:solidFill>
              <a:srgbClr val="1582C5"/>
            </a:solidFill>
            <a:ln w="12700" cap="flat" cmpd="sng" algn="ctr">
              <a:noFill/>
              <a:prstDash val="solid"/>
              <a:miter lim="800000"/>
            </a:ln>
            <a:effectLst/>
          </p:spPr>
          <p:txBody>
            <a:bodyPr rtlCol="0" anchor="ctr"/>
            <a:lstStyle/>
            <a:p>
              <a:pPr marL="0" marR="0" lvl="0" indent="0" algn="ctr" defTabSz="609448"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a:ea typeface="+mn-ea"/>
                <a:cs typeface="+mn-cs"/>
              </a:endParaRPr>
            </a:p>
          </p:txBody>
        </p:sp>
      </p:grpSp>
      <p:grpSp>
        <p:nvGrpSpPr>
          <p:cNvPr id="45" name="Group 44">
            <a:extLst>
              <a:ext uri="{FF2B5EF4-FFF2-40B4-BE49-F238E27FC236}">
                <a16:creationId xmlns:a16="http://schemas.microsoft.com/office/drawing/2014/main" id="{FEF42C2A-B2E2-A0BC-73E9-B54B46F84C3A}"/>
              </a:ext>
            </a:extLst>
          </p:cNvPr>
          <p:cNvGrpSpPr/>
          <p:nvPr/>
        </p:nvGrpSpPr>
        <p:grpSpPr>
          <a:xfrm>
            <a:off x="494950" y="888527"/>
            <a:ext cx="409576" cy="409576"/>
            <a:chOff x="515413" y="-579941"/>
            <a:chExt cx="409576" cy="409576"/>
          </a:xfrm>
        </p:grpSpPr>
        <p:sp>
          <p:nvSpPr>
            <p:cNvPr id="46" name="Freeform 8">
              <a:extLst>
                <a:ext uri="{FF2B5EF4-FFF2-40B4-BE49-F238E27FC236}">
                  <a16:creationId xmlns:a16="http://schemas.microsoft.com/office/drawing/2014/main" id="{0E90E0FE-161D-938A-E06A-18EC1B0AF299}"/>
                </a:ext>
              </a:extLst>
            </p:cNvPr>
            <p:cNvSpPr>
              <a:spLocks/>
            </p:cNvSpPr>
            <p:nvPr/>
          </p:nvSpPr>
          <p:spPr bwMode="auto">
            <a:xfrm>
              <a:off x="658718" y="-464428"/>
              <a:ext cx="126226" cy="51391"/>
            </a:xfrm>
            <a:custGeom>
              <a:avLst/>
              <a:gdLst>
                <a:gd name="T0" fmla="*/ 38 w 1626"/>
                <a:gd name="T1" fmla="*/ 0 h 662"/>
                <a:gd name="T2" fmla="*/ 1589 w 1626"/>
                <a:gd name="T3" fmla="*/ 0 h 662"/>
                <a:gd name="T4" fmla="*/ 1607 w 1626"/>
                <a:gd name="T5" fmla="*/ 5 h 662"/>
                <a:gd name="T6" fmla="*/ 1620 w 1626"/>
                <a:gd name="T7" fmla="*/ 19 h 662"/>
                <a:gd name="T8" fmla="*/ 1626 w 1626"/>
                <a:gd name="T9" fmla="*/ 38 h 662"/>
                <a:gd name="T10" fmla="*/ 1626 w 1626"/>
                <a:gd name="T11" fmla="*/ 624 h 662"/>
                <a:gd name="T12" fmla="*/ 1620 w 1626"/>
                <a:gd name="T13" fmla="*/ 643 h 662"/>
                <a:gd name="T14" fmla="*/ 1607 w 1626"/>
                <a:gd name="T15" fmla="*/ 657 h 662"/>
                <a:gd name="T16" fmla="*/ 1589 w 1626"/>
                <a:gd name="T17" fmla="*/ 662 h 662"/>
                <a:gd name="T18" fmla="*/ 38 w 1626"/>
                <a:gd name="T19" fmla="*/ 662 h 662"/>
                <a:gd name="T20" fmla="*/ 19 w 1626"/>
                <a:gd name="T21" fmla="*/ 657 h 662"/>
                <a:gd name="T22" fmla="*/ 5 w 1626"/>
                <a:gd name="T23" fmla="*/ 643 h 662"/>
                <a:gd name="T24" fmla="*/ 0 w 1626"/>
                <a:gd name="T25" fmla="*/ 624 h 662"/>
                <a:gd name="T26" fmla="*/ 0 w 1626"/>
                <a:gd name="T27" fmla="*/ 38 h 662"/>
                <a:gd name="T28" fmla="*/ 5 w 1626"/>
                <a:gd name="T29" fmla="*/ 19 h 662"/>
                <a:gd name="T30" fmla="*/ 19 w 1626"/>
                <a:gd name="T31" fmla="*/ 5 h 662"/>
                <a:gd name="T32" fmla="*/ 38 w 1626"/>
                <a:gd name="T33"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6" h="662">
                  <a:moveTo>
                    <a:pt x="38" y="0"/>
                  </a:moveTo>
                  <a:lnTo>
                    <a:pt x="1589" y="0"/>
                  </a:lnTo>
                  <a:lnTo>
                    <a:pt x="1607" y="5"/>
                  </a:lnTo>
                  <a:lnTo>
                    <a:pt x="1620" y="19"/>
                  </a:lnTo>
                  <a:lnTo>
                    <a:pt x="1626" y="38"/>
                  </a:lnTo>
                  <a:lnTo>
                    <a:pt x="1626" y="624"/>
                  </a:lnTo>
                  <a:lnTo>
                    <a:pt x="1620" y="643"/>
                  </a:lnTo>
                  <a:lnTo>
                    <a:pt x="1607" y="657"/>
                  </a:lnTo>
                  <a:lnTo>
                    <a:pt x="1589" y="662"/>
                  </a:lnTo>
                  <a:lnTo>
                    <a:pt x="38" y="662"/>
                  </a:lnTo>
                  <a:lnTo>
                    <a:pt x="19" y="657"/>
                  </a:lnTo>
                  <a:lnTo>
                    <a:pt x="5" y="643"/>
                  </a:lnTo>
                  <a:lnTo>
                    <a:pt x="0" y="624"/>
                  </a:lnTo>
                  <a:lnTo>
                    <a:pt x="0" y="38"/>
                  </a:lnTo>
                  <a:lnTo>
                    <a:pt x="5" y="19"/>
                  </a:lnTo>
                  <a:lnTo>
                    <a:pt x="19" y="5"/>
                  </a:lnTo>
                  <a:lnTo>
                    <a:pt x="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7" name="Freeform 9">
              <a:extLst>
                <a:ext uri="{FF2B5EF4-FFF2-40B4-BE49-F238E27FC236}">
                  <a16:creationId xmlns:a16="http://schemas.microsoft.com/office/drawing/2014/main" id="{A9AD734B-0F9F-0FD8-5BB6-55AF274930A8}"/>
                </a:ext>
              </a:extLst>
            </p:cNvPr>
            <p:cNvSpPr>
              <a:spLocks/>
            </p:cNvSpPr>
            <p:nvPr/>
          </p:nvSpPr>
          <p:spPr bwMode="auto">
            <a:xfrm>
              <a:off x="658718" y="-403255"/>
              <a:ext cx="126226" cy="51391"/>
            </a:xfrm>
            <a:custGeom>
              <a:avLst/>
              <a:gdLst>
                <a:gd name="T0" fmla="*/ 38 w 1626"/>
                <a:gd name="T1" fmla="*/ 0 h 662"/>
                <a:gd name="T2" fmla="*/ 1589 w 1626"/>
                <a:gd name="T3" fmla="*/ 0 h 662"/>
                <a:gd name="T4" fmla="*/ 1607 w 1626"/>
                <a:gd name="T5" fmla="*/ 5 h 662"/>
                <a:gd name="T6" fmla="*/ 1620 w 1626"/>
                <a:gd name="T7" fmla="*/ 19 h 662"/>
                <a:gd name="T8" fmla="*/ 1626 w 1626"/>
                <a:gd name="T9" fmla="*/ 38 h 662"/>
                <a:gd name="T10" fmla="*/ 1626 w 1626"/>
                <a:gd name="T11" fmla="*/ 624 h 662"/>
                <a:gd name="T12" fmla="*/ 1620 w 1626"/>
                <a:gd name="T13" fmla="*/ 643 h 662"/>
                <a:gd name="T14" fmla="*/ 1607 w 1626"/>
                <a:gd name="T15" fmla="*/ 656 h 662"/>
                <a:gd name="T16" fmla="*/ 1589 w 1626"/>
                <a:gd name="T17" fmla="*/ 662 h 662"/>
                <a:gd name="T18" fmla="*/ 38 w 1626"/>
                <a:gd name="T19" fmla="*/ 662 h 662"/>
                <a:gd name="T20" fmla="*/ 19 w 1626"/>
                <a:gd name="T21" fmla="*/ 656 h 662"/>
                <a:gd name="T22" fmla="*/ 5 w 1626"/>
                <a:gd name="T23" fmla="*/ 643 h 662"/>
                <a:gd name="T24" fmla="*/ 0 w 1626"/>
                <a:gd name="T25" fmla="*/ 624 h 662"/>
                <a:gd name="T26" fmla="*/ 0 w 1626"/>
                <a:gd name="T27" fmla="*/ 38 h 662"/>
                <a:gd name="T28" fmla="*/ 5 w 1626"/>
                <a:gd name="T29" fmla="*/ 19 h 662"/>
                <a:gd name="T30" fmla="*/ 19 w 1626"/>
                <a:gd name="T31" fmla="*/ 5 h 662"/>
                <a:gd name="T32" fmla="*/ 38 w 1626"/>
                <a:gd name="T33"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6" h="662">
                  <a:moveTo>
                    <a:pt x="38" y="0"/>
                  </a:moveTo>
                  <a:lnTo>
                    <a:pt x="1589" y="0"/>
                  </a:lnTo>
                  <a:lnTo>
                    <a:pt x="1607" y="5"/>
                  </a:lnTo>
                  <a:lnTo>
                    <a:pt x="1620" y="19"/>
                  </a:lnTo>
                  <a:lnTo>
                    <a:pt x="1626" y="38"/>
                  </a:lnTo>
                  <a:lnTo>
                    <a:pt x="1626" y="624"/>
                  </a:lnTo>
                  <a:lnTo>
                    <a:pt x="1620" y="643"/>
                  </a:lnTo>
                  <a:lnTo>
                    <a:pt x="1607" y="656"/>
                  </a:lnTo>
                  <a:lnTo>
                    <a:pt x="1589" y="662"/>
                  </a:lnTo>
                  <a:lnTo>
                    <a:pt x="38" y="662"/>
                  </a:lnTo>
                  <a:lnTo>
                    <a:pt x="19" y="656"/>
                  </a:lnTo>
                  <a:lnTo>
                    <a:pt x="5" y="643"/>
                  </a:lnTo>
                  <a:lnTo>
                    <a:pt x="0" y="624"/>
                  </a:lnTo>
                  <a:lnTo>
                    <a:pt x="0" y="38"/>
                  </a:lnTo>
                  <a:lnTo>
                    <a:pt x="5" y="19"/>
                  </a:lnTo>
                  <a:lnTo>
                    <a:pt x="19" y="5"/>
                  </a:lnTo>
                  <a:lnTo>
                    <a:pt x="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8" name="Freeform 10">
              <a:extLst>
                <a:ext uri="{FF2B5EF4-FFF2-40B4-BE49-F238E27FC236}">
                  <a16:creationId xmlns:a16="http://schemas.microsoft.com/office/drawing/2014/main" id="{8A699CC5-E393-A118-3B95-C061C219B165}"/>
                </a:ext>
              </a:extLst>
            </p:cNvPr>
            <p:cNvSpPr>
              <a:spLocks/>
            </p:cNvSpPr>
            <p:nvPr/>
          </p:nvSpPr>
          <p:spPr bwMode="auto">
            <a:xfrm>
              <a:off x="658718" y="-341927"/>
              <a:ext cx="126226" cy="45181"/>
            </a:xfrm>
            <a:custGeom>
              <a:avLst/>
              <a:gdLst>
                <a:gd name="T0" fmla="*/ 100 w 1626"/>
                <a:gd name="T1" fmla="*/ 0 h 582"/>
                <a:gd name="T2" fmla="*/ 1525 w 1626"/>
                <a:gd name="T3" fmla="*/ 0 h 582"/>
                <a:gd name="T4" fmla="*/ 1555 w 1626"/>
                <a:gd name="T5" fmla="*/ 3 h 582"/>
                <a:gd name="T6" fmla="*/ 1581 w 1626"/>
                <a:gd name="T7" fmla="*/ 15 h 582"/>
                <a:gd name="T8" fmla="*/ 1601 w 1626"/>
                <a:gd name="T9" fmla="*/ 34 h 582"/>
                <a:gd name="T10" fmla="*/ 1617 w 1626"/>
                <a:gd name="T11" fmla="*/ 58 h 582"/>
                <a:gd name="T12" fmla="*/ 1626 w 1626"/>
                <a:gd name="T13" fmla="*/ 86 h 582"/>
                <a:gd name="T14" fmla="*/ 1553 w 1626"/>
                <a:gd name="T15" fmla="*/ 115 h 582"/>
                <a:gd name="T16" fmla="*/ 1489 w 1626"/>
                <a:gd name="T17" fmla="*/ 148 h 582"/>
                <a:gd name="T18" fmla="*/ 1432 w 1626"/>
                <a:gd name="T19" fmla="*/ 186 h 582"/>
                <a:gd name="T20" fmla="*/ 1382 w 1626"/>
                <a:gd name="T21" fmla="*/ 224 h 582"/>
                <a:gd name="T22" fmla="*/ 1337 w 1626"/>
                <a:gd name="T23" fmla="*/ 266 h 582"/>
                <a:gd name="T24" fmla="*/ 1297 w 1626"/>
                <a:gd name="T25" fmla="*/ 309 h 582"/>
                <a:gd name="T26" fmla="*/ 1263 w 1626"/>
                <a:gd name="T27" fmla="*/ 350 h 582"/>
                <a:gd name="T28" fmla="*/ 1233 w 1626"/>
                <a:gd name="T29" fmla="*/ 392 h 582"/>
                <a:gd name="T30" fmla="*/ 1207 w 1626"/>
                <a:gd name="T31" fmla="*/ 430 h 582"/>
                <a:gd name="T32" fmla="*/ 1185 w 1626"/>
                <a:gd name="T33" fmla="*/ 466 h 582"/>
                <a:gd name="T34" fmla="*/ 1164 w 1626"/>
                <a:gd name="T35" fmla="*/ 501 h 582"/>
                <a:gd name="T36" fmla="*/ 1149 w 1626"/>
                <a:gd name="T37" fmla="*/ 523 h 582"/>
                <a:gd name="T38" fmla="*/ 1128 w 1626"/>
                <a:gd name="T39" fmla="*/ 546 h 582"/>
                <a:gd name="T40" fmla="*/ 1105 w 1626"/>
                <a:gd name="T41" fmla="*/ 565 h 582"/>
                <a:gd name="T42" fmla="*/ 1081 w 1626"/>
                <a:gd name="T43" fmla="*/ 577 h 582"/>
                <a:gd name="T44" fmla="*/ 1057 w 1626"/>
                <a:gd name="T45" fmla="*/ 582 h 582"/>
                <a:gd name="T46" fmla="*/ 1045 w 1626"/>
                <a:gd name="T47" fmla="*/ 582 h 582"/>
                <a:gd name="T48" fmla="*/ 903 w 1626"/>
                <a:gd name="T49" fmla="*/ 578 h 582"/>
                <a:gd name="T50" fmla="*/ 763 w 1626"/>
                <a:gd name="T51" fmla="*/ 565 h 582"/>
                <a:gd name="T52" fmla="*/ 627 w 1626"/>
                <a:gd name="T53" fmla="*/ 544 h 582"/>
                <a:gd name="T54" fmla="*/ 494 w 1626"/>
                <a:gd name="T55" fmla="*/ 514 h 582"/>
                <a:gd name="T56" fmla="*/ 364 w 1626"/>
                <a:gd name="T57" fmla="*/ 476 h 582"/>
                <a:gd name="T58" fmla="*/ 238 w 1626"/>
                <a:gd name="T59" fmla="*/ 432 h 582"/>
                <a:gd name="T60" fmla="*/ 117 w 1626"/>
                <a:gd name="T61" fmla="*/ 378 h 582"/>
                <a:gd name="T62" fmla="*/ 0 w 1626"/>
                <a:gd name="T63" fmla="*/ 317 h 582"/>
                <a:gd name="T64" fmla="*/ 0 w 1626"/>
                <a:gd name="T65" fmla="*/ 98 h 582"/>
                <a:gd name="T66" fmla="*/ 5 w 1626"/>
                <a:gd name="T67" fmla="*/ 67 h 582"/>
                <a:gd name="T68" fmla="*/ 19 w 1626"/>
                <a:gd name="T69" fmla="*/ 39 h 582"/>
                <a:gd name="T70" fmla="*/ 41 w 1626"/>
                <a:gd name="T71" fmla="*/ 19 h 582"/>
                <a:gd name="T72" fmla="*/ 69 w 1626"/>
                <a:gd name="T73" fmla="*/ 5 h 582"/>
                <a:gd name="T74" fmla="*/ 100 w 1626"/>
                <a:gd name="T75"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26" h="582">
                  <a:moveTo>
                    <a:pt x="100" y="0"/>
                  </a:moveTo>
                  <a:lnTo>
                    <a:pt x="1525" y="0"/>
                  </a:lnTo>
                  <a:lnTo>
                    <a:pt x="1555" y="3"/>
                  </a:lnTo>
                  <a:lnTo>
                    <a:pt x="1581" y="15"/>
                  </a:lnTo>
                  <a:lnTo>
                    <a:pt x="1601" y="34"/>
                  </a:lnTo>
                  <a:lnTo>
                    <a:pt x="1617" y="58"/>
                  </a:lnTo>
                  <a:lnTo>
                    <a:pt x="1626" y="86"/>
                  </a:lnTo>
                  <a:lnTo>
                    <a:pt x="1553" y="115"/>
                  </a:lnTo>
                  <a:lnTo>
                    <a:pt x="1489" y="148"/>
                  </a:lnTo>
                  <a:lnTo>
                    <a:pt x="1432" y="186"/>
                  </a:lnTo>
                  <a:lnTo>
                    <a:pt x="1382" y="224"/>
                  </a:lnTo>
                  <a:lnTo>
                    <a:pt x="1337" y="266"/>
                  </a:lnTo>
                  <a:lnTo>
                    <a:pt x="1297" y="309"/>
                  </a:lnTo>
                  <a:lnTo>
                    <a:pt x="1263" y="350"/>
                  </a:lnTo>
                  <a:lnTo>
                    <a:pt x="1233" y="392"/>
                  </a:lnTo>
                  <a:lnTo>
                    <a:pt x="1207" y="430"/>
                  </a:lnTo>
                  <a:lnTo>
                    <a:pt x="1185" y="466"/>
                  </a:lnTo>
                  <a:lnTo>
                    <a:pt x="1164" y="501"/>
                  </a:lnTo>
                  <a:lnTo>
                    <a:pt x="1149" y="523"/>
                  </a:lnTo>
                  <a:lnTo>
                    <a:pt x="1128" y="546"/>
                  </a:lnTo>
                  <a:lnTo>
                    <a:pt x="1105" y="565"/>
                  </a:lnTo>
                  <a:lnTo>
                    <a:pt x="1081" y="577"/>
                  </a:lnTo>
                  <a:lnTo>
                    <a:pt x="1057" y="582"/>
                  </a:lnTo>
                  <a:lnTo>
                    <a:pt x="1045" y="582"/>
                  </a:lnTo>
                  <a:lnTo>
                    <a:pt x="903" y="578"/>
                  </a:lnTo>
                  <a:lnTo>
                    <a:pt x="763" y="565"/>
                  </a:lnTo>
                  <a:lnTo>
                    <a:pt x="627" y="544"/>
                  </a:lnTo>
                  <a:lnTo>
                    <a:pt x="494" y="514"/>
                  </a:lnTo>
                  <a:lnTo>
                    <a:pt x="364" y="476"/>
                  </a:lnTo>
                  <a:lnTo>
                    <a:pt x="238" y="432"/>
                  </a:lnTo>
                  <a:lnTo>
                    <a:pt x="117" y="378"/>
                  </a:lnTo>
                  <a:lnTo>
                    <a:pt x="0" y="317"/>
                  </a:lnTo>
                  <a:lnTo>
                    <a:pt x="0" y="98"/>
                  </a:lnTo>
                  <a:lnTo>
                    <a:pt x="5" y="67"/>
                  </a:lnTo>
                  <a:lnTo>
                    <a:pt x="19" y="39"/>
                  </a:lnTo>
                  <a:lnTo>
                    <a:pt x="41" y="19"/>
                  </a:lnTo>
                  <a:lnTo>
                    <a:pt x="69" y="5"/>
                  </a:lnTo>
                  <a:lnTo>
                    <a:pt x="10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49" name="Freeform 11">
              <a:extLst>
                <a:ext uri="{FF2B5EF4-FFF2-40B4-BE49-F238E27FC236}">
                  <a16:creationId xmlns:a16="http://schemas.microsoft.com/office/drawing/2014/main" id="{78AB6064-AF38-5A4C-29AE-980680958E5B}"/>
                </a:ext>
              </a:extLst>
            </p:cNvPr>
            <p:cNvSpPr>
              <a:spLocks/>
            </p:cNvSpPr>
            <p:nvPr/>
          </p:nvSpPr>
          <p:spPr bwMode="auto">
            <a:xfrm>
              <a:off x="637137" y="-509142"/>
              <a:ext cx="169389" cy="184604"/>
            </a:xfrm>
            <a:custGeom>
              <a:avLst/>
              <a:gdLst>
                <a:gd name="T0" fmla="*/ 686 w 2183"/>
                <a:gd name="T1" fmla="*/ 0 h 2377"/>
                <a:gd name="T2" fmla="*/ 1499 w 2183"/>
                <a:gd name="T3" fmla="*/ 0 h 2377"/>
                <a:gd name="T4" fmla="*/ 1526 w 2183"/>
                <a:gd name="T5" fmla="*/ 3 h 2377"/>
                <a:gd name="T6" fmla="*/ 1552 w 2183"/>
                <a:gd name="T7" fmla="*/ 14 h 2377"/>
                <a:gd name="T8" fmla="*/ 1573 w 2183"/>
                <a:gd name="T9" fmla="*/ 31 h 2377"/>
                <a:gd name="T10" fmla="*/ 1590 w 2183"/>
                <a:gd name="T11" fmla="*/ 52 h 2377"/>
                <a:gd name="T12" fmla="*/ 1600 w 2183"/>
                <a:gd name="T13" fmla="*/ 77 h 2377"/>
                <a:gd name="T14" fmla="*/ 1604 w 2183"/>
                <a:gd name="T15" fmla="*/ 105 h 2377"/>
                <a:gd name="T16" fmla="*/ 1604 w 2183"/>
                <a:gd name="T17" fmla="*/ 273 h 2377"/>
                <a:gd name="T18" fmla="*/ 2010 w 2183"/>
                <a:gd name="T19" fmla="*/ 273 h 2377"/>
                <a:gd name="T20" fmla="*/ 2050 w 2183"/>
                <a:gd name="T21" fmla="*/ 278 h 2377"/>
                <a:gd name="T22" fmla="*/ 2086 w 2183"/>
                <a:gd name="T23" fmla="*/ 290 h 2377"/>
                <a:gd name="T24" fmla="*/ 2119 w 2183"/>
                <a:gd name="T25" fmla="*/ 311 h 2377"/>
                <a:gd name="T26" fmla="*/ 2145 w 2183"/>
                <a:gd name="T27" fmla="*/ 337 h 2377"/>
                <a:gd name="T28" fmla="*/ 2166 w 2183"/>
                <a:gd name="T29" fmla="*/ 370 h 2377"/>
                <a:gd name="T30" fmla="*/ 2178 w 2183"/>
                <a:gd name="T31" fmla="*/ 406 h 2377"/>
                <a:gd name="T32" fmla="*/ 2183 w 2183"/>
                <a:gd name="T33" fmla="*/ 444 h 2377"/>
                <a:gd name="T34" fmla="*/ 2183 w 2183"/>
                <a:gd name="T35" fmla="*/ 2187 h 2377"/>
                <a:gd name="T36" fmla="*/ 2119 w 2183"/>
                <a:gd name="T37" fmla="*/ 2193 h 2377"/>
                <a:gd name="T38" fmla="*/ 2058 w 2183"/>
                <a:gd name="T39" fmla="*/ 2201 h 2377"/>
                <a:gd name="T40" fmla="*/ 2058 w 2183"/>
                <a:gd name="T41" fmla="*/ 444 h 2377"/>
                <a:gd name="T42" fmla="*/ 2055 w 2183"/>
                <a:gd name="T43" fmla="*/ 427 h 2377"/>
                <a:gd name="T44" fmla="*/ 2045 w 2183"/>
                <a:gd name="T45" fmla="*/ 411 h 2377"/>
                <a:gd name="T46" fmla="*/ 2029 w 2183"/>
                <a:gd name="T47" fmla="*/ 401 h 2377"/>
                <a:gd name="T48" fmla="*/ 2010 w 2183"/>
                <a:gd name="T49" fmla="*/ 397 h 2377"/>
                <a:gd name="T50" fmla="*/ 173 w 2183"/>
                <a:gd name="T51" fmla="*/ 397 h 2377"/>
                <a:gd name="T52" fmla="*/ 154 w 2183"/>
                <a:gd name="T53" fmla="*/ 401 h 2377"/>
                <a:gd name="T54" fmla="*/ 139 w 2183"/>
                <a:gd name="T55" fmla="*/ 411 h 2377"/>
                <a:gd name="T56" fmla="*/ 130 w 2183"/>
                <a:gd name="T57" fmla="*/ 427 h 2377"/>
                <a:gd name="T58" fmla="*/ 125 w 2183"/>
                <a:gd name="T59" fmla="*/ 444 h 2377"/>
                <a:gd name="T60" fmla="*/ 125 w 2183"/>
                <a:gd name="T61" fmla="*/ 2377 h 2377"/>
                <a:gd name="T62" fmla="*/ 63 w 2183"/>
                <a:gd name="T63" fmla="*/ 2331 h 2377"/>
                <a:gd name="T64" fmla="*/ 0 w 2183"/>
                <a:gd name="T65" fmla="*/ 2282 h 2377"/>
                <a:gd name="T66" fmla="*/ 0 w 2183"/>
                <a:gd name="T67" fmla="*/ 444 h 2377"/>
                <a:gd name="T68" fmla="*/ 6 w 2183"/>
                <a:gd name="T69" fmla="*/ 406 h 2377"/>
                <a:gd name="T70" fmla="*/ 19 w 2183"/>
                <a:gd name="T71" fmla="*/ 370 h 2377"/>
                <a:gd name="T72" fmla="*/ 38 w 2183"/>
                <a:gd name="T73" fmla="*/ 337 h 2377"/>
                <a:gd name="T74" fmla="*/ 66 w 2183"/>
                <a:gd name="T75" fmla="*/ 311 h 2377"/>
                <a:gd name="T76" fmla="*/ 97 w 2183"/>
                <a:gd name="T77" fmla="*/ 290 h 2377"/>
                <a:gd name="T78" fmla="*/ 133 w 2183"/>
                <a:gd name="T79" fmla="*/ 278 h 2377"/>
                <a:gd name="T80" fmla="*/ 173 w 2183"/>
                <a:gd name="T81" fmla="*/ 273 h 2377"/>
                <a:gd name="T82" fmla="*/ 579 w 2183"/>
                <a:gd name="T83" fmla="*/ 273 h 2377"/>
                <a:gd name="T84" fmla="*/ 579 w 2183"/>
                <a:gd name="T85" fmla="*/ 105 h 2377"/>
                <a:gd name="T86" fmla="*/ 584 w 2183"/>
                <a:gd name="T87" fmla="*/ 77 h 2377"/>
                <a:gd name="T88" fmla="*/ 595 w 2183"/>
                <a:gd name="T89" fmla="*/ 52 h 2377"/>
                <a:gd name="T90" fmla="*/ 610 w 2183"/>
                <a:gd name="T91" fmla="*/ 31 h 2377"/>
                <a:gd name="T92" fmla="*/ 633 w 2183"/>
                <a:gd name="T93" fmla="*/ 14 h 2377"/>
                <a:gd name="T94" fmla="*/ 659 w 2183"/>
                <a:gd name="T95" fmla="*/ 3 h 2377"/>
                <a:gd name="T96" fmla="*/ 686 w 2183"/>
                <a:gd name="T97" fmla="*/ 0 h 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3" h="2377">
                  <a:moveTo>
                    <a:pt x="686" y="0"/>
                  </a:moveTo>
                  <a:lnTo>
                    <a:pt x="1499" y="0"/>
                  </a:lnTo>
                  <a:lnTo>
                    <a:pt x="1526" y="3"/>
                  </a:lnTo>
                  <a:lnTo>
                    <a:pt x="1552" y="14"/>
                  </a:lnTo>
                  <a:lnTo>
                    <a:pt x="1573" y="31"/>
                  </a:lnTo>
                  <a:lnTo>
                    <a:pt x="1590" y="52"/>
                  </a:lnTo>
                  <a:lnTo>
                    <a:pt x="1600" y="77"/>
                  </a:lnTo>
                  <a:lnTo>
                    <a:pt x="1604" y="105"/>
                  </a:lnTo>
                  <a:lnTo>
                    <a:pt x="1604" y="273"/>
                  </a:lnTo>
                  <a:lnTo>
                    <a:pt x="2010" y="273"/>
                  </a:lnTo>
                  <a:lnTo>
                    <a:pt x="2050" y="278"/>
                  </a:lnTo>
                  <a:lnTo>
                    <a:pt x="2086" y="290"/>
                  </a:lnTo>
                  <a:lnTo>
                    <a:pt x="2119" y="311"/>
                  </a:lnTo>
                  <a:lnTo>
                    <a:pt x="2145" y="337"/>
                  </a:lnTo>
                  <a:lnTo>
                    <a:pt x="2166" y="370"/>
                  </a:lnTo>
                  <a:lnTo>
                    <a:pt x="2178" y="406"/>
                  </a:lnTo>
                  <a:lnTo>
                    <a:pt x="2183" y="444"/>
                  </a:lnTo>
                  <a:lnTo>
                    <a:pt x="2183" y="2187"/>
                  </a:lnTo>
                  <a:lnTo>
                    <a:pt x="2119" y="2193"/>
                  </a:lnTo>
                  <a:lnTo>
                    <a:pt x="2058" y="2201"/>
                  </a:lnTo>
                  <a:lnTo>
                    <a:pt x="2058" y="444"/>
                  </a:lnTo>
                  <a:lnTo>
                    <a:pt x="2055" y="427"/>
                  </a:lnTo>
                  <a:lnTo>
                    <a:pt x="2045" y="411"/>
                  </a:lnTo>
                  <a:lnTo>
                    <a:pt x="2029" y="401"/>
                  </a:lnTo>
                  <a:lnTo>
                    <a:pt x="2010" y="397"/>
                  </a:lnTo>
                  <a:lnTo>
                    <a:pt x="173" y="397"/>
                  </a:lnTo>
                  <a:lnTo>
                    <a:pt x="154" y="401"/>
                  </a:lnTo>
                  <a:lnTo>
                    <a:pt x="139" y="411"/>
                  </a:lnTo>
                  <a:lnTo>
                    <a:pt x="130" y="427"/>
                  </a:lnTo>
                  <a:lnTo>
                    <a:pt x="125" y="444"/>
                  </a:lnTo>
                  <a:lnTo>
                    <a:pt x="125" y="2377"/>
                  </a:lnTo>
                  <a:lnTo>
                    <a:pt x="63" y="2331"/>
                  </a:lnTo>
                  <a:lnTo>
                    <a:pt x="0" y="2282"/>
                  </a:lnTo>
                  <a:lnTo>
                    <a:pt x="0" y="444"/>
                  </a:lnTo>
                  <a:lnTo>
                    <a:pt x="6" y="406"/>
                  </a:lnTo>
                  <a:lnTo>
                    <a:pt x="19" y="370"/>
                  </a:lnTo>
                  <a:lnTo>
                    <a:pt x="38" y="337"/>
                  </a:lnTo>
                  <a:lnTo>
                    <a:pt x="66" y="311"/>
                  </a:lnTo>
                  <a:lnTo>
                    <a:pt x="97" y="290"/>
                  </a:lnTo>
                  <a:lnTo>
                    <a:pt x="133" y="278"/>
                  </a:lnTo>
                  <a:lnTo>
                    <a:pt x="173" y="273"/>
                  </a:lnTo>
                  <a:lnTo>
                    <a:pt x="579" y="273"/>
                  </a:lnTo>
                  <a:lnTo>
                    <a:pt x="579" y="105"/>
                  </a:lnTo>
                  <a:lnTo>
                    <a:pt x="584" y="77"/>
                  </a:lnTo>
                  <a:lnTo>
                    <a:pt x="595" y="52"/>
                  </a:lnTo>
                  <a:lnTo>
                    <a:pt x="610" y="31"/>
                  </a:lnTo>
                  <a:lnTo>
                    <a:pt x="633" y="14"/>
                  </a:lnTo>
                  <a:lnTo>
                    <a:pt x="659" y="3"/>
                  </a:lnTo>
                  <a:lnTo>
                    <a:pt x="68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50" name="Freeform 12">
              <a:extLst>
                <a:ext uri="{FF2B5EF4-FFF2-40B4-BE49-F238E27FC236}">
                  <a16:creationId xmlns:a16="http://schemas.microsoft.com/office/drawing/2014/main" id="{92D46EAC-9447-D4B4-7DAE-2981E6805480}"/>
                </a:ext>
              </a:extLst>
            </p:cNvPr>
            <p:cNvSpPr>
              <a:spLocks/>
            </p:cNvSpPr>
            <p:nvPr/>
          </p:nvSpPr>
          <p:spPr bwMode="auto">
            <a:xfrm>
              <a:off x="515413" y="-579941"/>
              <a:ext cx="409576" cy="409576"/>
            </a:xfrm>
            <a:custGeom>
              <a:avLst/>
              <a:gdLst>
                <a:gd name="T0" fmla="*/ 3443 w 5278"/>
                <a:gd name="T1" fmla="*/ 125 h 5278"/>
                <a:gd name="T2" fmla="*/ 4272 w 5278"/>
                <a:gd name="T3" fmla="*/ 565 h 5278"/>
                <a:gd name="T4" fmla="*/ 4891 w 5278"/>
                <a:gd name="T5" fmla="*/ 1262 h 5278"/>
                <a:gd name="T6" fmla="*/ 5233 w 5278"/>
                <a:gd name="T7" fmla="*/ 2147 h 5278"/>
                <a:gd name="T8" fmla="*/ 5233 w 5278"/>
                <a:gd name="T9" fmla="*/ 3126 h 5278"/>
                <a:gd name="T10" fmla="*/ 4897 w 5278"/>
                <a:gd name="T11" fmla="*/ 4004 h 5278"/>
                <a:gd name="T12" fmla="*/ 4383 w 5278"/>
                <a:gd name="T13" fmla="*/ 4274 h 5278"/>
                <a:gd name="T14" fmla="*/ 4856 w 5278"/>
                <a:gd name="T15" fmla="*/ 3534 h 5278"/>
                <a:gd name="T16" fmla="*/ 5029 w 5278"/>
                <a:gd name="T17" fmla="*/ 2639 h 5278"/>
                <a:gd name="T18" fmla="*/ 4842 w 5278"/>
                <a:gd name="T19" fmla="*/ 1709 h 5278"/>
                <a:gd name="T20" fmla="*/ 4329 w 5278"/>
                <a:gd name="T21" fmla="*/ 949 h 5278"/>
                <a:gd name="T22" fmla="*/ 3569 w 5278"/>
                <a:gd name="T23" fmla="*/ 436 h 5278"/>
                <a:gd name="T24" fmla="*/ 2637 w 5278"/>
                <a:gd name="T25" fmla="*/ 249 h 5278"/>
                <a:gd name="T26" fmla="*/ 1721 w 5278"/>
                <a:gd name="T27" fmla="*/ 431 h 5278"/>
                <a:gd name="T28" fmla="*/ 1143 w 5278"/>
                <a:gd name="T29" fmla="*/ 837 h 5278"/>
                <a:gd name="T30" fmla="*/ 849 w 5278"/>
                <a:gd name="T31" fmla="*/ 1433 h 5278"/>
                <a:gd name="T32" fmla="*/ 870 w 5278"/>
                <a:gd name="T33" fmla="*/ 2228 h 5278"/>
                <a:gd name="T34" fmla="*/ 1206 w 5278"/>
                <a:gd name="T35" fmla="*/ 2938 h 5278"/>
                <a:gd name="T36" fmla="*/ 1803 w 5278"/>
                <a:gd name="T37" fmla="*/ 3460 h 5278"/>
                <a:gd name="T38" fmla="*/ 2598 w 5278"/>
                <a:gd name="T39" fmla="*/ 3722 h 5278"/>
                <a:gd name="T40" fmla="*/ 3061 w 5278"/>
                <a:gd name="T41" fmla="*/ 3676 h 5278"/>
                <a:gd name="T42" fmla="*/ 3208 w 5278"/>
                <a:gd name="T43" fmla="*/ 3470 h 5278"/>
                <a:gd name="T44" fmla="*/ 3406 w 5278"/>
                <a:gd name="T45" fmla="*/ 3278 h 5278"/>
                <a:gd name="T46" fmla="*/ 3779 w 5278"/>
                <a:gd name="T47" fmla="*/ 3189 h 5278"/>
                <a:gd name="T48" fmla="*/ 4161 w 5278"/>
                <a:gd name="T49" fmla="*/ 3296 h 5278"/>
                <a:gd name="T50" fmla="*/ 4410 w 5278"/>
                <a:gd name="T51" fmla="*/ 3598 h 5278"/>
                <a:gd name="T52" fmla="*/ 3838 w 5278"/>
                <a:gd name="T53" fmla="*/ 3728 h 5278"/>
                <a:gd name="T54" fmla="*/ 3819 w 5278"/>
                <a:gd name="T55" fmla="*/ 4391 h 5278"/>
                <a:gd name="T56" fmla="*/ 4446 w 5278"/>
                <a:gd name="T57" fmla="*/ 4485 h 5278"/>
                <a:gd name="T58" fmla="*/ 4208 w 5278"/>
                <a:gd name="T59" fmla="*/ 4815 h 5278"/>
                <a:gd name="T60" fmla="*/ 3857 w 5278"/>
                <a:gd name="T61" fmla="*/ 4958 h 5278"/>
                <a:gd name="T62" fmla="*/ 3451 w 5278"/>
                <a:gd name="T63" fmla="*/ 4903 h 5278"/>
                <a:gd name="T64" fmla="*/ 3232 w 5278"/>
                <a:gd name="T65" fmla="*/ 4735 h 5278"/>
                <a:gd name="T66" fmla="*/ 3090 w 5278"/>
                <a:gd name="T67" fmla="*/ 4542 h 5278"/>
                <a:gd name="T68" fmla="*/ 2712 w 5278"/>
                <a:gd name="T69" fmla="*/ 4491 h 5278"/>
                <a:gd name="T70" fmla="*/ 2010 w 5278"/>
                <a:gd name="T71" fmla="*/ 4415 h 5278"/>
                <a:gd name="T72" fmla="*/ 1305 w 5278"/>
                <a:gd name="T73" fmla="*/ 4085 h 5278"/>
                <a:gd name="T74" fmla="*/ 797 w 5278"/>
                <a:gd name="T75" fmla="*/ 3576 h 5278"/>
                <a:gd name="T76" fmla="*/ 500 w 5278"/>
                <a:gd name="T77" fmla="*/ 2962 h 5278"/>
                <a:gd name="T78" fmla="*/ 394 w 5278"/>
                <a:gd name="T79" fmla="*/ 2314 h 5278"/>
                <a:gd name="T80" fmla="*/ 460 w 5278"/>
                <a:gd name="T81" fmla="*/ 1696 h 5278"/>
                <a:gd name="T82" fmla="*/ 268 w 5278"/>
                <a:gd name="T83" fmla="*/ 2325 h 5278"/>
                <a:gd name="T84" fmla="*/ 334 w 5278"/>
                <a:gd name="T85" fmla="*/ 3275 h 5278"/>
                <a:gd name="T86" fmla="*/ 747 w 5278"/>
                <a:gd name="T87" fmla="*/ 4099 h 5278"/>
                <a:gd name="T88" fmla="*/ 1433 w 5278"/>
                <a:gd name="T89" fmla="*/ 4704 h 5278"/>
                <a:gd name="T90" fmla="*/ 2314 w 5278"/>
                <a:gd name="T91" fmla="*/ 5008 h 5278"/>
                <a:gd name="T92" fmla="*/ 3168 w 5278"/>
                <a:gd name="T93" fmla="*/ 4970 h 5278"/>
                <a:gd name="T94" fmla="*/ 3546 w 5278"/>
                <a:gd name="T95" fmla="*/ 5044 h 5278"/>
                <a:gd name="T96" fmla="*/ 3104 w 5278"/>
                <a:gd name="T97" fmla="*/ 5238 h 5278"/>
                <a:gd name="T98" fmla="*/ 2147 w 5278"/>
                <a:gd name="T99" fmla="*/ 5233 h 5278"/>
                <a:gd name="T100" fmla="*/ 1262 w 5278"/>
                <a:gd name="T101" fmla="*/ 4891 h 5278"/>
                <a:gd name="T102" fmla="*/ 565 w 5278"/>
                <a:gd name="T103" fmla="*/ 4272 h 5278"/>
                <a:gd name="T104" fmla="*/ 125 w 5278"/>
                <a:gd name="T105" fmla="*/ 3443 h 5278"/>
                <a:gd name="T106" fmla="*/ 6 w 5278"/>
                <a:gd name="T107" fmla="*/ 2473 h 5278"/>
                <a:gd name="T108" fmla="*/ 239 w 5278"/>
                <a:gd name="T109" fmla="*/ 1540 h 5278"/>
                <a:gd name="T110" fmla="*/ 773 w 5278"/>
                <a:gd name="T111" fmla="*/ 773 h 5278"/>
                <a:gd name="T112" fmla="*/ 1540 w 5278"/>
                <a:gd name="T113" fmla="*/ 239 h 5278"/>
                <a:gd name="T114" fmla="*/ 2473 w 5278"/>
                <a:gd name="T115" fmla="*/ 6 h 5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78" h="5278">
                  <a:moveTo>
                    <a:pt x="2639" y="0"/>
                  </a:moveTo>
                  <a:lnTo>
                    <a:pt x="2807" y="6"/>
                  </a:lnTo>
                  <a:lnTo>
                    <a:pt x="2971" y="21"/>
                  </a:lnTo>
                  <a:lnTo>
                    <a:pt x="3131" y="45"/>
                  </a:lnTo>
                  <a:lnTo>
                    <a:pt x="3289" y="80"/>
                  </a:lnTo>
                  <a:lnTo>
                    <a:pt x="3443" y="125"/>
                  </a:lnTo>
                  <a:lnTo>
                    <a:pt x="3593" y="178"/>
                  </a:lnTo>
                  <a:lnTo>
                    <a:pt x="3738" y="239"/>
                  </a:lnTo>
                  <a:lnTo>
                    <a:pt x="3880" y="310"/>
                  </a:lnTo>
                  <a:lnTo>
                    <a:pt x="4016" y="387"/>
                  </a:lnTo>
                  <a:lnTo>
                    <a:pt x="4148" y="472"/>
                  </a:lnTo>
                  <a:lnTo>
                    <a:pt x="4272" y="565"/>
                  </a:lnTo>
                  <a:lnTo>
                    <a:pt x="4391" y="666"/>
                  </a:lnTo>
                  <a:lnTo>
                    <a:pt x="4505" y="773"/>
                  </a:lnTo>
                  <a:lnTo>
                    <a:pt x="4612" y="887"/>
                  </a:lnTo>
                  <a:lnTo>
                    <a:pt x="4713" y="1006"/>
                  </a:lnTo>
                  <a:lnTo>
                    <a:pt x="4806" y="1132"/>
                  </a:lnTo>
                  <a:lnTo>
                    <a:pt x="4891" y="1262"/>
                  </a:lnTo>
                  <a:lnTo>
                    <a:pt x="4968" y="1398"/>
                  </a:lnTo>
                  <a:lnTo>
                    <a:pt x="5039" y="1540"/>
                  </a:lnTo>
                  <a:lnTo>
                    <a:pt x="5100" y="1685"/>
                  </a:lnTo>
                  <a:lnTo>
                    <a:pt x="5153" y="1835"/>
                  </a:lnTo>
                  <a:lnTo>
                    <a:pt x="5198" y="1989"/>
                  </a:lnTo>
                  <a:lnTo>
                    <a:pt x="5233" y="2147"/>
                  </a:lnTo>
                  <a:lnTo>
                    <a:pt x="5257" y="2309"/>
                  </a:lnTo>
                  <a:lnTo>
                    <a:pt x="5272" y="2473"/>
                  </a:lnTo>
                  <a:lnTo>
                    <a:pt x="5278" y="2639"/>
                  </a:lnTo>
                  <a:lnTo>
                    <a:pt x="5272" y="2805"/>
                  </a:lnTo>
                  <a:lnTo>
                    <a:pt x="5257" y="2967"/>
                  </a:lnTo>
                  <a:lnTo>
                    <a:pt x="5233" y="3126"/>
                  </a:lnTo>
                  <a:lnTo>
                    <a:pt x="5198" y="3284"/>
                  </a:lnTo>
                  <a:lnTo>
                    <a:pt x="5155" y="3436"/>
                  </a:lnTo>
                  <a:lnTo>
                    <a:pt x="5103" y="3584"/>
                  </a:lnTo>
                  <a:lnTo>
                    <a:pt x="5043" y="3729"/>
                  </a:lnTo>
                  <a:lnTo>
                    <a:pt x="4975" y="3869"/>
                  </a:lnTo>
                  <a:lnTo>
                    <a:pt x="4897" y="4004"/>
                  </a:lnTo>
                  <a:lnTo>
                    <a:pt x="4815" y="4134"/>
                  </a:lnTo>
                  <a:lnTo>
                    <a:pt x="4723" y="4260"/>
                  </a:lnTo>
                  <a:lnTo>
                    <a:pt x="4624" y="4377"/>
                  </a:lnTo>
                  <a:lnTo>
                    <a:pt x="4624" y="4377"/>
                  </a:lnTo>
                  <a:lnTo>
                    <a:pt x="4279" y="4377"/>
                  </a:lnTo>
                  <a:lnTo>
                    <a:pt x="4383" y="4274"/>
                  </a:lnTo>
                  <a:lnTo>
                    <a:pt x="4479" y="4165"/>
                  </a:lnTo>
                  <a:lnTo>
                    <a:pt x="4569" y="4049"/>
                  </a:lnTo>
                  <a:lnTo>
                    <a:pt x="4652" y="3928"/>
                  </a:lnTo>
                  <a:lnTo>
                    <a:pt x="4728" y="3800"/>
                  </a:lnTo>
                  <a:lnTo>
                    <a:pt x="4797" y="3669"/>
                  </a:lnTo>
                  <a:lnTo>
                    <a:pt x="4856" y="3534"/>
                  </a:lnTo>
                  <a:lnTo>
                    <a:pt x="4908" y="3394"/>
                  </a:lnTo>
                  <a:lnTo>
                    <a:pt x="4951" y="3249"/>
                  </a:lnTo>
                  <a:lnTo>
                    <a:pt x="4984" y="3102"/>
                  </a:lnTo>
                  <a:lnTo>
                    <a:pt x="5010" y="2950"/>
                  </a:lnTo>
                  <a:lnTo>
                    <a:pt x="5024" y="2796"/>
                  </a:lnTo>
                  <a:lnTo>
                    <a:pt x="5029" y="2639"/>
                  </a:lnTo>
                  <a:lnTo>
                    <a:pt x="5024" y="2475"/>
                  </a:lnTo>
                  <a:lnTo>
                    <a:pt x="5008" y="2314"/>
                  </a:lnTo>
                  <a:lnTo>
                    <a:pt x="4980" y="2157"/>
                  </a:lnTo>
                  <a:lnTo>
                    <a:pt x="4944" y="2003"/>
                  </a:lnTo>
                  <a:lnTo>
                    <a:pt x="4897" y="1854"/>
                  </a:lnTo>
                  <a:lnTo>
                    <a:pt x="4842" y="1709"/>
                  </a:lnTo>
                  <a:lnTo>
                    <a:pt x="4777" y="1568"/>
                  </a:lnTo>
                  <a:lnTo>
                    <a:pt x="4702" y="1433"/>
                  </a:lnTo>
                  <a:lnTo>
                    <a:pt x="4621" y="1303"/>
                  </a:lnTo>
                  <a:lnTo>
                    <a:pt x="4531" y="1179"/>
                  </a:lnTo>
                  <a:lnTo>
                    <a:pt x="4434" y="1060"/>
                  </a:lnTo>
                  <a:lnTo>
                    <a:pt x="4329" y="949"/>
                  </a:lnTo>
                  <a:lnTo>
                    <a:pt x="4218" y="844"/>
                  </a:lnTo>
                  <a:lnTo>
                    <a:pt x="4099" y="747"/>
                  </a:lnTo>
                  <a:lnTo>
                    <a:pt x="3975" y="657"/>
                  </a:lnTo>
                  <a:lnTo>
                    <a:pt x="3845" y="574"/>
                  </a:lnTo>
                  <a:lnTo>
                    <a:pt x="3710" y="501"/>
                  </a:lnTo>
                  <a:lnTo>
                    <a:pt x="3569" y="436"/>
                  </a:lnTo>
                  <a:lnTo>
                    <a:pt x="3424" y="381"/>
                  </a:lnTo>
                  <a:lnTo>
                    <a:pt x="3275" y="334"/>
                  </a:lnTo>
                  <a:lnTo>
                    <a:pt x="3121" y="298"/>
                  </a:lnTo>
                  <a:lnTo>
                    <a:pt x="2964" y="270"/>
                  </a:lnTo>
                  <a:lnTo>
                    <a:pt x="2803" y="254"/>
                  </a:lnTo>
                  <a:lnTo>
                    <a:pt x="2637" y="249"/>
                  </a:lnTo>
                  <a:lnTo>
                    <a:pt x="2478" y="254"/>
                  </a:lnTo>
                  <a:lnTo>
                    <a:pt x="2319" y="270"/>
                  </a:lnTo>
                  <a:lnTo>
                    <a:pt x="2164" y="296"/>
                  </a:lnTo>
                  <a:lnTo>
                    <a:pt x="2013" y="330"/>
                  </a:lnTo>
                  <a:lnTo>
                    <a:pt x="1865" y="377"/>
                  </a:lnTo>
                  <a:lnTo>
                    <a:pt x="1721" y="431"/>
                  </a:lnTo>
                  <a:lnTo>
                    <a:pt x="1583" y="495"/>
                  </a:lnTo>
                  <a:lnTo>
                    <a:pt x="1483" y="548"/>
                  </a:lnTo>
                  <a:lnTo>
                    <a:pt x="1388" y="610"/>
                  </a:lnTo>
                  <a:lnTo>
                    <a:pt x="1300" y="679"/>
                  </a:lnTo>
                  <a:lnTo>
                    <a:pt x="1217" y="755"/>
                  </a:lnTo>
                  <a:lnTo>
                    <a:pt x="1143" y="837"/>
                  </a:lnTo>
                  <a:lnTo>
                    <a:pt x="1073" y="925"/>
                  </a:lnTo>
                  <a:lnTo>
                    <a:pt x="1011" y="1018"/>
                  </a:lnTo>
                  <a:lnTo>
                    <a:pt x="959" y="1115"/>
                  </a:lnTo>
                  <a:lnTo>
                    <a:pt x="913" y="1217"/>
                  </a:lnTo>
                  <a:lnTo>
                    <a:pt x="876" y="1322"/>
                  </a:lnTo>
                  <a:lnTo>
                    <a:pt x="849" y="1433"/>
                  </a:lnTo>
                  <a:lnTo>
                    <a:pt x="830" y="1545"/>
                  </a:lnTo>
                  <a:lnTo>
                    <a:pt x="819" y="1685"/>
                  </a:lnTo>
                  <a:lnTo>
                    <a:pt x="818" y="1825"/>
                  </a:lnTo>
                  <a:lnTo>
                    <a:pt x="825" y="1962"/>
                  </a:lnTo>
                  <a:lnTo>
                    <a:pt x="842" y="2096"/>
                  </a:lnTo>
                  <a:lnTo>
                    <a:pt x="870" y="2228"/>
                  </a:lnTo>
                  <a:lnTo>
                    <a:pt x="904" y="2356"/>
                  </a:lnTo>
                  <a:lnTo>
                    <a:pt x="949" y="2482"/>
                  </a:lnTo>
                  <a:lnTo>
                    <a:pt x="1001" y="2601"/>
                  </a:lnTo>
                  <a:lnTo>
                    <a:pt x="1061" y="2718"/>
                  </a:lnTo>
                  <a:lnTo>
                    <a:pt x="1130" y="2831"/>
                  </a:lnTo>
                  <a:lnTo>
                    <a:pt x="1206" y="2938"/>
                  </a:lnTo>
                  <a:lnTo>
                    <a:pt x="1289" y="3040"/>
                  </a:lnTo>
                  <a:lnTo>
                    <a:pt x="1379" y="3137"/>
                  </a:lnTo>
                  <a:lnTo>
                    <a:pt x="1476" y="3227"/>
                  </a:lnTo>
                  <a:lnTo>
                    <a:pt x="1580" y="3311"/>
                  </a:lnTo>
                  <a:lnTo>
                    <a:pt x="1689" y="3389"/>
                  </a:lnTo>
                  <a:lnTo>
                    <a:pt x="1803" y="3460"/>
                  </a:lnTo>
                  <a:lnTo>
                    <a:pt x="1924" y="3524"/>
                  </a:lnTo>
                  <a:lnTo>
                    <a:pt x="2050" y="3579"/>
                  </a:lnTo>
                  <a:lnTo>
                    <a:pt x="2179" y="3627"/>
                  </a:lnTo>
                  <a:lnTo>
                    <a:pt x="2314" y="3669"/>
                  </a:lnTo>
                  <a:lnTo>
                    <a:pt x="2454" y="3700"/>
                  </a:lnTo>
                  <a:lnTo>
                    <a:pt x="2598" y="3722"/>
                  </a:lnTo>
                  <a:lnTo>
                    <a:pt x="2744" y="3736"/>
                  </a:lnTo>
                  <a:lnTo>
                    <a:pt x="2895" y="3740"/>
                  </a:lnTo>
                  <a:lnTo>
                    <a:pt x="2940" y="3736"/>
                  </a:lnTo>
                  <a:lnTo>
                    <a:pt x="2983" y="3722"/>
                  </a:lnTo>
                  <a:lnTo>
                    <a:pt x="3023" y="3702"/>
                  </a:lnTo>
                  <a:lnTo>
                    <a:pt x="3061" y="3676"/>
                  </a:lnTo>
                  <a:lnTo>
                    <a:pt x="3093" y="3645"/>
                  </a:lnTo>
                  <a:lnTo>
                    <a:pt x="3123" y="3608"/>
                  </a:lnTo>
                  <a:lnTo>
                    <a:pt x="3149" y="3569"/>
                  </a:lnTo>
                  <a:lnTo>
                    <a:pt x="3166" y="3538"/>
                  </a:lnTo>
                  <a:lnTo>
                    <a:pt x="3187" y="3503"/>
                  </a:lnTo>
                  <a:lnTo>
                    <a:pt x="3208" y="3470"/>
                  </a:lnTo>
                  <a:lnTo>
                    <a:pt x="3233" y="3436"/>
                  </a:lnTo>
                  <a:lnTo>
                    <a:pt x="3259" y="3401"/>
                  </a:lnTo>
                  <a:lnTo>
                    <a:pt x="3290" y="3368"/>
                  </a:lnTo>
                  <a:lnTo>
                    <a:pt x="3325" y="3337"/>
                  </a:lnTo>
                  <a:lnTo>
                    <a:pt x="3363" y="3306"/>
                  </a:lnTo>
                  <a:lnTo>
                    <a:pt x="3406" y="3278"/>
                  </a:lnTo>
                  <a:lnTo>
                    <a:pt x="3453" y="3252"/>
                  </a:lnTo>
                  <a:lnTo>
                    <a:pt x="3506" y="3232"/>
                  </a:lnTo>
                  <a:lnTo>
                    <a:pt x="3565" y="3214"/>
                  </a:lnTo>
                  <a:lnTo>
                    <a:pt x="3629" y="3201"/>
                  </a:lnTo>
                  <a:lnTo>
                    <a:pt x="3702" y="3192"/>
                  </a:lnTo>
                  <a:lnTo>
                    <a:pt x="3779" y="3189"/>
                  </a:lnTo>
                  <a:lnTo>
                    <a:pt x="3857" y="3192"/>
                  </a:lnTo>
                  <a:lnTo>
                    <a:pt x="3928" y="3201"/>
                  </a:lnTo>
                  <a:lnTo>
                    <a:pt x="3994" y="3216"/>
                  </a:lnTo>
                  <a:lnTo>
                    <a:pt x="4054" y="3237"/>
                  </a:lnTo>
                  <a:lnTo>
                    <a:pt x="4110" y="3265"/>
                  </a:lnTo>
                  <a:lnTo>
                    <a:pt x="4161" y="3296"/>
                  </a:lnTo>
                  <a:lnTo>
                    <a:pt x="4208" y="3334"/>
                  </a:lnTo>
                  <a:lnTo>
                    <a:pt x="4253" y="3377"/>
                  </a:lnTo>
                  <a:lnTo>
                    <a:pt x="4294" y="3425"/>
                  </a:lnTo>
                  <a:lnTo>
                    <a:pt x="4334" y="3477"/>
                  </a:lnTo>
                  <a:lnTo>
                    <a:pt x="4372" y="3536"/>
                  </a:lnTo>
                  <a:lnTo>
                    <a:pt x="4410" y="3598"/>
                  </a:lnTo>
                  <a:lnTo>
                    <a:pt x="4446" y="3664"/>
                  </a:lnTo>
                  <a:lnTo>
                    <a:pt x="3966" y="3664"/>
                  </a:lnTo>
                  <a:lnTo>
                    <a:pt x="3928" y="3669"/>
                  </a:lnTo>
                  <a:lnTo>
                    <a:pt x="3894" y="3681"/>
                  </a:lnTo>
                  <a:lnTo>
                    <a:pt x="3864" y="3702"/>
                  </a:lnTo>
                  <a:lnTo>
                    <a:pt x="3838" y="3728"/>
                  </a:lnTo>
                  <a:lnTo>
                    <a:pt x="3819" y="3759"/>
                  </a:lnTo>
                  <a:lnTo>
                    <a:pt x="3807" y="3793"/>
                  </a:lnTo>
                  <a:lnTo>
                    <a:pt x="3804" y="3833"/>
                  </a:lnTo>
                  <a:lnTo>
                    <a:pt x="3804" y="4317"/>
                  </a:lnTo>
                  <a:lnTo>
                    <a:pt x="3807" y="4355"/>
                  </a:lnTo>
                  <a:lnTo>
                    <a:pt x="3819" y="4391"/>
                  </a:lnTo>
                  <a:lnTo>
                    <a:pt x="3838" y="4422"/>
                  </a:lnTo>
                  <a:lnTo>
                    <a:pt x="3864" y="4448"/>
                  </a:lnTo>
                  <a:lnTo>
                    <a:pt x="3894" y="4469"/>
                  </a:lnTo>
                  <a:lnTo>
                    <a:pt x="3928" y="4481"/>
                  </a:lnTo>
                  <a:lnTo>
                    <a:pt x="3966" y="4485"/>
                  </a:lnTo>
                  <a:lnTo>
                    <a:pt x="4446" y="4485"/>
                  </a:lnTo>
                  <a:lnTo>
                    <a:pt x="4410" y="4552"/>
                  </a:lnTo>
                  <a:lnTo>
                    <a:pt x="4372" y="4614"/>
                  </a:lnTo>
                  <a:lnTo>
                    <a:pt x="4334" y="4671"/>
                  </a:lnTo>
                  <a:lnTo>
                    <a:pt x="4294" y="4725"/>
                  </a:lnTo>
                  <a:lnTo>
                    <a:pt x="4253" y="4773"/>
                  </a:lnTo>
                  <a:lnTo>
                    <a:pt x="4208" y="4815"/>
                  </a:lnTo>
                  <a:lnTo>
                    <a:pt x="4161" y="4853"/>
                  </a:lnTo>
                  <a:lnTo>
                    <a:pt x="4110" y="4885"/>
                  </a:lnTo>
                  <a:lnTo>
                    <a:pt x="4054" y="4911"/>
                  </a:lnTo>
                  <a:lnTo>
                    <a:pt x="3994" y="4932"/>
                  </a:lnTo>
                  <a:lnTo>
                    <a:pt x="3928" y="4948"/>
                  </a:lnTo>
                  <a:lnTo>
                    <a:pt x="3857" y="4958"/>
                  </a:lnTo>
                  <a:lnTo>
                    <a:pt x="3779" y="4960"/>
                  </a:lnTo>
                  <a:lnTo>
                    <a:pt x="3700" y="4958"/>
                  </a:lnTo>
                  <a:lnTo>
                    <a:pt x="3629" y="4949"/>
                  </a:lnTo>
                  <a:lnTo>
                    <a:pt x="3563" y="4937"/>
                  </a:lnTo>
                  <a:lnTo>
                    <a:pt x="3505" y="4922"/>
                  </a:lnTo>
                  <a:lnTo>
                    <a:pt x="3451" y="4903"/>
                  </a:lnTo>
                  <a:lnTo>
                    <a:pt x="3405" y="4878"/>
                  </a:lnTo>
                  <a:lnTo>
                    <a:pt x="3361" y="4854"/>
                  </a:lnTo>
                  <a:lnTo>
                    <a:pt x="3323" y="4827"/>
                  </a:lnTo>
                  <a:lnTo>
                    <a:pt x="3289" y="4797"/>
                  </a:lnTo>
                  <a:lnTo>
                    <a:pt x="3259" y="4766"/>
                  </a:lnTo>
                  <a:lnTo>
                    <a:pt x="3232" y="4735"/>
                  </a:lnTo>
                  <a:lnTo>
                    <a:pt x="3208" y="4704"/>
                  </a:lnTo>
                  <a:lnTo>
                    <a:pt x="3187" y="4673"/>
                  </a:lnTo>
                  <a:lnTo>
                    <a:pt x="3168" y="4642"/>
                  </a:lnTo>
                  <a:lnTo>
                    <a:pt x="3150" y="4612"/>
                  </a:lnTo>
                  <a:lnTo>
                    <a:pt x="3123" y="4574"/>
                  </a:lnTo>
                  <a:lnTo>
                    <a:pt x="3090" y="4542"/>
                  </a:lnTo>
                  <a:lnTo>
                    <a:pt x="3052" y="4517"/>
                  </a:lnTo>
                  <a:lnTo>
                    <a:pt x="3012" y="4500"/>
                  </a:lnTo>
                  <a:lnTo>
                    <a:pt x="2969" y="4490"/>
                  </a:lnTo>
                  <a:lnTo>
                    <a:pt x="2922" y="4488"/>
                  </a:lnTo>
                  <a:lnTo>
                    <a:pt x="2820" y="4491"/>
                  </a:lnTo>
                  <a:lnTo>
                    <a:pt x="2712" y="4491"/>
                  </a:lnTo>
                  <a:lnTo>
                    <a:pt x="2598" y="4488"/>
                  </a:lnTo>
                  <a:lnTo>
                    <a:pt x="2480" y="4483"/>
                  </a:lnTo>
                  <a:lnTo>
                    <a:pt x="2359" y="4472"/>
                  </a:lnTo>
                  <a:lnTo>
                    <a:pt x="2240" y="4457"/>
                  </a:lnTo>
                  <a:lnTo>
                    <a:pt x="2122" y="4438"/>
                  </a:lnTo>
                  <a:lnTo>
                    <a:pt x="2010" y="4415"/>
                  </a:lnTo>
                  <a:lnTo>
                    <a:pt x="1903" y="4388"/>
                  </a:lnTo>
                  <a:lnTo>
                    <a:pt x="1770" y="4338"/>
                  </a:lnTo>
                  <a:lnTo>
                    <a:pt x="1644" y="4282"/>
                  </a:lnTo>
                  <a:lnTo>
                    <a:pt x="1524" y="4222"/>
                  </a:lnTo>
                  <a:lnTo>
                    <a:pt x="1410" y="4156"/>
                  </a:lnTo>
                  <a:lnTo>
                    <a:pt x="1305" y="4085"/>
                  </a:lnTo>
                  <a:lnTo>
                    <a:pt x="1205" y="4011"/>
                  </a:lnTo>
                  <a:lnTo>
                    <a:pt x="1110" y="3932"/>
                  </a:lnTo>
                  <a:lnTo>
                    <a:pt x="1023" y="3847"/>
                  </a:lnTo>
                  <a:lnTo>
                    <a:pt x="942" y="3760"/>
                  </a:lnTo>
                  <a:lnTo>
                    <a:pt x="866" y="3669"/>
                  </a:lnTo>
                  <a:lnTo>
                    <a:pt x="797" y="3576"/>
                  </a:lnTo>
                  <a:lnTo>
                    <a:pt x="733" y="3479"/>
                  </a:lnTo>
                  <a:lnTo>
                    <a:pt x="674" y="3379"/>
                  </a:lnTo>
                  <a:lnTo>
                    <a:pt x="622" y="3277"/>
                  </a:lnTo>
                  <a:lnTo>
                    <a:pt x="576" y="3173"/>
                  </a:lnTo>
                  <a:lnTo>
                    <a:pt x="534" y="3069"/>
                  </a:lnTo>
                  <a:lnTo>
                    <a:pt x="500" y="2962"/>
                  </a:lnTo>
                  <a:lnTo>
                    <a:pt x="469" y="2855"/>
                  </a:lnTo>
                  <a:lnTo>
                    <a:pt x="444" y="2748"/>
                  </a:lnTo>
                  <a:lnTo>
                    <a:pt x="424" y="2637"/>
                  </a:lnTo>
                  <a:lnTo>
                    <a:pt x="408" y="2530"/>
                  </a:lnTo>
                  <a:lnTo>
                    <a:pt x="400" y="2421"/>
                  </a:lnTo>
                  <a:lnTo>
                    <a:pt x="394" y="2314"/>
                  </a:lnTo>
                  <a:lnTo>
                    <a:pt x="393" y="2207"/>
                  </a:lnTo>
                  <a:lnTo>
                    <a:pt x="398" y="2102"/>
                  </a:lnTo>
                  <a:lnTo>
                    <a:pt x="406" y="1996"/>
                  </a:lnTo>
                  <a:lnTo>
                    <a:pt x="420" y="1894"/>
                  </a:lnTo>
                  <a:lnTo>
                    <a:pt x="438" y="1794"/>
                  </a:lnTo>
                  <a:lnTo>
                    <a:pt x="460" y="1696"/>
                  </a:lnTo>
                  <a:lnTo>
                    <a:pt x="486" y="1600"/>
                  </a:lnTo>
                  <a:lnTo>
                    <a:pt x="425" y="1737"/>
                  </a:lnTo>
                  <a:lnTo>
                    <a:pt x="372" y="1879"/>
                  </a:lnTo>
                  <a:lnTo>
                    <a:pt x="329" y="2024"/>
                  </a:lnTo>
                  <a:lnTo>
                    <a:pt x="294" y="2172"/>
                  </a:lnTo>
                  <a:lnTo>
                    <a:pt x="268" y="2325"/>
                  </a:lnTo>
                  <a:lnTo>
                    <a:pt x="254" y="2480"/>
                  </a:lnTo>
                  <a:lnTo>
                    <a:pt x="249" y="2639"/>
                  </a:lnTo>
                  <a:lnTo>
                    <a:pt x="254" y="2803"/>
                  </a:lnTo>
                  <a:lnTo>
                    <a:pt x="270" y="2964"/>
                  </a:lnTo>
                  <a:lnTo>
                    <a:pt x="298" y="3121"/>
                  </a:lnTo>
                  <a:lnTo>
                    <a:pt x="334" y="3275"/>
                  </a:lnTo>
                  <a:lnTo>
                    <a:pt x="381" y="3425"/>
                  </a:lnTo>
                  <a:lnTo>
                    <a:pt x="436" y="3570"/>
                  </a:lnTo>
                  <a:lnTo>
                    <a:pt x="501" y="3710"/>
                  </a:lnTo>
                  <a:lnTo>
                    <a:pt x="576" y="3845"/>
                  </a:lnTo>
                  <a:lnTo>
                    <a:pt x="657" y="3976"/>
                  </a:lnTo>
                  <a:lnTo>
                    <a:pt x="747" y="4099"/>
                  </a:lnTo>
                  <a:lnTo>
                    <a:pt x="844" y="4218"/>
                  </a:lnTo>
                  <a:lnTo>
                    <a:pt x="949" y="4329"/>
                  </a:lnTo>
                  <a:lnTo>
                    <a:pt x="1060" y="4434"/>
                  </a:lnTo>
                  <a:lnTo>
                    <a:pt x="1179" y="4531"/>
                  </a:lnTo>
                  <a:lnTo>
                    <a:pt x="1302" y="4621"/>
                  </a:lnTo>
                  <a:lnTo>
                    <a:pt x="1433" y="4704"/>
                  </a:lnTo>
                  <a:lnTo>
                    <a:pt x="1568" y="4777"/>
                  </a:lnTo>
                  <a:lnTo>
                    <a:pt x="1708" y="4842"/>
                  </a:lnTo>
                  <a:lnTo>
                    <a:pt x="1854" y="4897"/>
                  </a:lnTo>
                  <a:lnTo>
                    <a:pt x="2003" y="4944"/>
                  </a:lnTo>
                  <a:lnTo>
                    <a:pt x="2157" y="4980"/>
                  </a:lnTo>
                  <a:lnTo>
                    <a:pt x="2314" y="5008"/>
                  </a:lnTo>
                  <a:lnTo>
                    <a:pt x="2475" y="5024"/>
                  </a:lnTo>
                  <a:lnTo>
                    <a:pt x="2637" y="5029"/>
                  </a:lnTo>
                  <a:lnTo>
                    <a:pt x="2774" y="5025"/>
                  </a:lnTo>
                  <a:lnTo>
                    <a:pt x="2909" y="5015"/>
                  </a:lnTo>
                  <a:lnTo>
                    <a:pt x="3040" y="4996"/>
                  </a:lnTo>
                  <a:lnTo>
                    <a:pt x="3168" y="4970"/>
                  </a:lnTo>
                  <a:lnTo>
                    <a:pt x="3294" y="4939"/>
                  </a:lnTo>
                  <a:lnTo>
                    <a:pt x="3335" y="4965"/>
                  </a:lnTo>
                  <a:lnTo>
                    <a:pt x="3382" y="4989"/>
                  </a:lnTo>
                  <a:lnTo>
                    <a:pt x="3432" y="5010"/>
                  </a:lnTo>
                  <a:lnTo>
                    <a:pt x="3486" y="5029"/>
                  </a:lnTo>
                  <a:lnTo>
                    <a:pt x="3546" y="5044"/>
                  </a:lnTo>
                  <a:lnTo>
                    <a:pt x="3612" y="5056"/>
                  </a:lnTo>
                  <a:lnTo>
                    <a:pt x="3683" y="5063"/>
                  </a:lnTo>
                  <a:lnTo>
                    <a:pt x="3543" y="5119"/>
                  </a:lnTo>
                  <a:lnTo>
                    <a:pt x="3401" y="5167"/>
                  </a:lnTo>
                  <a:lnTo>
                    <a:pt x="3254" y="5207"/>
                  </a:lnTo>
                  <a:lnTo>
                    <a:pt x="3104" y="5238"/>
                  </a:lnTo>
                  <a:lnTo>
                    <a:pt x="2952" y="5260"/>
                  </a:lnTo>
                  <a:lnTo>
                    <a:pt x="2796" y="5274"/>
                  </a:lnTo>
                  <a:lnTo>
                    <a:pt x="2637" y="5278"/>
                  </a:lnTo>
                  <a:lnTo>
                    <a:pt x="2471" y="5272"/>
                  </a:lnTo>
                  <a:lnTo>
                    <a:pt x="2307" y="5257"/>
                  </a:lnTo>
                  <a:lnTo>
                    <a:pt x="2147" y="5233"/>
                  </a:lnTo>
                  <a:lnTo>
                    <a:pt x="1989" y="5198"/>
                  </a:lnTo>
                  <a:lnTo>
                    <a:pt x="1835" y="5153"/>
                  </a:lnTo>
                  <a:lnTo>
                    <a:pt x="1685" y="5101"/>
                  </a:lnTo>
                  <a:lnTo>
                    <a:pt x="1540" y="5039"/>
                  </a:lnTo>
                  <a:lnTo>
                    <a:pt x="1398" y="4968"/>
                  </a:lnTo>
                  <a:lnTo>
                    <a:pt x="1262" y="4891"/>
                  </a:lnTo>
                  <a:lnTo>
                    <a:pt x="1130" y="4806"/>
                  </a:lnTo>
                  <a:lnTo>
                    <a:pt x="1006" y="4713"/>
                  </a:lnTo>
                  <a:lnTo>
                    <a:pt x="887" y="4612"/>
                  </a:lnTo>
                  <a:lnTo>
                    <a:pt x="773" y="4505"/>
                  </a:lnTo>
                  <a:lnTo>
                    <a:pt x="666" y="4391"/>
                  </a:lnTo>
                  <a:lnTo>
                    <a:pt x="565" y="4272"/>
                  </a:lnTo>
                  <a:lnTo>
                    <a:pt x="472" y="4148"/>
                  </a:lnTo>
                  <a:lnTo>
                    <a:pt x="387" y="4016"/>
                  </a:lnTo>
                  <a:lnTo>
                    <a:pt x="310" y="3880"/>
                  </a:lnTo>
                  <a:lnTo>
                    <a:pt x="239" y="3738"/>
                  </a:lnTo>
                  <a:lnTo>
                    <a:pt x="178" y="3593"/>
                  </a:lnTo>
                  <a:lnTo>
                    <a:pt x="125" y="3443"/>
                  </a:lnTo>
                  <a:lnTo>
                    <a:pt x="80" y="3289"/>
                  </a:lnTo>
                  <a:lnTo>
                    <a:pt x="45" y="3131"/>
                  </a:lnTo>
                  <a:lnTo>
                    <a:pt x="21" y="2971"/>
                  </a:lnTo>
                  <a:lnTo>
                    <a:pt x="6" y="2807"/>
                  </a:lnTo>
                  <a:lnTo>
                    <a:pt x="0" y="2639"/>
                  </a:lnTo>
                  <a:lnTo>
                    <a:pt x="6" y="2473"/>
                  </a:lnTo>
                  <a:lnTo>
                    <a:pt x="21" y="2309"/>
                  </a:lnTo>
                  <a:lnTo>
                    <a:pt x="45" y="2148"/>
                  </a:lnTo>
                  <a:lnTo>
                    <a:pt x="82" y="1989"/>
                  </a:lnTo>
                  <a:lnTo>
                    <a:pt x="125" y="1835"/>
                  </a:lnTo>
                  <a:lnTo>
                    <a:pt x="178" y="1685"/>
                  </a:lnTo>
                  <a:lnTo>
                    <a:pt x="239" y="1540"/>
                  </a:lnTo>
                  <a:lnTo>
                    <a:pt x="310" y="1398"/>
                  </a:lnTo>
                  <a:lnTo>
                    <a:pt x="387" y="1264"/>
                  </a:lnTo>
                  <a:lnTo>
                    <a:pt x="474" y="1132"/>
                  </a:lnTo>
                  <a:lnTo>
                    <a:pt x="567" y="1006"/>
                  </a:lnTo>
                  <a:lnTo>
                    <a:pt x="666" y="887"/>
                  </a:lnTo>
                  <a:lnTo>
                    <a:pt x="773" y="773"/>
                  </a:lnTo>
                  <a:lnTo>
                    <a:pt x="887" y="666"/>
                  </a:lnTo>
                  <a:lnTo>
                    <a:pt x="1006" y="565"/>
                  </a:lnTo>
                  <a:lnTo>
                    <a:pt x="1132" y="474"/>
                  </a:lnTo>
                  <a:lnTo>
                    <a:pt x="1264" y="387"/>
                  </a:lnTo>
                  <a:lnTo>
                    <a:pt x="1398" y="310"/>
                  </a:lnTo>
                  <a:lnTo>
                    <a:pt x="1540" y="239"/>
                  </a:lnTo>
                  <a:lnTo>
                    <a:pt x="1685" y="178"/>
                  </a:lnTo>
                  <a:lnTo>
                    <a:pt x="1835" y="125"/>
                  </a:lnTo>
                  <a:lnTo>
                    <a:pt x="1989" y="80"/>
                  </a:lnTo>
                  <a:lnTo>
                    <a:pt x="2147" y="45"/>
                  </a:lnTo>
                  <a:lnTo>
                    <a:pt x="2309" y="21"/>
                  </a:lnTo>
                  <a:lnTo>
                    <a:pt x="2473" y="6"/>
                  </a:lnTo>
                  <a:lnTo>
                    <a:pt x="263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14483904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3217" y="2516"/>
          <a:ext cx="1629" cy="1489"/>
        </p:xfrm>
        <a:graphic>
          <a:graphicData uri="http://schemas.openxmlformats.org/presentationml/2006/ole">
            <mc:AlternateContent xmlns:mc="http://schemas.openxmlformats.org/markup-compatibility/2006">
              <mc:Choice xmlns:v="urn:schemas-microsoft-com:vml" Requires="v">
                <p:oleObj spid="_x0000_s8194"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3217" y="2516"/>
                        <a:ext cx="1629" cy="1489"/>
                      </a:xfrm>
                      <a:prstGeom prst="rect">
                        <a:avLst/>
                      </a:prstGeom>
                    </p:spPr>
                  </p:pic>
                </p:oleObj>
              </mc:Fallback>
            </mc:AlternateContent>
          </a:graphicData>
        </a:graphic>
      </p:graphicFrame>
      <p:sp>
        <p:nvSpPr>
          <p:cNvPr id="3" name="Rectangle 2" hidden="1"/>
          <p:cNvSpPr/>
          <p:nvPr>
            <p:custDataLst>
              <p:tags r:id="rId3"/>
            </p:custDataLst>
          </p:nvPr>
        </p:nvSpPr>
        <p:spPr>
          <a:xfrm>
            <a:off x="1588" y="897"/>
            <a:ext cx="162778" cy="1487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1080874"/>
            <a:endParaRPr lang="en-US" sz="3199" b="1">
              <a:solidFill>
                <a:prstClr val="white"/>
              </a:solidFill>
              <a:sym typeface="Calibri"/>
            </a:endParaRPr>
          </a:p>
        </p:txBody>
      </p:sp>
      <p:sp>
        <p:nvSpPr>
          <p:cNvPr id="2" name="Title 1"/>
          <p:cNvSpPr>
            <a:spLocks noGrp="1"/>
          </p:cNvSpPr>
          <p:nvPr>
            <p:ph type="title"/>
          </p:nvPr>
        </p:nvSpPr>
        <p:spPr/>
        <p:txBody>
          <a:bodyPr/>
          <a:lstStyle/>
          <a:p>
            <a:r>
              <a:rPr lang="en-US" dirty="0"/>
              <a:t>Lithium-ion battery manufacturing capacity</a:t>
            </a:r>
          </a:p>
        </p:txBody>
      </p:sp>
      <p:sp>
        <p:nvSpPr>
          <p:cNvPr id="7" name="TextBox 6"/>
          <p:cNvSpPr txBox="1"/>
          <p:nvPr/>
        </p:nvSpPr>
        <p:spPr>
          <a:xfrm>
            <a:off x="2280801" y="3659162"/>
            <a:ext cx="1280160" cy="584775"/>
          </a:xfrm>
          <a:prstGeom prst="rect">
            <a:avLst/>
          </a:prstGeom>
          <a:noFill/>
        </p:spPr>
        <p:txBody>
          <a:bodyPr wrap="square" rtlCol="0">
            <a:spAutoFit/>
          </a:bodyPr>
          <a:lstStyle/>
          <a:p>
            <a:pPr algn="ctr"/>
            <a:r>
              <a:rPr lang="en-US" sz="1800" b="1" dirty="0">
                <a:solidFill>
                  <a:schemeClr val="tx2"/>
                </a:solidFill>
              </a:rPr>
              <a:t>2020</a:t>
            </a:r>
            <a:br>
              <a:rPr lang="en-US" sz="1800" dirty="0"/>
            </a:br>
            <a:r>
              <a:rPr lang="en-US" sz="1400" dirty="0"/>
              <a:t>540 </a:t>
            </a:r>
            <a:r>
              <a:rPr lang="en-US" sz="1400" dirty="0" err="1"/>
              <a:t>GWh</a:t>
            </a:r>
            <a:endParaRPr lang="en-US" sz="1400" dirty="0"/>
          </a:p>
        </p:txBody>
      </p:sp>
      <p:graphicFrame>
        <p:nvGraphicFramePr>
          <p:cNvPr id="18" name="Chart 17"/>
          <p:cNvGraphicFramePr/>
          <p:nvPr/>
        </p:nvGraphicFramePr>
        <p:xfrm>
          <a:off x="3633138" y="1045096"/>
          <a:ext cx="7961418" cy="5812904"/>
        </p:xfrm>
        <a:graphic>
          <a:graphicData uri="http://schemas.openxmlformats.org/drawingml/2006/chart">
            <c:chart xmlns:c="http://schemas.openxmlformats.org/drawingml/2006/chart" xmlns:r="http://schemas.openxmlformats.org/officeDocument/2006/relationships" r:id="rId7"/>
          </a:graphicData>
        </a:graphic>
      </p:graphicFrame>
      <p:sp>
        <p:nvSpPr>
          <p:cNvPr id="19" name="TextBox 18"/>
          <p:cNvSpPr txBox="1"/>
          <p:nvPr/>
        </p:nvSpPr>
        <p:spPr>
          <a:xfrm>
            <a:off x="6913684" y="3551439"/>
            <a:ext cx="1461701" cy="800219"/>
          </a:xfrm>
          <a:prstGeom prst="rect">
            <a:avLst/>
          </a:prstGeom>
          <a:noFill/>
        </p:spPr>
        <p:txBody>
          <a:bodyPr wrap="square" rtlCol="0">
            <a:spAutoFit/>
          </a:bodyPr>
          <a:lstStyle/>
          <a:p>
            <a:pPr algn="ctr"/>
            <a:r>
              <a:rPr lang="en-US" sz="1800" b="1" dirty="0">
                <a:solidFill>
                  <a:schemeClr val="tx2"/>
                </a:solidFill>
              </a:rPr>
              <a:t>2025</a:t>
            </a:r>
            <a:br>
              <a:rPr lang="en-US" sz="1800" dirty="0"/>
            </a:br>
            <a:r>
              <a:rPr lang="en-US" sz="1400" dirty="0"/>
              <a:t>(Expected 2,015 </a:t>
            </a:r>
            <a:r>
              <a:rPr lang="en-US" sz="1400" dirty="0" err="1"/>
              <a:t>GWh</a:t>
            </a:r>
            <a:endParaRPr lang="en-US" sz="1400" dirty="0"/>
          </a:p>
        </p:txBody>
      </p:sp>
      <p:graphicFrame>
        <p:nvGraphicFramePr>
          <p:cNvPr id="29" name="Chart 28"/>
          <p:cNvGraphicFramePr/>
          <p:nvPr/>
        </p:nvGraphicFramePr>
        <p:xfrm>
          <a:off x="-210049" y="1665548"/>
          <a:ext cx="6261860" cy="4572000"/>
        </p:xfrm>
        <a:graphic>
          <a:graphicData uri="http://schemas.openxmlformats.org/drawingml/2006/chart">
            <c:chart xmlns:c="http://schemas.openxmlformats.org/drawingml/2006/chart" xmlns:r="http://schemas.openxmlformats.org/officeDocument/2006/relationships" r:id="rId8"/>
          </a:graphicData>
        </a:graphic>
      </p:graphicFrame>
      <p:sp>
        <p:nvSpPr>
          <p:cNvPr id="6" name="TextBox 5">
            <a:extLst>
              <a:ext uri="{FF2B5EF4-FFF2-40B4-BE49-F238E27FC236}">
                <a16:creationId xmlns:a16="http://schemas.microsoft.com/office/drawing/2014/main" id="{A1A0658D-8DE9-3F7A-B7CD-C0C214EC6A64}"/>
              </a:ext>
            </a:extLst>
          </p:cNvPr>
          <p:cNvSpPr txBox="1"/>
          <p:nvPr/>
        </p:nvSpPr>
        <p:spPr>
          <a:xfrm>
            <a:off x="11279153" y="6473517"/>
            <a:ext cx="629981" cy="153888"/>
          </a:xfrm>
          <a:prstGeom prst="rect">
            <a:avLst/>
          </a:prstGeom>
          <a:noFill/>
        </p:spPr>
        <p:txBody>
          <a:bodyPr wrap="square" lIns="0" tIns="0" rIns="0" bIns="0" rtlCol="0" anchor="b">
            <a:spAutoFit/>
          </a:bodyPr>
          <a:lstStyle/>
          <a:p>
            <a:pPr algn="r" defTabSz="835867"/>
            <a:r>
              <a:rPr lang="en-US" sz="1000" dirty="0">
                <a:solidFill>
                  <a:schemeClr val="tx2"/>
                </a:solidFill>
                <a:latin typeface="Calibri"/>
                <a:cs typeface="Calibri" panose="020F0502020204030204" pitchFamily="34" charset="0"/>
              </a:rPr>
              <a:t>Source: RMI</a:t>
            </a:r>
          </a:p>
        </p:txBody>
      </p:sp>
      <p:sp>
        <p:nvSpPr>
          <p:cNvPr id="9" name="Rectangle: Rounded Corners 8">
            <a:extLst>
              <a:ext uri="{FF2B5EF4-FFF2-40B4-BE49-F238E27FC236}">
                <a16:creationId xmlns:a16="http://schemas.microsoft.com/office/drawing/2014/main" id="{38FEBB4B-9676-EFBC-E52C-C17B527D6997}"/>
              </a:ext>
            </a:extLst>
          </p:cNvPr>
          <p:cNvSpPr>
            <a:spLocks/>
          </p:cNvSpPr>
          <p:nvPr/>
        </p:nvSpPr>
        <p:spPr>
          <a:xfrm flipH="1">
            <a:off x="280416" y="771846"/>
            <a:ext cx="11631168" cy="64293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224" defTabSz="857228"/>
            <a:endParaRPr lang="en-US" sz="1500" b="1" dirty="0">
              <a:solidFill>
                <a:prstClr val="white"/>
              </a:solidFill>
            </a:endParaRPr>
          </a:p>
        </p:txBody>
      </p:sp>
      <p:sp>
        <p:nvSpPr>
          <p:cNvPr id="10" name="Rectangle 9">
            <a:extLst>
              <a:ext uri="{FF2B5EF4-FFF2-40B4-BE49-F238E27FC236}">
                <a16:creationId xmlns:a16="http://schemas.microsoft.com/office/drawing/2014/main" id="{47482487-4D77-D8CC-599A-5AD94A37C5B6}"/>
              </a:ext>
            </a:extLst>
          </p:cNvPr>
          <p:cNvSpPr/>
          <p:nvPr/>
        </p:nvSpPr>
        <p:spPr>
          <a:xfrm>
            <a:off x="1119061" y="847096"/>
            <a:ext cx="10656276" cy="492443"/>
          </a:xfrm>
          <a:prstGeom prst="rect">
            <a:avLst/>
          </a:prstGeom>
        </p:spPr>
        <p:txBody>
          <a:bodyPr wrap="square" lIns="0" tIns="0" rIns="0" bIns="0" anchor="ctr">
            <a:spAutoFit/>
          </a:bodyPr>
          <a:lstStyle/>
          <a:p>
            <a:pPr defTabSz="835867"/>
            <a:r>
              <a:rPr lang="en-US" sz="1600" b="1" dirty="0">
                <a:solidFill>
                  <a:prstClr val="white"/>
                </a:solidFill>
              </a:rPr>
              <a:t>Global battery manufacturing capacity forecast to increase x 4 in 5 years – China remaining dominant, EU stepping up its focus on battery production – US likely to improve post-2025 because of IRA incentives</a:t>
            </a:r>
          </a:p>
        </p:txBody>
      </p:sp>
      <p:sp>
        <p:nvSpPr>
          <p:cNvPr id="11" name="Oval 10">
            <a:extLst>
              <a:ext uri="{FF2B5EF4-FFF2-40B4-BE49-F238E27FC236}">
                <a16:creationId xmlns:a16="http://schemas.microsoft.com/office/drawing/2014/main" id="{555329F9-016D-3B9F-0808-13F72E60A335}"/>
              </a:ext>
            </a:extLst>
          </p:cNvPr>
          <p:cNvSpPr/>
          <p:nvPr/>
        </p:nvSpPr>
        <p:spPr>
          <a:xfrm>
            <a:off x="416665" y="810242"/>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dirty="0"/>
          </a:p>
        </p:txBody>
      </p:sp>
      <p:sp>
        <p:nvSpPr>
          <p:cNvPr id="12" name="Rectangle 11">
            <a:extLst>
              <a:ext uri="{FF2B5EF4-FFF2-40B4-BE49-F238E27FC236}">
                <a16:creationId xmlns:a16="http://schemas.microsoft.com/office/drawing/2014/main" id="{B2D6A415-FF94-37C3-F358-DAA2A769C135}"/>
              </a:ext>
            </a:extLst>
          </p:cNvPr>
          <p:cNvSpPr/>
          <p:nvPr/>
        </p:nvSpPr>
        <p:spPr>
          <a:xfrm>
            <a:off x="280417" y="1071885"/>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dirty="0"/>
          </a:p>
        </p:txBody>
      </p:sp>
      <p:grpSp>
        <p:nvGrpSpPr>
          <p:cNvPr id="13" name="Group 12">
            <a:extLst>
              <a:ext uri="{FF2B5EF4-FFF2-40B4-BE49-F238E27FC236}">
                <a16:creationId xmlns:a16="http://schemas.microsoft.com/office/drawing/2014/main" id="{46309AF8-495A-B2FD-0296-990DE0D9A9C5}"/>
              </a:ext>
            </a:extLst>
          </p:cNvPr>
          <p:cNvGrpSpPr/>
          <p:nvPr/>
        </p:nvGrpSpPr>
        <p:grpSpPr>
          <a:xfrm>
            <a:off x="494950" y="888527"/>
            <a:ext cx="409576" cy="409576"/>
            <a:chOff x="515413" y="-579941"/>
            <a:chExt cx="409576" cy="409576"/>
          </a:xfrm>
        </p:grpSpPr>
        <p:sp>
          <p:nvSpPr>
            <p:cNvPr id="22" name="Freeform 8">
              <a:extLst>
                <a:ext uri="{FF2B5EF4-FFF2-40B4-BE49-F238E27FC236}">
                  <a16:creationId xmlns:a16="http://schemas.microsoft.com/office/drawing/2014/main" id="{D8FB376E-5F06-19CB-9244-061E87D47BEA}"/>
                </a:ext>
              </a:extLst>
            </p:cNvPr>
            <p:cNvSpPr>
              <a:spLocks/>
            </p:cNvSpPr>
            <p:nvPr/>
          </p:nvSpPr>
          <p:spPr bwMode="auto">
            <a:xfrm>
              <a:off x="658718" y="-464428"/>
              <a:ext cx="126226" cy="51391"/>
            </a:xfrm>
            <a:custGeom>
              <a:avLst/>
              <a:gdLst>
                <a:gd name="T0" fmla="*/ 38 w 1626"/>
                <a:gd name="T1" fmla="*/ 0 h 662"/>
                <a:gd name="T2" fmla="*/ 1589 w 1626"/>
                <a:gd name="T3" fmla="*/ 0 h 662"/>
                <a:gd name="T4" fmla="*/ 1607 w 1626"/>
                <a:gd name="T5" fmla="*/ 5 h 662"/>
                <a:gd name="T6" fmla="*/ 1620 w 1626"/>
                <a:gd name="T7" fmla="*/ 19 h 662"/>
                <a:gd name="T8" fmla="*/ 1626 w 1626"/>
                <a:gd name="T9" fmla="*/ 38 h 662"/>
                <a:gd name="T10" fmla="*/ 1626 w 1626"/>
                <a:gd name="T11" fmla="*/ 624 h 662"/>
                <a:gd name="T12" fmla="*/ 1620 w 1626"/>
                <a:gd name="T13" fmla="*/ 643 h 662"/>
                <a:gd name="T14" fmla="*/ 1607 w 1626"/>
                <a:gd name="T15" fmla="*/ 657 h 662"/>
                <a:gd name="T16" fmla="*/ 1589 w 1626"/>
                <a:gd name="T17" fmla="*/ 662 h 662"/>
                <a:gd name="T18" fmla="*/ 38 w 1626"/>
                <a:gd name="T19" fmla="*/ 662 h 662"/>
                <a:gd name="T20" fmla="*/ 19 w 1626"/>
                <a:gd name="T21" fmla="*/ 657 h 662"/>
                <a:gd name="T22" fmla="*/ 5 w 1626"/>
                <a:gd name="T23" fmla="*/ 643 h 662"/>
                <a:gd name="T24" fmla="*/ 0 w 1626"/>
                <a:gd name="T25" fmla="*/ 624 h 662"/>
                <a:gd name="T26" fmla="*/ 0 w 1626"/>
                <a:gd name="T27" fmla="*/ 38 h 662"/>
                <a:gd name="T28" fmla="*/ 5 w 1626"/>
                <a:gd name="T29" fmla="*/ 19 h 662"/>
                <a:gd name="T30" fmla="*/ 19 w 1626"/>
                <a:gd name="T31" fmla="*/ 5 h 662"/>
                <a:gd name="T32" fmla="*/ 38 w 1626"/>
                <a:gd name="T33"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6" h="662">
                  <a:moveTo>
                    <a:pt x="38" y="0"/>
                  </a:moveTo>
                  <a:lnTo>
                    <a:pt x="1589" y="0"/>
                  </a:lnTo>
                  <a:lnTo>
                    <a:pt x="1607" y="5"/>
                  </a:lnTo>
                  <a:lnTo>
                    <a:pt x="1620" y="19"/>
                  </a:lnTo>
                  <a:lnTo>
                    <a:pt x="1626" y="38"/>
                  </a:lnTo>
                  <a:lnTo>
                    <a:pt x="1626" y="624"/>
                  </a:lnTo>
                  <a:lnTo>
                    <a:pt x="1620" y="643"/>
                  </a:lnTo>
                  <a:lnTo>
                    <a:pt x="1607" y="657"/>
                  </a:lnTo>
                  <a:lnTo>
                    <a:pt x="1589" y="662"/>
                  </a:lnTo>
                  <a:lnTo>
                    <a:pt x="38" y="662"/>
                  </a:lnTo>
                  <a:lnTo>
                    <a:pt x="19" y="657"/>
                  </a:lnTo>
                  <a:lnTo>
                    <a:pt x="5" y="643"/>
                  </a:lnTo>
                  <a:lnTo>
                    <a:pt x="0" y="624"/>
                  </a:lnTo>
                  <a:lnTo>
                    <a:pt x="0" y="38"/>
                  </a:lnTo>
                  <a:lnTo>
                    <a:pt x="5" y="19"/>
                  </a:lnTo>
                  <a:lnTo>
                    <a:pt x="19" y="5"/>
                  </a:lnTo>
                  <a:lnTo>
                    <a:pt x="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3" name="Freeform 9">
              <a:extLst>
                <a:ext uri="{FF2B5EF4-FFF2-40B4-BE49-F238E27FC236}">
                  <a16:creationId xmlns:a16="http://schemas.microsoft.com/office/drawing/2014/main" id="{03EAA18C-0F83-D15C-2F77-9B2DB01E9703}"/>
                </a:ext>
              </a:extLst>
            </p:cNvPr>
            <p:cNvSpPr>
              <a:spLocks/>
            </p:cNvSpPr>
            <p:nvPr/>
          </p:nvSpPr>
          <p:spPr bwMode="auto">
            <a:xfrm>
              <a:off x="658718" y="-403255"/>
              <a:ext cx="126226" cy="51391"/>
            </a:xfrm>
            <a:custGeom>
              <a:avLst/>
              <a:gdLst>
                <a:gd name="T0" fmla="*/ 38 w 1626"/>
                <a:gd name="T1" fmla="*/ 0 h 662"/>
                <a:gd name="T2" fmla="*/ 1589 w 1626"/>
                <a:gd name="T3" fmla="*/ 0 h 662"/>
                <a:gd name="T4" fmla="*/ 1607 w 1626"/>
                <a:gd name="T5" fmla="*/ 5 h 662"/>
                <a:gd name="T6" fmla="*/ 1620 w 1626"/>
                <a:gd name="T7" fmla="*/ 19 h 662"/>
                <a:gd name="T8" fmla="*/ 1626 w 1626"/>
                <a:gd name="T9" fmla="*/ 38 h 662"/>
                <a:gd name="T10" fmla="*/ 1626 w 1626"/>
                <a:gd name="T11" fmla="*/ 624 h 662"/>
                <a:gd name="T12" fmla="*/ 1620 w 1626"/>
                <a:gd name="T13" fmla="*/ 643 h 662"/>
                <a:gd name="T14" fmla="*/ 1607 w 1626"/>
                <a:gd name="T15" fmla="*/ 656 h 662"/>
                <a:gd name="T16" fmla="*/ 1589 w 1626"/>
                <a:gd name="T17" fmla="*/ 662 h 662"/>
                <a:gd name="T18" fmla="*/ 38 w 1626"/>
                <a:gd name="T19" fmla="*/ 662 h 662"/>
                <a:gd name="T20" fmla="*/ 19 w 1626"/>
                <a:gd name="T21" fmla="*/ 656 h 662"/>
                <a:gd name="T22" fmla="*/ 5 w 1626"/>
                <a:gd name="T23" fmla="*/ 643 h 662"/>
                <a:gd name="T24" fmla="*/ 0 w 1626"/>
                <a:gd name="T25" fmla="*/ 624 h 662"/>
                <a:gd name="T26" fmla="*/ 0 w 1626"/>
                <a:gd name="T27" fmla="*/ 38 h 662"/>
                <a:gd name="T28" fmla="*/ 5 w 1626"/>
                <a:gd name="T29" fmla="*/ 19 h 662"/>
                <a:gd name="T30" fmla="*/ 19 w 1626"/>
                <a:gd name="T31" fmla="*/ 5 h 662"/>
                <a:gd name="T32" fmla="*/ 38 w 1626"/>
                <a:gd name="T33"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6" h="662">
                  <a:moveTo>
                    <a:pt x="38" y="0"/>
                  </a:moveTo>
                  <a:lnTo>
                    <a:pt x="1589" y="0"/>
                  </a:lnTo>
                  <a:lnTo>
                    <a:pt x="1607" y="5"/>
                  </a:lnTo>
                  <a:lnTo>
                    <a:pt x="1620" y="19"/>
                  </a:lnTo>
                  <a:lnTo>
                    <a:pt x="1626" y="38"/>
                  </a:lnTo>
                  <a:lnTo>
                    <a:pt x="1626" y="624"/>
                  </a:lnTo>
                  <a:lnTo>
                    <a:pt x="1620" y="643"/>
                  </a:lnTo>
                  <a:lnTo>
                    <a:pt x="1607" y="656"/>
                  </a:lnTo>
                  <a:lnTo>
                    <a:pt x="1589" y="662"/>
                  </a:lnTo>
                  <a:lnTo>
                    <a:pt x="38" y="662"/>
                  </a:lnTo>
                  <a:lnTo>
                    <a:pt x="19" y="656"/>
                  </a:lnTo>
                  <a:lnTo>
                    <a:pt x="5" y="643"/>
                  </a:lnTo>
                  <a:lnTo>
                    <a:pt x="0" y="624"/>
                  </a:lnTo>
                  <a:lnTo>
                    <a:pt x="0" y="38"/>
                  </a:lnTo>
                  <a:lnTo>
                    <a:pt x="5" y="19"/>
                  </a:lnTo>
                  <a:lnTo>
                    <a:pt x="19" y="5"/>
                  </a:lnTo>
                  <a:lnTo>
                    <a:pt x="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4" name="Freeform 10">
              <a:extLst>
                <a:ext uri="{FF2B5EF4-FFF2-40B4-BE49-F238E27FC236}">
                  <a16:creationId xmlns:a16="http://schemas.microsoft.com/office/drawing/2014/main" id="{1956710B-EEEB-5801-CF34-9D92786E43E5}"/>
                </a:ext>
              </a:extLst>
            </p:cNvPr>
            <p:cNvSpPr>
              <a:spLocks/>
            </p:cNvSpPr>
            <p:nvPr/>
          </p:nvSpPr>
          <p:spPr bwMode="auto">
            <a:xfrm>
              <a:off x="658718" y="-341927"/>
              <a:ext cx="126226" cy="45181"/>
            </a:xfrm>
            <a:custGeom>
              <a:avLst/>
              <a:gdLst>
                <a:gd name="T0" fmla="*/ 100 w 1626"/>
                <a:gd name="T1" fmla="*/ 0 h 582"/>
                <a:gd name="T2" fmla="*/ 1525 w 1626"/>
                <a:gd name="T3" fmla="*/ 0 h 582"/>
                <a:gd name="T4" fmla="*/ 1555 w 1626"/>
                <a:gd name="T5" fmla="*/ 3 h 582"/>
                <a:gd name="T6" fmla="*/ 1581 w 1626"/>
                <a:gd name="T7" fmla="*/ 15 h 582"/>
                <a:gd name="T8" fmla="*/ 1601 w 1626"/>
                <a:gd name="T9" fmla="*/ 34 h 582"/>
                <a:gd name="T10" fmla="*/ 1617 w 1626"/>
                <a:gd name="T11" fmla="*/ 58 h 582"/>
                <a:gd name="T12" fmla="*/ 1626 w 1626"/>
                <a:gd name="T13" fmla="*/ 86 h 582"/>
                <a:gd name="T14" fmla="*/ 1553 w 1626"/>
                <a:gd name="T15" fmla="*/ 115 h 582"/>
                <a:gd name="T16" fmla="*/ 1489 w 1626"/>
                <a:gd name="T17" fmla="*/ 148 h 582"/>
                <a:gd name="T18" fmla="*/ 1432 w 1626"/>
                <a:gd name="T19" fmla="*/ 186 h 582"/>
                <a:gd name="T20" fmla="*/ 1382 w 1626"/>
                <a:gd name="T21" fmla="*/ 224 h 582"/>
                <a:gd name="T22" fmla="*/ 1337 w 1626"/>
                <a:gd name="T23" fmla="*/ 266 h 582"/>
                <a:gd name="T24" fmla="*/ 1297 w 1626"/>
                <a:gd name="T25" fmla="*/ 309 h 582"/>
                <a:gd name="T26" fmla="*/ 1263 w 1626"/>
                <a:gd name="T27" fmla="*/ 350 h 582"/>
                <a:gd name="T28" fmla="*/ 1233 w 1626"/>
                <a:gd name="T29" fmla="*/ 392 h 582"/>
                <a:gd name="T30" fmla="*/ 1207 w 1626"/>
                <a:gd name="T31" fmla="*/ 430 h 582"/>
                <a:gd name="T32" fmla="*/ 1185 w 1626"/>
                <a:gd name="T33" fmla="*/ 466 h 582"/>
                <a:gd name="T34" fmla="*/ 1164 w 1626"/>
                <a:gd name="T35" fmla="*/ 501 h 582"/>
                <a:gd name="T36" fmla="*/ 1149 w 1626"/>
                <a:gd name="T37" fmla="*/ 523 h 582"/>
                <a:gd name="T38" fmla="*/ 1128 w 1626"/>
                <a:gd name="T39" fmla="*/ 546 h 582"/>
                <a:gd name="T40" fmla="*/ 1105 w 1626"/>
                <a:gd name="T41" fmla="*/ 565 h 582"/>
                <a:gd name="T42" fmla="*/ 1081 w 1626"/>
                <a:gd name="T43" fmla="*/ 577 h 582"/>
                <a:gd name="T44" fmla="*/ 1057 w 1626"/>
                <a:gd name="T45" fmla="*/ 582 h 582"/>
                <a:gd name="T46" fmla="*/ 1045 w 1626"/>
                <a:gd name="T47" fmla="*/ 582 h 582"/>
                <a:gd name="T48" fmla="*/ 903 w 1626"/>
                <a:gd name="T49" fmla="*/ 578 h 582"/>
                <a:gd name="T50" fmla="*/ 763 w 1626"/>
                <a:gd name="T51" fmla="*/ 565 h 582"/>
                <a:gd name="T52" fmla="*/ 627 w 1626"/>
                <a:gd name="T53" fmla="*/ 544 h 582"/>
                <a:gd name="T54" fmla="*/ 494 w 1626"/>
                <a:gd name="T55" fmla="*/ 514 h 582"/>
                <a:gd name="T56" fmla="*/ 364 w 1626"/>
                <a:gd name="T57" fmla="*/ 476 h 582"/>
                <a:gd name="T58" fmla="*/ 238 w 1626"/>
                <a:gd name="T59" fmla="*/ 432 h 582"/>
                <a:gd name="T60" fmla="*/ 117 w 1626"/>
                <a:gd name="T61" fmla="*/ 378 h 582"/>
                <a:gd name="T62" fmla="*/ 0 w 1626"/>
                <a:gd name="T63" fmla="*/ 317 h 582"/>
                <a:gd name="T64" fmla="*/ 0 w 1626"/>
                <a:gd name="T65" fmla="*/ 98 h 582"/>
                <a:gd name="T66" fmla="*/ 5 w 1626"/>
                <a:gd name="T67" fmla="*/ 67 h 582"/>
                <a:gd name="T68" fmla="*/ 19 w 1626"/>
                <a:gd name="T69" fmla="*/ 39 h 582"/>
                <a:gd name="T70" fmla="*/ 41 w 1626"/>
                <a:gd name="T71" fmla="*/ 19 h 582"/>
                <a:gd name="T72" fmla="*/ 69 w 1626"/>
                <a:gd name="T73" fmla="*/ 5 h 582"/>
                <a:gd name="T74" fmla="*/ 100 w 1626"/>
                <a:gd name="T75"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26" h="582">
                  <a:moveTo>
                    <a:pt x="100" y="0"/>
                  </a:moveTo>
                  <a:lnTo>
                    <a:pt x="1525" y="0"/>
                  </a:lnTo>
                  <a:lnTo>
                    <a:pt x="1555" y="3"/>
                  </a:lnTo>
                  <a:lnTo>
                    <a:pt x="1581" y="15"/>
                  </a:lnTo>
                  <a:lnTo>
                    <a:pt x="1601" y="34"/>
                  </a:lnTo>
                  <a:lnTo>
                    <a:pt x="1617" y="58"/>
                  </a:lnTo>
                  <a:lnTo>
                    <a:pt x="1626" y="86"/>
                  </a:lnTo>
                  <a:lnTo>
                    <a:pt x="1553" y="115"/>
                  </a:lnTo>
                  <a:lnTo>
                    <a:pt x="1489" y="148"/>
                  </a:lnTo>
                  <a:lnTo>
                    <a:pt x="1432" y="186"/>
                  </a:lnTo>
                  <a:lnTo>
                    <a:pt x="1382" y="224"/>
                  </a:lnTo>
                  <a:lnTo>
                    <a:pt x="1337" y="266"/>
                  </a:lnTo>
                  <a:lnTo>
                    <a:pt x="1297" y="309"/>
                  </a:lnTo>
                  <a:lnTo>
                    <a:pt x="1263" y="350"/>
                  </a:lnTo>
                  <a:lnTo>
                    <a:pt x="1233" y="392"/>
                  </a:lnTo>
                  <a:lnTo>
                    <a:pt x="1207" y="430"/>
                  </a:lnTo>
                  <a:lnTo>
                    <a:pt x="1185" y="466"/>
                  </a:lnTo>
                  <a:lnTo>
                    <a:pt x="1164" y="501"/>
                  </a:lnTo>
                  <a:lnTo>
                    <a:pt x="1149" y="523"/>
                  </a:lnTo>
                  <a:lnTo>
                    <a:pt x="1128" y="546"/>
                  </a:lnTo>
                  <a:lnTo>
                    <a:pt x="1105" y="565"/>
                  </a:lnTo>
                  <a:lnTo>
                    <a:pt x="1081" y="577"/>
                  </a:lnTo>
                  <a:lnTo>
                    <a:pt x="1057" y="582"/>
                  </a:lnTo>
                  <a:lnTo>
                    <a:pt x="1045" y="582"/>
                  </a:lnTo>
                  <a:lnTo>
                    <a:pt x="903" y="578"/>
                  </a:lnTo>
                  <a:lnTo>
                    <a:pt x="763" y="565"/>
                  </a:lnTo>
                  <a:lnTo>
                    <a:pt x="627" y="544"/>
                  </a:lnTo>
                  <a:lnTo>
                    <a:pt x="494" y="514"/>
                  </a:lnTo>
                  <a:lnTo>
                    <a:pt x="364" y="476"/>
                  </a:lnTo>
                  <a:lnTo>
                    <a:pt x="238" y="432"/>
                  </a:lnTo>
                  <a:lnTo>
                    <a:pt x="117" y="378"/>
                  </a:lnTo>
                  <a:lnTo>
                    <a:pt x="0" y="317"/>
                  </a:lnTo>
                  <a:lnTo>
                    <a:pt x="0" y="98"/>
                  </a:lnTo>
                  <a:lnTo>
                    <a:pt x="5" y="67"/>
                  </a:lnTo>
                  <a:lnTo>
                    <a:pt x="19" y="39"/>
                  </a:lnTo>
                  <a:lnTo>
                    <a:pt x="41" y="19"/>
                  </a:lnTo>
                  <a:lnTo>
                    <a:pt x="69" y="5"/>
                  </a:lnTo>
                  <a:lnTo>
                    <a:pt x="10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6" name="Freeform 11">
              <a:extLst>
                <a:ext uri="{FF2B5EF4-FFF2-40B4-BE49-F238E27FC236}">
                  <a16:creationId xmlns:a16="http://schemas.microsoft.com/office/drawing/2014/main" id="{A9F51669-A24F-A4CB-65C7-B12B5A16494F}"/>
                </a:ext>
              </a:extLst>
            </p:cNvPr>
            <p:cNvSpPr>
              <a:spLocks/>
            </p:cNvSpPr>
            <p:nvPr/>
          </p:nvSpPr>
          <p:spPr bwMode="auto">
            <a:xfrm>
              <a:off x="637137" y="-509142"/>
              <a:ext cx="169389" cy="184604"/>
            </a:xfrm>
            <a:custGeom>
              <a:avLst/>
              <a:gdLst>
                <a:gd name="T0" fmla="*/ 686 w 2183"/>
                <a:gd name="T1" fmla="*/ 0 h 2377"/>
                <a:gd name="T2" fmla="*/ 1499 w 2183"/>
                <a:gd name="T3" fmla="*/ 0 h 2377"/>
                <a:gd name="T4" fmla="*/ 1526 w 2183"/>
                <a:gd name="T5" fmla="*/ 3 h 2377"/>
                <a:gd name="T6" fmla="*/ 1552 w 2183"/>
                <a:gd name="T7" fmla="*/ 14 h 2377"/>
                <a:gd name="T8" fmla="*/ 1573 w 2183"/>
                <a:gd name="T9" fmla="*/ 31 h 2377"/>
                <a:gd name="T10" fmla="*/ 1590 w 2183"/>
                <a:gd name="T11" fmla="*/ 52 h 2377"/>
                <a:gd name="T12" fmla="*/ 1600 w 2183"/>
                <a:gd name="T13" fmla="*/ 77 h 2377"/>
                <a:gd name="T14" fmla="*/ 1604 w 2183"/>
                <a:gd name="T15" fmla="*/ 105 h 2377"/>
                <a:gd name="T16" fmla="*/ 1604 w 2183"/>
                <a:gd name="T17" fmla="*/ 273 h 2377"/>
                <a:gd name="T18" fmla="*/ 2010 w 2183"/>
                <a:gd name="T19" fmla="*/ 273 h 2377"/>
                <a:gd name="T20" fmla="*/ 2050 w 2183"/>
                <a:gd name="T21" fmla="*/ 278 h 2377"/>
                <a:gd name="T22" fmla="*/ 2086 w 2183"/>
                <a:gd name="T23" fmla="*/ 290 h 2377"/>
                <a:gd name="T24" fmla="*/ 2119 w 2183"/>
                <a:gd name="T25" fmla="*/ 311 h 2377"/>
                <a:gd name="T26" fmla="*/ 2145 w 2183"/>
                <a:gd name="T27" fmla="*/ 337 h 2377"/>
                <a:gd name="T28" fmla="*/ 2166 w 2183"/>
                <a:gd name="T29" fmla="*/ 370 h 2377"/>
                <a:gd name="T30" fmla="*/ 2178 w 2183"/>
                <a:gd name="T31" fmla="*/ 406 h 2377"/>
                <a:gd name="T32" fmla="*/ 2183 w 2183"/>
                <a:gd name="T33" fmla="*/ 444 h 2377"/>
                <a:gd name="T34" fmla="*/ 2183 w 2183"/>
                <a:gd name="T35" fmla="*/ 2187 h 2377"/>
                <a:gd name="T36" fmla="*/ 2119 w 2183"/>
                <a:gd name="T37" fmla="*/ 2193 h 2377"/>
                <a:gd name="T38" fmla="*/ 2058 w 2183"/>
                <a:gd name="T39" fmla="*/ 2201 h 2377"/>
                <a:gd name="T40" fmla="*/ 2058 w 2183"/>
                <a:gd name="T41" fmla="*/ 444 h 2377"/>
                <a:gd name="T42" fmla="*/ 2055 w 2183"/>
                <a:gd name="T43" fmla="*/ 427 h 2377"/>
                <a:gd name="T44" fmla="*/ 2045 w 2183"/>
                <a:gd name="T45" fmla="*/ 411 h 2377"/>
                <a:gd name="T46" fmla="*/ 2029 w 2183"/>
                <a:gd name="T47" fmla="*/ 401 h 2377"/>
                <a:gd name="T48" fmla="*/ 2010 w 2183"/>
                <a:gd name="T49" fmla="*/ 397 h 2377"/>
                <a:gd name="T50" fmla="*/ 173 w 2183"/>
                <a:gd name="T51" fmla="*/ 397 h 2377"/>
                <a:gd name="T52" fmla="*/ 154 w 2183"/>
                <a:gd name="T53" fmla="*/ 401 h 2377"/>
                <a:gd name="T54" fmla="*/ 139 w 2183"/>
                <a:gd name="T55" fmla="*/ 411 h 2377"/>
                <a:gd name="T56" fmla="*/ 130 w 2183"/>
                <a:gd name="T57" fmla="*/ 427 h 2377"/>
                <a:gd name="T58" fmla="*/ 125 w 2183"/>
                <a:gd name="T59" fmla="*/ 444 h 2377"/>
                <a:gd name="T60" fmla="*/ 125 w 2183"/>
                <a:gd name="T61" fmla="*/ 2377 h 2377"/>
                <a:gd name="T62" fmla="*/ 63 w 2183"/>
                <a:gd name="T63" fmla="*/ 2331 h 2377"/>
                <a:gd name="T64" fmla="*/ 0 w 2183"/>
                <a:gd name="T65" fmla="*/ 2282 h 2377"/>
                <a:gd name="T66" fmla="*/ 0 w 2183"/>
                <a:gd name="T67" fmla="*/ 444 h 2377"/>
                <a:gd name="T68" fmla="*/ 6 w 2183"/>
                <a:gd name="T69" fmla="*/ 406 h 2377"/>
                <a:gd name="T70" fmla="*/ 19 w 2183"/>
                <a:gd name="T71" fmla="*/ 370 h 2377"/>
                <a:gd name="T72" fmla="*/ 38 w 2183"/>
                <a:gd name="T73" fmla="*/ 337 h 2377"/>
                <a:gd name="T74" fmla="*/ 66 w 2183"/>
                <a:gd name="T75" fmla="*/ 311 h 2377"/>
                <a:gd name="T76" fmla="*/ 97 w 2183"/>
                <a:gd name="T77" fmla="*/ 290 h 2377"/>
                <a:gd name="T78" fmla="*/ 133 w 2183"/>
                <a:gd name="T79" fmla="*/ 278 h 2377"/>
                <a:gd name="T80" fmla="*/ 173 w 2183"/>
                <a:gd name="T81" fmla="*/ 273 h 2377"/>
                <a:gd name="T82" fmla="*/ 579 w 2183"/>
                <a:gd name="T83" fmla="*/ 273 h 2377"/>
                <a:gd name="T84" fmla="*/ 579 w 2183"/>
                <a:gd name="T85" fmla="*/ 105 h 2377"/>
                <a:gd name="T86" fmla="*/ 584 w 2183"/>
                <a:gd name="T87" fmla="*/ 77 h 2377"/>
                <a:gd name="T88" fmla="*/ 595 w 2183"/>
                <a:gd name="T89" fmla="*/ 52 h 2377"/>
                <a:gd name="T90" fmla="*/ 610 w 2183"/>
                <a:gd name="T91" fmla="*/ 31 h 2377"/>
                <a:gd name="T92" fmla="*/ 633 w 2183"/>
                <a:gd name="T93" fmla="*/ 14 h 2377"/>
                <a:gd name="T94" fmla="*/ 659 w 2183"/>
                <a:gd name="T95" fmla="*/ 3 h 2377"/>
                <a:gd name="T96" fmla="*/ 686 w 2183"/>
                <a:gd name="T97" fmla="*/ 0 h 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3" h="2377">
                  <a:moveTo>
                    <a:pt x="686" y="0"/>
                  </a:moveTo>
                  <a:lnTo>
                    <a:pt x="1499" y="0"/>
                  </a:lnTo>
                  <a:lnTo>
                    <a:pt x="1526" y="3"/>
                  </a:lnTo>
                  <a:lnTo>
                    <a:pt x="1552" y="14"/>
                  </a:lnTo>
                  <a:lnTo>
                    <a:pt x="1573" y="31"/>
                  </a:lnTo>
                  <a:lnTo>
                    <a:pt x="1590" y="52"/>
                  </a:lnTo>
                  <a:lnTo>
                    <a:pt x="1600" y="77"/>
                  </a:lnTo>
                  <a:lnTo>
                    <a:pt x="1604" y="105"/>
                  </a:lnTo>
                  <a:lnTo>
                    <a:pt x="1604" y="273"/>
                  </a:lnTo>
                  <a:lnTo>
                    <a:pt x="2010" y="273"/>
                  </a:lnTo>
                  <a:lnTo>
                    <a:pt x="2050" y="278"/>
                  </a:lnTo>
                  <a:lnTo>
                    <a:pt x="2086" y="290"/>
                  </a:lnTo>
                  <a:lnTo>
                    <a:pt x="2119" y="311"/>
                  </a:lnTo>
                  <a:lnTo>
                    <a:pt x="2145" y="337"/>
                  </a:lnTo>
                  <a:lnTo>
                    <a:pt x="2166" y="370"/>
                  </a:lnTo>
                  <a:lnTo>
                    <a:pt x="2178" y="406"/>
                  </a:lnTo>
                  <a:lnTo>
                    <a:pt x="2183" y="444"/>
                  </a:lnTo>
                  <a:lnTo>
                    <a:pt x="2183" y="2187"/>
                  </a:lnTo>
                  <a:lnTo>
                    <a:pt x="2119" y="2193"/>
                  </a:lnTo>
                  <a:lnTo>
                    <a:pt x="2058" y="2201"/>
                  </a:lnTo>
                  <a:lnTo>
                    <a:pt x="2058" y="444"/>
                  </a:lnTo>
                  <a:lnTo>
                    <a:pt x="2055" y="427"/>
                  </a:lnTo>
                  <a:lnTo>
                    <a:pt x="2045" y="411"/>
                  </a:lnTo>
                  <a:lnTo>
                    <a:pt x="2029" y="401"/>
                  </a:lnTo>
                  <a:lnTo>
                    <a:pt x="2010" y="397"/>
                  </a:lnTo>
                  <a:lnTo>
                    <a:pt x="173" y="397"/>
                  </a:lnTo>
                  <a:lnTo>
                    <a:pt x="154" y="401"/>
                  </a:lnTo>
                  <a:lnTo>
                    <a:pt x="139" y="411"/>
                  </a:lnTo>
                  <a:lnTo>
                    <a:pt x="130" y="427"/>
                  </a:lnTo>
                  <a:lnTo>
                    <a:pt x="125" y="444"/>
                  </a:lnTo>
                  <a:lnTo>
                    <a:pt x="125" y="2377"/>
                  </a:lnTo>
                  <a:lnTo>
                    <a:pt x="63" y="2331"/>
                  </a:lnTo>
                  <a:lnTo>
                    <a:pt x="0" y="2282"/>
                  </a:lnTo>
                  <a:lnTo>
                    <a:pt x="0" y="444"/>
                  </a:lnTo>
                  <a:lnTo>
                    <a:pt x="6" y="406"/>
                  </a:lnTo>
                  <a:lnTo>
                    <a:pt x="19" y="370"/>
                  </a:lnTo>
                  <a:lnTo>
                    <a:pt x="38" y="337"/>
                  </a:lnTo>
                  <a:lnTo>
                    <a:pt x="66" y="311"/>
                  </a:lnTo>
                  <a:lnTo>
                    <a:pt x="97" y="290"/>
                  </a:lnTo>
                  <a:lnTo>
                    <a:pt x="133" y="278"/>
                  </a:lnTo>
                  <a:lnTo>
                    <a:pt x="173" y="273"/>
                  </a:lnTo>
                  <a:lnTo>
                    <a:pt x="579" y="273"/>
                  </a:lnTo>
                  <a:lnTo>
                    <a:pt x="579" y="105"/>
                  </a:lnTo>
                  <a:lnTo>
                    <a:pt x="584" y="77"/>
                  </a:lnTo>
                  <a:lnTo>
                    <a:pt x="595" y="52"/>
                  </a:lnTo>
                  <a:lnTo>
                    <a:pt x="610" y="31"/>
                  </a:lnTo>
                  <a:lnTo>
                    <a:pt x="633" y="14"/>
                  </a:lnTo>
                  <a:lnTo>
                    <a:pt x="659" y="3"/>
                  </a:lnTo>
                  <a:lnTo>
                    <a:pt x="68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sp>
          <p:nvSpPr>
            <p:cNvPr id="27" name="Freeform 12">
              <a:extLst>
                <a:ext uri="{FF2B5EF4-FFF2-40B4-BE49-F238E27FC236}">
                  <a16:creationId xmlns:a16="http://schemas.microsoft.com/office/drawing/2014/main" id="{819E26AF-0BA6-D48F-3C01-FB85C45D4A05}"/>
                </a:ext>
              </a:extLst>
            </p:cNvPr>
            <p:cNvSpPr>
              <a:spLocks/>
            </p:cNvSpPr>
            <p:nvPr/>
          </p:nvSpPr>
          <p:spPr bwMode="auto">
            <a:xfrm>
              <a:off x="515413" y="-579941"/>
              <a:ext cx="409576" cy="409576"/>
            </a:xfrm>
            <a:custGeom>
              <a:avLst/>
              <a:gdLst>
                <a:gd name="T0" fmla="*/ 3443 w 5278"/>
                <a:gd name="T1" fmla="*/ 125 h 5278"/>
                <a:gd name="T2" fmla="*/ 4272 w 5278"/>
                <a:gd name="T3" fmla="*/ 565 h 5278"/>
                <a:gd name="T4" fmla="*/ 4891 w 5278"/>
                <a:gd name="T5" fmla="*/ 1262 h 5278"/>
                <a:gd name="T6" fmla="*/ 5233 w 5278"/>
                <a:gd name="T7" fmla="*/ 2147 h 5278"/>
                <a:gd name="T8" fmla="*/ 5233 w 5278"/>
                <a:gd name="T9" fmla="*/ 3126 h 5278"/>
                <a:gd name="T10" fmla="*/ 4897 w 5278"/>
                <a:gd name="T11" fmla="*/ 4004 h 5278"/>
                <a:gd name="T12" fmla="*/ 4383 w 5278"/>
                <a:gd name="T13" fmla="*/ 4274 h 5278"/>
                <a:gd name="T14" fmla="*/ 4856 w 5278"/>
                <a:gd name="T15" fmla="*/ 3534 h 5278"/>
                <a:gd name="T16" fmla="*/ 5029 w 5278"/>
                <a:gd name="T17" fmla="*/ 2639 h 5278"/>
                <a:gd name="T18" fmla="*/ 4842 w 5278"/>
                <a:gd name="T19" fmla="*/ 1709 h 5278"/>
                <a:gd name="T20" fmla="*/ 4329 w 5278"/>
                <a:gd name="T21" fmla="*/ 949 h 5278"/>
                <a:gd name="T22" fmla="*/ 3569 w 5278"/>
                <a:gd name="T23" fmla="*/ 436 h 5278"/>
                <a:gd name="T24" fmla="*/ 2637 w 5278"/>
                <a:gd name="T25" fmla="*/ 249 h 5278"/>
                <a:gd name="T26" fmla="*/ 1721 w 5278"/>
                <a:gd name="T27" fmla="*/ 431 h 5278"/>
                <a:gd name="T28" fmla="*/ 1143 w 5278"/>
                <a:gd name="T29" fmla="*/ 837 h 5278"/>
                <a:gd name="T30" fmla="*/ 849 w 5278"/>
                <a:gd name="T31" fmla="*/ 1433 h 5278"/>
                <a:gd name="T32" fmla="*/ 870 w 5278"/>
                <a:gd name="T33" fmla="*/ 2228 h 5278"/>
                <a:gd name="T34" fmla="*/ 1206 w 5278"/>
                <a:gd name="T35" fmla="*/ 2938 h 5278"/>
                <a:gd name="T36" fmla="*/ 1803 w 5278"/>
                <a:gd name="T37" fmla="*/ 3460 h 5278"/>
                <a:gd name="T38" fmla="*/ 2598 w 5278"/>
                <a:gd name="T39" fmla="*/ 3722 h 5278"/>
                <a:gd name="T40" fmla="*/ 3061 w 5278"/>
                <a:gd name="T41" fmla="*/ 3676 h 5278"/>
                <a:gd name="T42" fmla="*/ 3208 w 5278"/>
                <a:gd name="T43" fmla="*/ 3470 h 5278"/>
                <a:gd name="T44" fmla="*/ 3406 w 5278"/>
                <a:gd name="T45" fmla="*/ 3278 h 5278"/>
                <a:gd name="T46" fmla="*/ 3779 w 5278"/>
                <a:gd name="T47" fmla="*/ 3189 h 5278"/>
                <a:gd name="T48" fmla="*/ 4161 w 5278"/>
                <a:gd name="T49" fmla="*/ 3296 h 5278"/>
                <a:gd name="T50" fmla="*/ 4410 w 5278"/>
                <a:gd name="T51" fmla="*/ 3598 h 5278"/>
                <a:gd name="T52" fmla="*/ 3838 w 5278"/>
                <a:gd name="T53" fmla="*/ 3728 h 5278"/>
                <a:gd name="T54" fmla="*/ 3819 w 5278"/>
                <a:gd name="T55" fmla="*/ 4391 h 5278"/>
                <a:gd name="T56" fmla="*/ 4446 w 5278"/>
                <a:gd name="T57" fmla="*/ 4485 h 5278"/>
                <a:gd name="T58" fmla="*/ 4208 w 5278"/>
                <a:gd name="T59" fmla="*/ 4815 h 5278"/>
                <a:gd name="T60" fmla="*/ 3857 w 5278"/>
                <a:gd name="T61" fmla="*/ 4958 h 5278"/>
                <a:gd name="T62" fmla="*/ 3451 w 5278"/>
                <a:gd name="T63" fmla="*/ 4903 h 5278"/>
                <a:gd name="T64" fmla="*/ 3232 w 5278"/>
                <a:gd name="T65" fmla="*/ 4735 h 5278"/>
                <a:gd name="T66" fmla="*/ 3090 w 5278"/>
                <a:gd name="T67" fmla="*/ 4542 h 5278"/>
                <a:gd name="T68" fmla="*/ 2712 w 5278"/>
                <a:gd name="T69" fmla="*/ 4491 h 5278"/>
                <a:gd name="T70" fmla="*/ 2010 w 5278"/>
                <a:gd name="T71" fmla="*/ 4415 h 5278"/>
                <a:gd name="T72" fmla="*/ 1305 w 5278"/>
                <a:gd name="T73" fmla="*/ 4085 h 5278"/>
                <a:gd name="T74" fmla="*/ 797 w 5278"/>
                <a:gd name="T75" fmla="*/ 3576 h 5278"/>
                <a:gd name="T76" fmla="*/ 500 w 5278"/>
                <a:gd name="T77" fmla="*/ 2962 h 5278"/>
                <a:gd name="T78" fmla="*/ 394 w 5278"/>
                <a:gd name="T79" fmla="*/ 2314 h 5278"/>
                <a:gd name="T80" fmla="*/ 460 w 5278"/>
                <a:gd name="T81" fmla="*/ 1696 h 5278"/>
                <a:gd name="T82" fmla="*/ 268 w 5278"/>
                <a:gd name="T83" fmla="*/ 2325 h 5278"/>
                <a:gd name="T84" fmla="*/ 334 w 5278"/>
                <a:gd name="T85" fmla="*/ 3275 h 5278"/>
                <a:gd name="T86" fmla="*/ 747 w 5278"/>
                <a:gd name="T87" fmla="*/ 4099 h 5278"/>
                <a:gd name="T88" fmla="*/ 1433 w 5278"/>
                <a:gd name="T89" fmla="*/ 4704 h 5278"/>
                <a:gd name="T90" fmla="*/ 2314 w 5278"/>
                <a:gd name="T91" fmla="*/ 5008 h 5278"/>
                <a:gd name="T92" fmla="*/ 3168 w 5278"/>
                <a:gd name="T93" fmla="*/ 4970 h 5278"/>
                <a:gd name="T94" fmla="*/ 3546 w 5278"/>
                <a:gd name="T95" fmla="*/ 5044 h 5278"/>
                <a:gd name="T96" fmla="*/ 3104 w 5278"/>
                <a:gd name="T97" fmla="*/ 5238 h 5278"/>
                <a:gd name="T98" fmla="*/ 2147 w 5278"/>
                <a:gd name="T99" fmla="*/ 5233 h 5278"/>
                <a:gd name="T100" fmla="*/ 1262 w 5278"/>
                <a:gd name="T101" fmla="*/ 4891 h 5278"/>
                <a:gd name="T102" fmla="*/ 565 w 5278"/>
                <a:gd name="T103" fmla="*/ 4272 h 5278"/>
                <a:gd name="T104" fmla="*/ 125 w 5278"/>
                <a:gd name="T105" fmla="*/ 3443 h 5278"/>
                <a:gd name="T106" fmla="*/ 6 w 5278"/>
                <a:gd name="T107" fmla="*/ 2473 h 5278"/>
                <a:gd name="T108" fmla="*/ 239 w 5278"/>
                <a:gd name="T109" fmla="*/ 1540 h 5278"/>
                <a:gd name="T110" fmla="*/ 773 w 5278"/>
                <a:gd name="T111" fmla="*/ 773 h 5278"/>
                <a:gd name="T112" fmla="*/ 1540 w 5278"/>
                <a:gd name="T113" fmla="*/ 239 h 5278"/>
                <a:gd name="T114" fmla="*/ 2473 w 5278"/>
                <a:gd name="T115" fmla="*/ 6 h 5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78" h="5278">
                  <a:moveTo>
                    <a:pt x="2639" y="0"/>
                  </a:moveTo>
                  <a:lnTo>
                    <a:pt x="2807" y="6"/>
                  </a:lnTo>
                  <a:lnTo>
                    <a:pt x="2971" y="21"/>
                  </a:lnTo>
                  <a:lnTo>
                    <a:pt x="3131" y="45"/>
                  </a:lnTo>
                  <a:lnTo>
                    <a:pt x="3289" y="80"/>
                  </a:lnTo>
                  <a:lnTo>
                    <a:pt x="3443" y="125"/>
                  </a:lnTo>
                  <a:lnTo>
                    <a:pt x="3593" y="178"/>
                  </a:lnTo>
                  <a:lnTo>
                    <a:pt x="3738" y="239"/>
                  </a:lnTo>
                  <a:lnTo>
                    <a:pt x="3880" y="310"/>
                  </a:lnTo>
                  <a:lnTo>
                    <a:pt x="4016" y="387"/>
                  </a:lnTo>
                  <a:lnTo>
                    <a:pt x="4148" y="472"/>
                  </a:lnTo>
                  <a:lnTo>
                    <a:pt x="4272" y="565"/>
                  </a:lnTo>
                  <a:lnTo>
                    <a:pt x="4391" y="666"/>
                  </a:lnTo>
                  <a:lnTo>
                    <a:pt x="4505" y="773"/>
                  </a:lnTo>
                  <a:lnTo>
                    <a:pt x="4612" y="887"/>
                  </a:lnTo>
                  <a:lnTo>
                    <a:pt x="4713" y="1006"/>
                  </a:lnTo>
                  <a:lnTo>
                    <a:pt x="4806" y="1132"/>
                  </a:lnTo>
                  <a:lnTo>
                    <a:pt x="4891" y="1262"/>
                  </a:lnTo>
                  <a:lnTo>
                    <a:pt x="4968" y="1398"/>
                  </a:lnTo>
                  <a:lnTo>
                    <a:pt x="5039" y="1540"/>
                  </a:lnTo>
                  <a:lnTo>
                    <a:pt x="5100" y="1685"/>
                  </a:lnTo>
                  <a:lnTo>
                    <a:pt x="5153" y="1835"/>
                  </a:lnTo>
                  <a:lnTo>
                    <a:pt x="5198" y="1989"/>
                  </a:lnTo>
                  <a:lnTo>
                    <a:pt x="5233" y="2147"/>
                  </a:lnTo>
                  <a:lnTo>
                    <a:pt x="5257" y="2309"/>
                  </a:lnTo>
                  <a:lnTo>
                    <a:pt x="5272" y="2473"/>
                  </a:lnTo>
                  <a:lnTo>
                    <a:pt x="5278" y="2639"/>
                  </a:lnTo>
                  <a:lnTo>
                    <a:pt x="5272" y="2805"/>
                  </a:lnTo>
                  <a:lnTo>
                    <a:pt x="5257" y="2967"/>
                  </a:lnTo>
                  <a:lnTo>
                    <a:pt x="5233" y="3126"/>
                  </a:lnTo>
                  <a:lnTo>
                    <a:pt x="5198" y="3284"/>
                  </a:lnTo>
                  <a:lnTo>
                    <a:pt x="5155" y="3436"/>
                  </a:lnTo>
                  <a:lnTo>
                    <a:pt x="5103" y="3584"/>
                  </a:lnTo>
                  <a:lnTo>
                    <a:pt x="5043" y="3729"/>
                  </a:lnTo>
                  <a:lnTo>
                    <a:pt x="4975" y="3869"/>
                  </a:lnTo>
                  <a:lnTo>
                    <a:pt x="4897" y="4004"/>
                  </a:lnTo>
                  <a:lnTo>
                    <a:pt x="4815" y="4134"/>
                  </a:lnTo>
                  <a:lnTo>
                    <a:pt x="4723" y="4260"/>
                  </a:lnTo>
                  <a:lnTo>
                    <a:pt x="4624" y="4377"/>
                  </a:lnTo>
                  <a:lnTo>
                    <a:pt x="4624" y="4377"/>
                  </a:lnTo>
                  <a:lnTo>
                    <a:pt x="4279" y="4377"/>
                  </a:lnTo>
                  <a:lnTo>
                    <a:pt x="4383" y="4274"/>
                  </a:lnTo>
                  <a:lnTo>
                    <a:pt x="4479" y="4165"/>
                  </a:lnTo>
                  <a:lnTo>
                    <a:pt x="4569" y="4049"/>
                  </a:lnTo>
                  <a:lnTo>
                    <a:pt x="4652" y="3928"/>
                  </a:lnTo>
                  <a:lnTo>
                    <a:pt x="4728" y="3800"/>
                  </a:lnTo>
                  <a:lnTo>
                    <a:pt x="4797" y="3669"/>
                  </a:lnTo>
                  <a:lnTo>
                    <a:pt x="4856" y="3534"/>
                  </a:lnTo>
                  <a:lnTo>
                    <a:pt x="4908" y="3394"/>
                  </a:lnTo>
                  <a:lnTo>
                    <a:pt x="4951" y="3249"/>
                  </a:lnTo>
                  <a:lnTo>
                    <a:pt x="4984" y="3102"/>
                  </a:lnTo>
                  <a:lnTo>
                    <a:pt x="5010" y="2950"/>
                  </a:lnTo>
                  <a:lnTo>
                    <a:pt x="5024" y="2796"/>
                  </a:lnTo>
                  <a:lnTo>
                    <a:pt x="5029" y="2639"/>
                  </a:lnTo>
                  <a:lnTo>
                    <a:pt x="5024" y="2475"/>
                  </a:lnTo>
                  <a:lnTo>
                    <a:pt x="5008" y="2314"/>
                  </a:lnTo>
                  <a:lnTo>
                    <a:pt x="4980" y="2157"/>
                  </a:lnTo>
                  <a:lnTo>
                    <a:pt x="4944" y="2003"/>
                  </a:lnTo>
                  <a:lnTo>
                    <a:pt x="4897" y="1854"/>
                  </a:lnTo>
                  <a:lnTo>
                    <a:pt x="4842" y="1709"/>
                  </a:lnTo>
                  <a:lnTo>
                    <a:pt x="4777" y="1568"/>
                  </a:lnTo>
                  <a:lnTo>
                    <a:pt x="4702" y="1433"/>
                  </a:lnTo>
                  <a:lnTo>
                    <a:pt x="4621" y="1303"/>
                  </a:lnTo>
                  <a:lnTo>
                    <a:pt x="4531" y="1179"/>
                  </a:lnTo>
                  <a:lnTo>
                    <a:pt x="4434" y="1060"/>
                  </a:lnTo>
                  <a:lnTo>
                    <a:pt x="4329" y="949"/>
                  </a:lnTo>
                  <a:lnTo>
                    <a:pt x="4218" y="844"/>
                  </a:lnTo>
                  <a:lnTo>
                    <a:pt x="4099" y="747"/>
                  </a:lnTo>
                  <a:lnTo>
                    <a:pt x="3975" y="657"/>
                  </a:lnTo>
                  <a:lnTo>
                    <a:pt x="3845" y="574"/>
                  </a:lnTo>
                  <a:lnTo>
                    <a:pt x="3710" y="501"/>
                  </a:lnTo>
                  <a:lnTo>
                    <a:pt x="3569" y="436"/>
                  </a:lnTo>
                  <a:lnTo>
                    <a:pt x="3424" y="381"/>
                  </a:lnTo>
                  <a:lnTo>
                    <a:pt x="3275" y="334"/>
                  </a:lnTo>
                  <a:lnTo>
                    <a:pt x="3121" y="298"/>
                  </a:lnTo>
                  <a:lnTo>
                    <a:pt x="2964" y="270"/>
                  </a:lnTo>
                  <a:lnTo>
                    <a:pt x="2803" y="254"/>
                  </a:lnTo>
                  <a:lnTo>
                    <a:pt x="2637" y="249"/>
                  </a:lnTo>
                  <a:lnTo>
                    <a:pt x="2478" y="254"/>
                  </a:lnTo>
                  <a:lnTo>
                    <a:pt x="2319" y="270"/>
                  </a:lnTo>
                  <a:lnTo>
                    <a:pt x="2164" y="296"/>
                  </a:lnTo>
                  <a:lnTo>
                    <a:pt x="2013" y="330"/>
                  </a:lnTo>
                  <a:lnTo>
                    <a:pt x="1865" y="377"/>
                  </a:lnTo>
                  <a:lnTo>
                    <a:pt x="1721" y="431"/>
                  </a:lnTo>
                  <a:lnTo>
                    <a:pt x="1583" y="495"/>
                  </a:lnTo>
                  <a:lnTo>
                    <a:pt x="1483" y="548"/>
                  </a:lnTo>
                  <a:lnTo>
                    <a:pt x="1388" y="610"/>
                  </a:lnTo>
                  <a:lnTo>
                    <a:pt x="1300" y="679"/>
                  </a:lnTo>
                  <a:lnTo>
                    <a:pt x="1217" y="755"/>
                  </a:lnTo>
                  <a:lnTo>
                    <a:pt x="1143" y="837"/>
                  </a:lnTo>
                  <a:lnTo>
                    <a:pt x="1073" y="925"/>
                  </a:lnTo>
                  <a:lnTo>
                    <a:pt x="1011" y="1018"/>
                  </a:lnTo>
                  <a:lnTo>
                    <a:pt x="959" y="1115"/>
                  </a:lnTo>
                  <a:lnTo>
                    <a:pt x="913" y="1217"/>
                  </a:lnTo>
                  <a:lnTo>
                    <a:pt x="876" y="1322"/>
                  </a:lnTo>
                  <a:lnTo>
                    <a:pt x="849" y="1433"/>
                  </a:lnTo>
                  <a:lnTo>
                    <a:pt x="830" y="1545"/>
                  </a:lnTo>
                  <a:lnTo>
                    <a:pt x="819" y="1685"/>
                  </a:lnTo>
                  <a:lnTo>
                    <a:pt x="818" y="1825"/>
                  </a:lnTo>
                  <a:lnTo>
                    <a:pt x="825" y="1962"/>
                  </a:lnTo>
                  <a:lnTo>
                    <a:pt x="842" y="2096"/>
                  </a:lnTo>
                  <a:lnTo>
                    <a:pt x="870" y="2228"/>
                  </a:lnTo>
                  <a:lnTo>
                    <a:pt x="904" y="2356"/>
                  </a:lnTo>
                  <a:lnTo>
                    <a:pt x="949" y="2482"/>
                  </a:lnTo>
                  <a:lnTo>
                    <a:pt x="1001" y="2601"/>
                  </a:lnTo>
                  <a:lnTo>
                    <a:pt x="1061" y="2718"/>
                  </a:lnTo>
                  <a:lnTo>
                    <a:pt x="1130" y="2831"/>
                  </a:lnTo>
                  <a:lnTo>
                    <a:pt x="1206" y="2938"/>
                  </a:lnTo>
                  <a:lnTo>
                    <a:pt x="1289" y="3040"/>
                  </a:lnTo>
                  <a:lnTo>
                    <a:pt x="1379" y="3137"/>
                  </a:lnTo>
                  <a:lnTo>
                    <a:pt x="1476" y="3227"/>
                  </a:lnTo>
                  <a:lnTo>
                    <a:pt x="1580" y="3311"/>
                  </a:lnTo>
                  <a:lnTo>
                    <a:pt x="1689" y="3389"/>
                  </a:lnTo>
                  <a:lnTo>
                    <a:pt x="1803" y="3460"/>
                  </a:lnTo>
                  <a:lnTo>
                    <a:pt x="1924" y="3524"/>
                  </a:lnTo>
                  <a:lnTo>
                    <a:pt x="2050" y="3579"/>
                  </a:lnTo>
                  <a:lnTo>
                    <a:pt x="2179" y="3627"/>
                  </a:lnTo>
                  <a:lnTo>
                    <a:pt x="2314" y="3669"/>
                  </a:lnTo>
                  <a:lnTo>
                    <a:pt x="2454" y="3700"/>
                  </a:lnTo>
                  <a:lnTo>
                    <a:pt x="2598" y="3722"/>
                  </a:lnTo>
                  <a:lnTo>
                    <a:pt x="2744" y="3736"/>
                  </a:lnTo>
                  <a:lnTo>
                    <a:pt x="2895" y="3740"/>
                  </a:lnTo>
                  <a:lnTo>
                    <a:pt x="2940" y="3736"/>
                  </a:lnTo>
                  <a:lnTo>
                    <a:pt x="2983" y="3722"/>
                  </a:lnTo>
                  <a:lnTo>
                    <a:pt x="3023" y="3702"/>
                  </a:lnTo>
                  <a:lnTo>
                    <a:pt x="3061" y="3676"/>
                  </a:lnTo>
                  <a:lnTo>
                    <a:pt x="3093" y="3645"/>
                  </a:lnTo>
                  <a:lnTo>
                    <a:pt x="3123" y="3608"/>
                  </a:lnTo>
                  <a:lnTo>
                    <a:pt x="3149" y="3569"/>
                  </a:lnTo>
                  <a:lnTo>
                    <a:pt x="3166" y="3538"/>
                  </a:lnTo>
                  <a:lnTo>
                    <a:pt x="3187" y="3503"/>
                  </a:lnTo>
                  <a:lnTo>
                    <a:pt x="3208" y="3470"/>
                  </a:lnTo>
                  <a:lnTo>
                    <a:pt x="3233" y="3436"/>
                  </a:lnTo>
                  <a:lnTo>
                    <a:pt x="3259" y="3401"/>
                  </a:lnTo>
                  <a:lnTo>
                    <a:pt x="3290" y="3368"/>
                  </a:lnTo>
                  <a:lnTo>
                    <a:pt x="3325" y="3337"/>
                  </a:lnTo>
                  <a:lnTo>
                    <a:pt x="3363" y="3306"/>
                  </a:lnTo>
                  <a:lnTo>
                    <a:pt x="3406" y="3278"/>
                  </a:lnTo>
                  <a:lnTo>
                    <a:pt x="3453" y="3252"/>
                  </a:lnTo>
                  <a:lnTo>
                    <a:pt x="3506" y="3232"/>
                  </a:lnTo>
                  <a:lnTo>
                    <a:pt x="3565" y="3214"/>
                  </a:lnTo>
                  <a:lnTo>
                    <a:pt x="3629" y="3201"/>
                  </a:lnTo>
                  <a:lnTo>
                    <a:pt x="3702" y="3192"/>
                  </a:lnTo>
                  <a:lnTo>
                    <a:pt x="3779" y="3189"/>
                  </a:lnTo>
                  <a:lnTo>
                    <a:pt x="3857" y="3192"/>
                  </a:lnTo>
                  <a:lnTo>
                    <a:pt x="3928" y="3201"/>
                  </a:lnTo>
                  <a:lnTo>
                    <a:pt x="3994" y="3216"/>
                  </a:lnTo>
                  <a:lnTo>
                    <a:pt x="4054" y="3237"/>
                  </a:lnTo>
                  <a:lnTo>
                    <a:pt x="4110" y="3265"/>
                  </a:lnTo>
                  <a:lnTo>
                    <a:pt x="4161" y="3296"/>
                  </a:lnTo>
                  <a:lnTo>
                    <a:pt x="4208" y="3334"/>
                  </a:lnTo>
                  <a:lnTo>
                    <a:pt x="4253" y="3377"/>
                  </a:lnTo>
                  <a:lnTo>
                    <a:pt x="4294" y="3425"/>
                  </a:lnTo>
                  <a:lnTo>
                    <a:pt x="4334" y="3477"/>
                  </a:lnTo>
                  <a:lnTo>
                    <a:pt x="4372" y="3536"/>
                  </a:lnTo>
                  <a:lnTo>
                    <a:pt x="4410" y="3598"/>
                  </a:lnTo>
                  <a:lnTo>
                    <a:pt x="4446" y="3664"/>
                  </a:lnTo>
                  <a:lnTo>
                    <a:pt x="3966" y="3664"/>
                  </a:lnTo>
                  <a:lnTo>
                    <a:pt x="3928" y="3669"/>
                  </a:lnTo>
                  <a:lnTo>
                    <a:pt x="3894" y="3681"/>
                  </a:lnTo>
                  <a:lnTo>
                    <a:pt x="3864" y="3702"/>
                  </a:lnTo>
                  <a:lnTo>
                    <a:pt x="3838" y="3728"/>
                  </a:lnTo>
                  <a:lnTo>
                    <a:pt x="3819" y="3759"/>
                  </a:lnTo>
                  <a:lnTo>
                    <a:pt x="3807" y="3793"/>
                  </a:lnTo>
                  <a:lnTo>
                    <a:pt x="3804" y="3833"/>
                  </a:lnTo>
                  <a:lnTo>
                    <a:pt x="3804" y="4317"/>
                  </a:lnTo>
                  <a:lnTo>
                    <a:pt x="3807" y="4355"/>
                  </a:lnTo>
                  <a:lnTo>
                    <a:pt x="3819" y="4391"/>
                  </a:lnTo>
                  <a:lnTo>
                    <a:pt x="3838" y="4422"/>
                  </a:lnTo>
                  <a:lnTo>
                    <a:pt x="3864" y="4448"/>
                  </a:lnTo>
                  <a:lnTo>
                    <a:pt x="3894" y="4469"/>
                  </a:lnTo>
                  <a:lnTo>
                    <a:pt x="3928" y="4481"/>
                  </a:lnTo>
                  <a:lnTo>
                    <a:pt x="3966" y="4485"/>
                  </a:lnTo>
                  <a:lnTo>
                    <a:pt x="4446" y="4485"/>
                  </a:lnTo>
                  <a:lnTo>
                    <a:pt x="4410" y="4552"/>
                  </a:lnTo>
                  <a:lnTo>
                    <a:pt x="4372" y="4614"/>
                  </a:lnTo>
                  <a:lnTo>
                    <a:pt x="4334" y="4671"/>
                  </a:lnTo>
                  <a:lnTo>
                    <a:pt x="4294" y="4725"/>
                  </a:lnTo>
                  <a:lnTo>
                    <a:pt x="4253" y="4773"/>
                  </a:lnTo>
                  <a:lnTo>
                    <a:pt x="4208" y="4815"/>
                  </a:lnTo>
                  <a:lnTo>
                    <a:pt x="4161" y="4853"/>
                  </a:lnTo>
                  <a:lnTo>
                    <a:pt x="4110" y="4885"/>
                  </a:lnTo>
                  <a:lnTo>
                    <a:pt x="4054" y="4911"/>
                  </a:lnTo>
                  <a:lnTo>
                    <a:pt x="3994" y="4932"/>
                  </a:lnTo>
                  <a:lnTo>
                    <a:pt x="3928" y="4948"/>
                  </a:lnTo>
                  <a:lnTo>
                    <a:pt x="3857" y="4958"/>
                  </a:lnTo>
                  <a:lnTo>
                    <a:pt x="3779" y="4960"/>
                  </a:lnTo>
                  <a:lnTo>
                    <a:pt x="3700" y="4958"/>
                  </a:lnTo>
                  <a:lnTo>
                    <a:pt x="3629" y="4949"/>
                  </a:lnTo>
                  <a:lnTo>
                    <a:pt x="3563" y="4937"/>
                  </a:lnTo>
                  <a:lnTo>
                    <a:pt x="3505" y="4922"/>
                  </a:lnTo>
                  <a:lnTo>
                    <a:pt x="3451" y="4903"/>
                  </a:lnTo>
                  <a:lnTo>
                    <a:pt x="3405" y="4878"/>
                  </a:lnTo>
                  <a:lnTo>
                    <a:pt x="3361" y="4854"/>
                  </a:lnTo>
                  <a:lnTo>
                    <a:pt x="3323" y="4827"/>
                  </a:lnTo>
                  <a:lnTo>
                    <a:pt x="3289" y="4797"/>
                  </a:lnTo>
                  <a:lnTo>
                    <a:pt x="3259" y="4766"/>
                  </a:lnTo>
                  <a:lnTo>
                    <a:pt x="3232" y="4735"/>
                  </a:lnTo>
                  <a:lnTo>
                    <a:pt x="3208" y="4704"/>
                  </a:lnTo>
                  <a:lnTo>
                    <a:pt x="3187" y="4673"/>
                  </a:lnTo>
                  <a:lnTo>
                    <a:pt x="3168" y="4642"/>
                  </a:lnTo>
                  <a:lnTo>
                    <a:pt x="3150" y="4612"/>
                  </a:lnTo>
                  <a:lnTo>
                    <a:pt x="3123" y="4574"/>
                  </a:lnTo>
                  <a:lnTo>
                    <a:pt x="3090" y="4542"/>
                  </a:lnTo>
                  <a:lnTo>
                    <a:pt x="3052" y="4517"/>
                  </a:lnTo>
                  <a:lnTo>
                    <a:pt x="3012" y="4500"/>
                  </a:lnTo>
                  <a:lnTo>
                    <a:pt x="2969" y="4490"/>
                  </a:lnTo>
                  <a:lnTo>
                    <a:pt x="2922" y="4488"/>
                  </a:lnTo>
                  <a:lnTo>
                    <a:pt x="2820" y="4491"/>
                  </a:lnTo>
                  <a:lnTo>
                    <a:pt x="2712" y="4491"/>
                  </a:lnTo>
                  <a:lnTo>
                    <a:pt x="2598" y="4488"/>
                  </a:lnTo>
                  <a:lnTo>
                    <a:pt x="2480" y="4483"/>
                  </a:lnTo>
                  <a:lnTo>
                    <a:pt x="2359" y="4472"/>
                  </a:lnTo>
                  <a:lnTo>
                    <a:pt x="2240" y="4457"/>
                  </a:lnTo>
                  <a:lnTo>
                    <a:pt x="2122" y="4438"/>
                  </a:lnTo>
                  <a:lnTo>
                    <a:pt x="2010" y="4415"/>
                  </a:lnTo>
                  <a:lnTo>
                    <a:pt x="1903" y="4388"/>
                  </a:lnTo>
                  <a:lnTo>
                    <a:pt x="1770" y="4338"/>
                  </a:lnTo>
                  <a:lnTo>
                    <a:pt x="1644" y="4282"/>
                  </a:lnTo>
                  <a:lnTo>
                    <a:pt x="1524" y="4222"/>
                  </a:lnTo>
                  <a:lnTo>
                    <a:pt x="1410" y="4156"/>
                  </a:lnTo>
                  <a:lnTo>
                    <a:pt x="1305" y="4085"/>
                  </a:lnTo>
                  <a:lnTo>
                    <a:pt x="1205" y="4011"/>
                  </a:lnTo>
                  <a:lnTo>
                    <a:pt x="1110" y="3932"/>
                  </a:lnTo>
                  <a:lnTo>
                    <a:pt x="1023" y="3847"/>
                  </a:lnTo>
                  <a:lnTo>
                    <a:pt x="942" y="3760"/>
                  </a:lnTo>
                  <a:lnTo>
                    <a:pt x="866" y="3669"/>
                  </a:lnTo>
                  <a:lnTo>
                    <a:pt x="797" y="3576"/>
                  </a:lnTo>
                  <a:lnTo>
                    <a:pt x="733" y="3479"/>
                  </a:lnTo>
                  <a:lnTo>
                    <a:pt x="674" y="3379"/>
                  </a:lnTo>
                  <a:lnTo>
                    <a:pt x="622" y="3277"/>
                  </a:lnTo>
                  <a:lnTo>
                    <a:pt x="576" y="3173"/>
                  </a:lnTo>
                  <a:lnTo>
                    <a:pt x="534" y="3069"/>
                  </a:lnTo>
                  <a:lnTo>
                    <a:pt x="500" y="2962"/>
                  </a:lnTo>
                  <a:lnTo>
                    <a:pt x="469" y="2855"/>
                  </a:lnTo>
                  <a:lnTo>
                    <a:pt x="444" y="2748"/>
                  </a:lnTo>
                  <a:lnTo>
                    <a:pt x="424" y="2637"/>
                  </a:lnTo>
                  <a:lnTo>
                    <a:pt x="408" y="2530"/>
                  </a:lnTo>
                  <a:lnTo>
                    <a:pt x="400" y="2421"/>
                  </a:lnTo>
                  <a:lnTo>
                    <a:pt x="394" y="2314"/>
                  </a:lnTo>
                  <a:lnTo>
                    <a:pt x="393" y="2207"/>
                  </a:lnTo>
                  <a:lnTo>
                    <a:pt x="398" y="2102"/>
                  </a:lnTo>
                  <a:lnTo>
                    <a:pt x="406" y="1996"/>
                  </a:lnTo>
                  <a:lnTo>
                    <a:pt x="420" y="1894"/>
                  </a:lnTo>
                  <a:lnTo>
                    <a:pt x="438" y="1794"/>
                  </a:lnTo>
                  <a:lnTo>
                    <a:pt x="460" y="1696"/>
                  </a:lnTo>
                  <a:lnTo>
                    <a:pt x="486" y="1600"/>
                  </a:lnTo>
                  <a:lnTo>
                    <a:pt x="425" y="1737"/>
                  </a:lnTo>
                  <a:lnTo>
                    <a:pt x="372" y="1879"/>
                  </a:lnTo>
                  <a:lnTo>
                    <a:pt x="329" y="2024"/>
                  </a:lnTo>
                  <a:lnTo>
                    <a:pt x="294" y="2172"/>
                  </a:lnTo>
                  <a:lnTo>
                    <a:pt x="268" y="2325"/>
                  </a:lnTo>
                  <a:lnTo>
                    <a:pt x="254" y="2480"/>
                  </a:lnTo>
                  <a:lnTo>
                    <a:pt x="249" y="2639"/>
                  </a:lnTo>
                  <a:lnTo>
                    <a:pt x="254" y="2803"/>
                  </a:lnTo>
                  <a:lnTo>
                    <a:pt x="270" y="2964"/>
                  </a:lnTo>
                  <a:lnTo>
                    <a:pt x="298" y="3121"/>
                  </a:lnTo>
                  <a:lnTo>
                    <a:pt x="334" y="3275"/>
                  </a:lnTo>
                  <a:lnTo>
                    <a:pt x="381" y="3425"/>
                  </a:lnTo>
                  <a:lnTo>
                    <a:pt x="436" y="3570"/>
                  </a:lnTo>
                  <a:lnTo>
                    <a:pt x="501" y="3710"/>
                  </a:lnTo>
                  <a:lnTo>
                    <a:pt x="576" y="3845"/>
                  </a:lnTo>
                  <a:lnTo>
                    <a:pt x="657" y="3976"/>
                  </a:lnTo>
                  <a:lnTo>
                    <a:pt x="747" y="4099"/>
                  </a:lnTo>
                  <a:lnTo>
                    <a:pt x="844" y="4218"/>
                  </a:lnTo>
                  <a:lnTo>
                    <a:pt x="949" y="4329"/>
                  </a:lnTo>
                  <a:lnTo>
                    <a:pt x="1060" y="4434"/>
                  </a:lnTo>
                  <a:lnTo>
                    <a:pt x="1179" y="4531"/>
                  </a:lnTo>
                  <a:lnTo>
                    <a:pt x="1302" y="4621"/>
                  </a:lnTo>
                  <a:lnTo>
                    <a:pt x="1433" y="4704"/>
                  </a:lnTo>
                  <a:lnTo>
                    <a:pt x="1568" y="4777"/>
                  </a:lnTo>
                  <a:lnTo>
                    <a:pt x="1708" y="4842"/>
                  </a:lnTo>
                  <a:lnTo>
                    <a:pt x="1854" y="4897"/>
                  </a:lnTo>
                  <a:lnTo>
                    <a:pt x="2003" y="4944"/>
                  </a:lnTo>
                  <a:lnTo>
                    <a:pt x="2157" y="4980"/>
                  </a:lnTo>
                  <a:lnTo>
                    <a:pt x="2314" y="5008"/>
                  </a:lnTo>
                  <a:lnTo>
                    <a:pt x="2475" y="5024"/>
                  </a:lnTo>
                  <a:lnTo>
                    <a:pt x="2637" y="5029"/>
                  </a:lnTo>
                  <a:lnTo>
                    <a:pt x="2774" y="5025"/>
                  </a:lnTo>
                  <a:lnTo>
                    <a:pt x="2909" y="5015"/>
                  </a:lnTo>
                  <a:lnTo>
                    <a:pt x="3040" y="4996"/>
                  </a:lnTo>
                  <a:lnTo>
                    <a:pt x="3168" y="4970"/>
                  </a:lnTo>
                  <a:lnTo>
                    <a:pt x="3294" y="4939"/>
                  </a:lnTo>
                  <a:lnTo>
                    <a:pt x="3335" y="4965"/>
                  </a:lnTo>
                  <a:lnTo>
                    <a:pt x="3382" y="4989"/>
                  </a:lnTo>
                  <a:lnTo>
                    <a:pt x="3432" y="5010"/>
                  </a:lnTo>
                  <a:lnTo>
                    <a:pt x="3486" y="5029"/>
                  </a:lnTo>
                  <a:lnTo>
                    <a:pt x="3546" y="5044"/>
                  </a:lnTo>
                  <a:lnTo>
                    <a:pt x="3612" y="5056"/>
                  </a:lnTo>
                  <a:lnTo>
                    <a:pt x="3683" y="5063"/>
                  </a:lnTo>
                  <a:lnTo>
                    <a:pt x="3543" y="5119"/>
                  </a:lnTo>
                  <a:lnTo>
                    <a:pt x="3401" y="5167"/>
                  </a:lnTo>
                  <a:lnTo>
                    <a:pt x="3254" y="5207"/>
                  </a:lnTo>
                  <a:lnTo>
                    <a:pt x="3104" y="5238"/>
                  </a:lnTo>
                  <a:lnTo>
                    <a:pt x="2952" y="5260"/>
                  </a:lnTo>
                  <a:lnTo>
                    <a:pt x="2796" y="5274"/>
                  </a:lnTo>
                  <a:lnTo>
                    <a:pt x="2637" y="5278"/>
                  </a:lnTo>
                  <a:lnTo>
                    <a:pt x="2471" y="5272"/>
                  </a:lnTo>
                  <a:lnTo>
                    <a:pt x="2307" y="5257"/>
                  </a:lnTo>
                  <a:lnTo>
                    <a:pt x="2147" y="5233"/>
                  </a:lnTo>
                  <a:lnTo>
                    <a:pt x="1989" y="5198"/>
                  </a:lnTo>
                  <a:lnTo>
                    <a:pt x="1835" y="5153"/>
                  </a:lnTo>
                  <a:lnTo>
                    <a:pt x="1685" y="5101"/>
                  </a:lnTo>
                  <a:lnTo>
                    <a:pt x="1540" y="5039"/>
                  </a:lnTo>
                  <a:lnTo>
                    <a:pt x="1398" y="4968"/>
                  </a:lnTo>
                  <a:lnTo>
                    <a:pt x="1262" y="4891"/>
                  </a:lnTo>
                  <a:lnTo>
                    <a:pt x="1130" y="4806"/>
                  </a:lnTo>
                  <a:lnTo>
                    <a:pt x="1006" y="4713"/>
                  </a:lnTo>
                  <a:lnTo>
                    <a:pt x="887" y="4612"/>
                  </a:lnTo>
                  <a:lnTo>
                    <a:pt x="773" y="4505"/>
                  </a:lnTo>
                  <a:lnTo>
                    <a:pt x="666" y="4391"/>
                  </a:lnTo>
                  <a:lnTo>
                    <a:pt x="565" y="4272"/>
                  </a:lnTo>
                  <a:lnTo>
                    <a:pt x="472" y="4148"/>
                  </a:lnTo>
                  <a:lnTo>
                    <a:pt x="387" y="4016"/>
                  </a:lnTo>
                  <a:lnTo>
                    <a:pt x="310" y="3880"/>
                  </a:lnTo>
                  <a:lnTo>
                    <a:pt x="239" y="3738"/>
                  </a:lnTo>
                  <a:lnTo>
                    <a:pt x="178" y="3593"/>
                  </a:lnTo>
                  <a:lnTo>
                    <a:pt x="125" y="3443"/>
                  </a:lnTo>
                  <a:lnTo>
                    <a:pt x="80" y="3289"/>
                  </a:lnTo>
                  <a:lnTo>
                    <a:pt x="45" y="3131"/>
                  </a:lnTo>
                  <a:lnTo>
                    <a:pt x="21" y="2971"/>
                  </a:lnTo>
                  <a:lnTo>
                    <a:pt x="6" y="2807"/>
                  </a:lnTo>
                  <a:lnTo>
                    <a:pt x="0" y="2639"/>
                  </a:lnTo>
                  <a:lnTo>
                    <a:pt x="6" y="2473"/>
                  </a:lnTo>
                  <a:lnTo>
                    <a:pt x="21" y="2309"/>
                  </a:lnTo>
                  <a:lnTo>
                    <a:pt x="45" y="2148"/>
                  </a:lnTo>
                  <a:lnTo>
                    <a:pt x="82" y="1989"/>
                  </a:lnTo>
                  <a:lnTo>
                    <a:pt x="125" y="1835"/>
                  </a:lnTo>
                  <a:lnTo>
                    <a:pt x="178" y="1685"/>
                  </a:lnTo>
                  <a:lnTo>
                    <a:pt x="239" y="1540"/>
                  </a:lnTo>
                  <a:lnTo>
                    <a:pt x="310" y="1398"/>
                  </a:lnTo>
                  <a:lnTo>
                    <a:pt x="387" y="1264"/>
                  </a:lnTo>
                  <a:lnTo>
                    <a:pt x="474" y="1132"/>
                  </a:lnTo>
                  <a:lnTo>
                    <a:pt x="567" y="1006"/>
                  </a:lnTo>
                  <a:lnTo>
                    <a:pt x="666" y="887"/>
                  </a:lnTo>
                  <a:lnTo>
                    <a:pt x="773" y="773"/>
                  </a:lnTo>
                  <a:lnTo>
                    <a:pt x="887" y="666"/>
                  </a:lnTo>
                  <a:lnTo>
                    <a:pt x="1006" y="565"/>
                  </a:lnTo>
                  <a:lnTo>
                    <a:pt x="1132" y="474"/>
                  </a:lnTo>
                  <a:lnTo>
                    <a:pt x="1264" y="387"/>
                  </a:lnTo>
                  <a:lnTo>
                    <a:pt x="1398" y="310"/>
                  </a:lnTo>
                  <a:lnTo>
                    <a:pt x="1540" y="239"/>
                  </a:lnTo>
                  <a:lnTo>
                    <a:pt x="1685" y="178"/>
                  </a:lnTo>
                  <a:lnTo>
                    <a:pt x="1835" y="125"/>
                  </a:lnTo>
                  <a:lnTo>
                    <a:pt x="1989" y="80"/>
                  </a:lnTo>
                  <a:lnTo>
                    <a:pt x="2147" y="45"/>
                  </a:lnTo>
                  <a:lnTo>
                    <a:pt x="2309" y="21"/>
                  </a:lnTo>
                  <a:lnTo>
                    <a:pt x="2473" y="6"/>
                  </a:lnTo>
                  <a:lnTo>
                    <a:pt x="263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1800"/>
            </a:p>
          </p:txBody>
        </p:sp>
      </p:grpSp>
    </p:spTree>
    <p:extLst>
      <p:ext uri="{BB962C8B-B14F-4D97-AF65-F5344CB8AC3E}">
        <p14:creationId xmlns:p14="http://schemas.microsoft.com/office/powerpoint/2010/main" val="3604357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3217" y="2516"/>
          <a:ext cx="1629" cy="1489"/>
        </p:xfrm>
        <a:graphic>
          <a:graphicData uri="http://schemas.openxmlformats.org/presentationml/2006/ole">
            <mc:AlternateContent xmlns:mc="http://schemas.openxmlformats.org/markup-compatibility/2006">
              <mc:Choice xmlns:v="urn:schemas-microsoft-com:vml" Requires="v">
                <p:oleObj spid="_x0000_s9218"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3217" y="2516"/>
                        <a:ext cx="1629" cy="1489"/>
                      </a:xfrm>
                      <a:prstGeom prst="rect">
                        <a:avLst/>
                      </a:prstGeom>
                    </p:spPr>
                  </p:pic>
                </p:oleObj>
              </mc:Fallback>
            </mc:AlternateContent>
          </a:graphicData>
        </a:graphic>
      </p:graphicFrame>
      <p:sp>
        <p:nvSpPr>
          <p:cNvPr id="3" name="Rectangle 2" hidden="1"/>
          <p:cNvSpPr/>
          <p:nvPr>
            <p:custDataLst>
              <p:tags r:id="rId3"/>
            </p:custDataLst>
          </p:nvPr>
        </p:nvSpPr>
        <p:spPr>
          <a:xfrm>
            <a:off x="1588" y="897"/>
            <a:ext cx="162778" cy="14878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1080874" rtl="0" eaLnBrk="1" fontAlgn="auto" latinLnBrk="0" hangingPunct="1">
              <a:lnSpc>
                <a:spcPct val="100000"/>
              </a:lnSpc>
              <a:spcBef>
                <a:spcPts val="0"/>
              </a:spcBef>
              <a:spcAft>
                <a:spcPts val="0"/>
              </a:spcAft>
              <a:buClrTx/>
              <a:buSzTx/>
              <a:buFontTx/>
              <a:buNone/>
              <a:tabLst/>
              <a:defRPr/>
            </a:pPr>
            <a:endParaRPr kumimoji="0" lang="en-US" sz="3199" b="1" i="0" u="none" strike="noStrike" kern="1200" cap="none" spc="0" normalizeH="0" baseline="0" noProof="0">
              <a:ln>
                <a:noFill/>
              </a:ln>
              <a:solidFill>
                <a:prstClr val="white"/>
              </a:solidFill>
              <a:effectLst/>
              <a:uLnTx/>
              <a:uFillTx/>
              <a:latin typeface="Calibri"/>
              <a:ea typeface="+mn-ea"/>
              <a:cs typeface="+mn-cs"/>
              <a:sym typeface="Calibri"/>
            </a:endParaRPr>
          </a:p>
        </p:txBody>
      </p:sp>
      <p:sp>
        <p:nvSpPr>
          <p:cNvPr id="2" name="Title 1"/>
          <p:cNvSpPr>
            <a:spLocks noGrp="1"/>
          </p:cNvSpPr>
          <p:nvPr>
            <p:ph type="title"/>
          </p:nvPr>
        </p:nvSpPr>
        <p:spPr/>
        <p:txBody>
          <a:bodyPr/>
          <a:lstStyle/>
          <a:p>
            <a:r>
              <a:rPr lang="en-US" dirty="0"/>
              <a:t>Residential solar PV </a:t>
            </a:r>
          </a:p>
        </p:txBody>
      </p:sp>
      <p:sp>
        <p:nvSpPr>
          <p:cNvPr id="9" name="Rectangle: Rounded Corners 8">
            <a:extLst>
              <a:ext uri="{FF2B5EF4-FFF2-40B4-BE49-F238E27FC236}">
                <a16:creationId xmlns:a16="http://schemas.microsoft.com/office/drawing/2014/main" id="{38FEBB4B-9676-EFBC-E52C-C17B527D6997}"/>
              </a:ext>
            </a:extLst>
          </p:cNvPr>
          <p:cNvSpPr>
            <a:spLocks/>
          </p:cNvSpPr>
          <p:nvPr/>
        </p:nvSpPr>
        <p:spPr>
          <a:xfrm flipH="1">
            <a:off x="280416" y="771846"/>
            <a:ext cx="11631168" cy="64293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224" marR="0" lvl="0" indent="0" algn="l" defTabSz="857228"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47482487-4D77-D8CC-599A-5AD94A37C5B6}"/>
              </a:ext>
            </a:extLst>
          </p:cNvPr>
          <p:cNvSpPr/>
          <p:nvPr/>
        </p:nvSpPr>
        <p:spPr>
          <a:xfrm>
            <a:off x="1119061" y="847096"/>
            <a:ext cx="10656276" cy="492443"/>
          </a:xfrm>
          <a:prstGeom prst="rect">
            <a:avLst/>
          </a:prstGeom>
        </p:spPr>
        <p:txBody>
          <a:bodyPr wrap="square" lIns="0" tIns="0" rIns="0" bIns="0" anchor="ctr">
            <a:spAutoFit/>
          </a:bodyPr>
          <a:lstStyle/>
          <a:p>
            <a:pPr marL="0" marR="0" lvl="0" indent="0" algn="l" defTabSz="8358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High residential energy costs, concerns over grid reliability and environmental consciousness amongst the factors driving residential solar PV investment </a:t>
            </a:r>
          </a:p>
        </p:txBody>
      </p:sp>
      <p:sp>
        <p:nvSpPr>
          <p:cNvPr id="11" name="Oval 10">
            <a:extLst>
              <a:ext uri="{FF2B5EF4-FFF2-40B4-BE49-F238E27FC236}">
                <a16:creationId xmlns:a16="http://schemas.microsoft.com/office/drawing/2014/main" id="{555329F9-016D-3B9F-0808-13F72E60A335}"/>
              </a:ext>
            </a:extLst>
          </p:cNvPr>
          <p:cNvSpPr/>
          <p:nvPr/>
        </p:nvSpPr>
        <p:spPr>
          <a:xfrm>
            <a:off x="416665" y="810242"/>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B2D6A415-FF94-37C3-F358-DAA2A769C135}"/>
              </a:ext>
            </a:extLst>
          </p:cNvPr>
          <p:cNvSpPr/>
          <p:nvPr/>
        </p:nvSpPr>
        <p:spPr>
          <a:xfrm>
            <a:off x="280417" y="1071885"/>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3" name="Group 12">
            <a:extLst>
              <a:ext uri="{FF2B5EF4-FFF2-40B4-BE49-F238E27FC236}">
                <a16:creationId xmlns:a16="http://schemas.microsoft.com/office/drawing/2014/main" id="{46309AF8-495A-B2FD-0296-990DE0D9A9C5}"/>
              </a:ext>
            </a:extLst>
          </p:cNvPr>
          <p:cNvGrpSpPr/>
          <p:nvPr/>
        </p:nvGrpSpPr>
        <p:grpSpPr>
          <a:xfrm>
            <a:off x="494950" y="888527"/>
            <a:ext cx="409576" cy="409576"/>
            <a:chOff x="515413" y="-579941"/>
            <a:chExt cx="409576" cy="409576"/>
          </a:xfrm>
        </p:grpSpPr>
        <p:sp>
          <p:nvSpPr>
            <p:cNvPr id="22" name="Freeform 8">
              <a:extLst>
                <a:ext uri="{FF2B5EF4-FFF2-40B4-BE49-F238E27FC236}">
                  <a16:creationId xmlns:a16="http://schemas.microsoft.com/office/drawing/2014/main" id="{D8FB376E-5F06-19CB-9244-061E87D47BEA}"/>
                </a:ext>
              </a:extLst>
            </p:cNvPr>
            <p:cNvSpPr>
              <a:spLocks/>
            </p:cNvSpPr>
            <p:nvPr/>
          </p:nvSpPr>
          <p:spPr bwMode="auto">
            <a:xfrm>
              <a:off x="658718" y="-464428"/>
              <a:ext cx="126226" cy="51391"/>
            </a:xfrm>
            <a:custGeom>
              <a:avLst/>
              <a:gdLst>
                <a:gd name="T0" fmla="*/ 38 w 1626"/>
                <a:gd name="T1" fmla="*/ 0 h 662"/>
                <a:gd name="T2" fmla="*/ 1589 w 1626"/>
                <a:gd name="T3" fmla="*/ 0 h 662"/>
                <a:gd name="T4" fmla="*/ 1607 w 1626"/>
                <a:gd name="T5" fmla="*/ 5 h 662"/>
                <a:gd name="T6" fmla="*/ 1620 w 1626"/>
                <a:gd name="T7" fmla="*/ 19 h 662"/>
                <a:gd name="T8" fmla="*/ 1626 w 1626"/>
                <a:gd name="T9" fmla="*/ 38 h 662"/>
                <a:gd name="T10" fmla="*/ 1626 w 1626"/>
                <a:gd name="T11" fmla="*/ 624 h 662"/>
                <a:gd name="T12" fmla="*/ 1620 w 1626"/>
                <a:gd name="T13" fmla="*/ 643 h 662"/>
                <a:gd name="T14" fmla="*/ 1607 w 1626"/>
                <a:gd name="T15" fmla="*/ 657 h 662"/>
                <a:gd name="T16" fmla="*/ 1589 w 1626"/>
                <a:gd name="T17" fmla="*/ 662 h 662"/>
                <a:gd name="T18" fmla="*/ 38 w 1626"/>
                <a:gd name="T19" fmla="*/ 662 h 662"/>
                <a:gd name="T20" fmla="*/ 19 w 1626"/>
                <a:gd name="T21" fmla="*/ 657 h 662"/>
                <a:gd name="T22" fmla="*/ 5 w 1626"/>
                <a:gd name="T23" fmla="*/ 643 h 662"/>
                <a:gd name="T24" fmla="*/ 0 w 1626"/>
                <a:gd name="T25" fmla="*/ 624 h 662"/>
                <a:gd name="T26" fmla="*/ 0 w 1626"/>
                <a:gd name="T27" fmla="*/ 38 h 662"/>
                <a:gd name="T28" fmla="*/ 5 w 1626"/>
                <a:gd name="T29" fmla="*/ 19 h 662"/>
                <a:gd name="T30" fmla="*/ 19 w 1626"/>
                <a:gd name="T31" fmla="*/ 5 h 662"/>
                <a:gd name="T32" fmla="*/ 38 w 1626"/>
                <a:gd name="T33"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6" h="662">
                  <a:moveTo>
                    <a:pt x="38" y="0"/>
                  </a:moveTo>
                  <a:lnTo>
                    <a:pt x="1589" y="0"/>
                  </a:lnTo>
                  <a:lnTo>
                    <a:pt x="1607" y="5"/>
                  </a:lnTo>
                  <a:lnTo>
                    <a:pt x="1620" y="19"/>
                  </a:lnTo>
                  <a:lnTo>
                    <a:pt x="1626" y="38"/>
                  </a:lnTo>
                  <a:lnTo>
                    <a:pt x="1626" y="624"/>
                  </a:lnTo>
                  <a:lnTo>
                    <a:pt x="1620" y="643"/>
                  </a:lnTo>
                  <a:lnTo>
                    <a:pt x="1607" y="657"/>
                  </a:lnTo>
                  <a:lnTo>
                    <a:pt x="1589" y="662"/>
                  </a:lnTo>
                  <a:lnTo>
                    <a:pt x="38" y="662"/>
                  </a:lnTo>
                  <a:lnTo>
                    <a:pt x="19" y="657"/>
                  </a:lnTo>
                  <a:lnTo>
                    <a:pt x="5" y="643"/>
                  </a:lnTo>
                  <a:lnTo>
                    <a:pt x="0" y="624"/>
                  </a:lnTo>
                  <a:lnTo>
                    <a:pt x="0" y="38"/>
                  </a:lnTo>
                  <a:lnTo>
                    <a:pt x="5" y="19"/>
                  </a:lnTo>
                  <a:lnTo>
                    <a:pt x="19" y="5"/>
                  </a:lnTo>
                  <a:lnTo>
                    <a:pt x="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9">
              <a:extLst>
                <a:ext uri="{FF2B5EF4-FFF2-40B4-BE49-F238E27FC236}">
                  <a16:creationId xmlns:a16="http://schemas.microsoft.com/office/drawing/2014/main" id="{03EAA18C-0F83-D15C-2F77-9B2DB01E9703}"/>
                </a:ext>
              </a:extLst>
            </p:cNvPr>
            <p:cNvSpPr>
              <a:spLocks/>
            </p:cNvSpPr>
            <p:nvPr/>
          </p:nvSpPr>
          <p:spPr bwMode="auto">
            <a:xfrm>
              <a:off x="658718" y="-403255"/>
              <a:ext cx="126226" cy="51391"/>
            </a:xfrm>
            <a:custGeom>
              <a:avLst/>
              <a:gdLst>
                <a:gd name="T0" fmla="*/ 38 w 1626"/>
                <a:gd name="T1" fmla="*/ 0 h 662"/>
                <a:gd name="T2" fmla="*/ 1589 w 1626"/>
                <a:gd name="T3" fmla="*/ 0 h 662"/>
                <a:gd name="T4" fmla="*/ 1607 w 1626"/>
                <a:gd name="T5" fmla="*/ 5 h 662"/>
                <a:gd name="T6" fmla="*/ 1620 w 1626"/>
                <a:gd name="T7" fmla="*/ 19 h 662"/>
                <a:gd name="T8" fmla="*/ 1626 w 1626"/>
                <a:gd name="T9" fmla="*/ 38 h 662"/>
                <a:gd name="T10" fmla="*/ 1626 w 1626"/>
                <a:gd name="T11" fmla="*/ 624 h 662"/>
                <a:gd name="T12" fmla="*/ 1620 w 1626"/>
                <a:gd name="T13" fmla="*/ 643 h 662"/>
                <a:gd name="T14" fmla="*/ 1607 w 1626"/>
                <a:gd name="T15" fmla="*/ 656 h 662"/>
                <a:gd name="T16" fmla="*/ 1589 w 1626"/>
                <a:gd name="T17" fmla="*/ 662 h 662"/>
                <a:gd name="T18" fmla="*/ 38 w 1626"/>
                <a:gd name="T19" fmla="*/ 662 h 662"/>
                <a:gd name="T20" fmla="*/ 19 w 1626"/>
                <a:gd name="T21" fmla="*/ 656 h 662"/>
                <a:gd name="T22" fmla="*/ 5 w 1626"/>
                <a:gd name="T23" fmla="*/ 643 h 662"/>
                <a:gd name="T24" fmla="*/ 0 w 1626"/>
                <a:gd name="T25" fmla="*/ 624 h 662"/>
                <a:gd name="T26" fmla="*/ 0 w 1626"/>
                <a:gd name="T27" fmla="*/ 38 h 662"/>
                <a:gd name="T28" fmla="*/ 5 w 1626"/>
                <a:gd name="T29" fmla="*/ 19 h 662"/>
                <a:gd name="T30" fmla="*/ 19 w 1626"/>
                <a:gd name="T31" fmla="*/ 5 h 662"/>
                <a:gd name="T32" fmla="*/ 38 w 1626"/>
                <a:gd name="T33" fmla="*/ 0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626" h="662">
                  <a:moveTo>
                    <a:pt x="38" y="0"/>
                  </a:moveTo>
                  <a:lnTo>
                    <a:pt x="1589" y="0"/>
                  </a:lnTo>
                  <a:lnTo>
                    <a:pt x="1607" y="5"/>
                  </a:lnTo>
                  <a:lnTo>
                    <a:pt x="1620" y="19"/>
                  </a:lnTo>
                  <a:lnTo>
                    <a:pt x="1626" y="38"/>
                  </a:lnTo>
                  <a:lnTo>
                    <a:pt x="1626" y="624"/>
                  </a:lnTo>
                  <a:lnTo>
                    <a:pt x="1620" y="643"/>
                  </a:lnTo>
                  <a:lnTo>
                    <a:pt x="1607" y="656"/>
                  </a:lnTo>
                  <a:lnTo>
                    <a:pt x="1589" y="662"/>
                  </a:lnTo>
                  <a:lnTo>
                    <a:pt x="38" y="662"/>
                  </a:lnTo>
                  <a:lnTo>
                    <a:pt x="19" y="656"/>
                  </a:lnTo>
                  <a:lnTo>
                    <a:pt x="5" y="643"/>
                  </a:lnTo>
                  <a:lnTo>
                    <a:pt x="0" y="624"/>
                  </a:lnTo>
                  <a:lnTo>
                    <a:pt x="0" y="38"/>
                  </a:lnTo>
                  <a:lnTo>
                    <a:pt x="5" y="19"/>
                  </a:lnTo>
                  <a:lnTo>
                    <a:pt x="19" y="5"/>
                  </a:lnTo>
                  <a:lnTo>
                    <a:pt x="38"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4" name="Freeform 10">
              <a:extLst>
                <a:ext uri="{FF2B5EF4-FFF2-40B4-BE49-F238E27FC236}">
                  <a16:creationId xmlns:a16="http://schemas.microsoft.com/office/drawing/2014/main" id="{1956710B-EEEB-5801-CF34-9D92786E43E5}"/>
                </a:ext>
              </a:extLst>
            </p:cNvPr>
            <p:cNvSpPr>
              <a:spLocks/>
            </p:cNvSpPr>
            <p:nvPr/>
          </p:nvSpPr>
          <p:spPr bwMode="auto">
            <a:xfrm>
              <a:off x="658718" y="-341927"/>
              <a:ext cx="126226" cy="45181"/>
            </a:xfrm>
            <a:custGeom>
              <a:avLst/>
              <a:gdLst>
                <a:gd name="T0" fmla="*/ 100 w 1626"/>
                <a:gd name="T1" fmla="*/ 0 h 582"/>
                <a:gd name="T2" fmla="*/ 1525 w 1626"/>
                <a:gd name="T3" fmla="*/ 0 h 582"/>
                <a:gd name="T4" fmla="*/ 1555 w 1626"/>
                <a:gd name="T5" fmla="*/ 3 h 582"/>
                <a:gd name="T6" fmla="*/ 1581 w 1626"/>
                <a:gd name="T7" fmla="*/ 15 h 582"/>
                <a:gd name="T8" fmla="*/ 1601 w 1626"/>
                <a:gd name="T9" fmla="*/ 34 h 582"/>
                <a:gd name="T10" fmla="*/ 1617 w 1626"/>
                <a:gd name="T11" fmla="*/ 58 h 582"/>
                <a:gd name="T12" fmla="*/ 1626 w 1626"/>
                <a:gd name="T13" fmla="*/ 86 h 582"/>
                <a:gd name="T14" fmla="*/ 1553 w 1626"/>
                <a:gd name="T15" fmla="*/ 115 h 582"/>
                <a:gd name="T16" fmla="*/ 1489 w 1626"/>
                <a:gd name="T17" fmla="*/ 148 h 582"/>
                <a:gd name="T18" fmla="*/ 1432 w 1626"/>
                <a:gd name="T19" fmla="*/ 186 h 582"/>
                <a:gd name="T20" fmla="*/ 1382 w 1626"/>
                <a:gd name="T21" fmla="*/ 224 h 582"/>
                <a:gd name="T22" fmla="*/ 1337 w 1626"/>
                <a:gd name="T23" fmla="*/ 266 h 582"/>
                <a:gd name="T24" fmla="*/ 1297 w 1626"/>
                <a:gd name="T25" fmla="*/ 309 h 582"/>
                <a:gd name="T26" fmla="*/ 1263 w 1626"/>
                <a:gd name="T27" fmla="*/ 350 h 582"/>
                <a:gd name="T28" fmla="*/ 1233 w 1626"/>
                <a:gd name="T29" fmla="*/ 392 h 582"/>
                <a:gd name="T30" fmla="*/ 1207 w 1626"/>
                <a:gd name="T31" fmla="*/ 430 h 582"/>
                <a:gd name="T32" fmla="*/ 1185 w 1626"/>
                <a:gd name="T33" fmla="*/ 466 h 582"/>
                <a:gd name="T34" fmla="*/ 1164 w 1626"/>
                <a:gd name="T35" fmla="*/ 501 h 582"/>
                <a:gd name="T36" fmla="*/ 1149 w 1626"/>
                <a:gd name="T37" fmla="*/ 523 h 582"/>
                <a:gd name="T38" fmla="*/ 1128 w 1626"/>
                <a:gd name="T39" fmla="*/ 546 h 582"/>
                <a:gd name="T40" fmla="*/ 1105 w 1626"/>
                <a:gd name="T41" fmla="*/ 565 h 582"/>
                <a:gd name="T42" fmla="*/ 1081 w 1626"/>
                <a:gd name="T43" fmla="*/ 577 h 582"/>
                <a:gd name="T44" fmla="*/ 1057 w 1626"/>
                <a:gd name="T45" fmla="*/ 582 h 582"/>
                <a:gd name="T46" fmla="*/ 1045 w 1626"/>
                <a:gd name="T47" fmla="*/ 582 h 582"/>
                <a:gd name="T48" fmla="*/ 903 w 1626"/>
                <a:gd name="T49" fmla="*/ 578 h 582"/>
                <a:gd name="T50" fmla="*/ 763 w 1626"/>
                <a:gd name="T51" fmla="*/ 565 h 582"/>
                <a:gd name="T52" fmla="*/ 627 w 1626"/>
                <a:gd name="T53" fmla="*/ 544 h 582"/>
                <a:gd name="T54" fmla="*/ 494 w 1626"/>
                <a:gd name="T55" fmla="*/ 514 h 582"/>
                <a:gd name="T56" fmla="*/ 364 w 1626"/>
                <a:gd name="T57" fmla="*/ 476 h 582"/>
                <a:gd name="T58" fmla="*/ 238 w 1626"/>
                <a:gd name="T59" fmla="*/ 432 h 582"/>
                <a:gd name="T60" fmla="*/ 117 w 1626"/>
                <a:gd name="T61" fmla="*/ 378 h 582"/>
                <a:gd name="T62" fmla="*/ 0 w 1626"/>
                <a:gd name="T63" fmla="*/ 317 h 582"/>
                <a:gd name="T64" fmla="*/ 0 w 1626"/>
                <a:gd name="T65" fmla="*/ 98 h 582"/>
                <a:gd name="T66" fmla="*/ 5 w 1626"/>
                <a:gd name="T67" fmla="*/ 67 h 582"/>
                <a:gd name="T68" fmla="*/ 19 w 1626"/>
                <a:gd name="T69" fmla="*/ 39 h 582"/>
                <a:gd name="T70" fmla="*/ 41 w 1626"/>
                <a:gd name="T71" fmla="*/ 19 h 582"/>
                <a:gd name="T72" fmla="*/ 69 w 1626"/>
                <a:gd name="T73" fmla="*/ 5 h 582"/>
                <a:gd name="T74" fmla="*/ 100 w 1626"/>
                <a:gd name="T75" fmla="*/ 0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26" h="582">
                  <a:moveTo>
                    <a:pt x="100" y="0"/>
                  </a:moveTo>
                  <a:lnTo>
                    <a:pt x="1525" y="0"/>
                  </a:lnTo>
                  <a:lnTo>
                    <a:pt x="1555" y="3"/>
                  </a:lnTo>
                  <a:lnTo>
                    <a:pt x="1581" y="15"/>
                  </a:lnTo>
                  <a:lnTo>
                    <a:pt x="1601" y="34"/>
                  </a:lnTo>
                  <a:lnTo>
                    <a:pt x="1617" y="58"/>
                  </a:lnTo>
                  <a:lnTo>
                    <a:pt x="1626" y="86"/>
                  </a:lnTo>
                  <a:lnTo>
                    <a:pt x="1553" y="115"/>
                  </a:lnTo>
                  <a:lnTo>
                    <a:pt x="1489" y="148"/>
                  </a:lnTo>
                  <a:lnTo>
                    <a:pt x="1432" y="186"/>
                  </a:lnTo>
                  <a:lnTo>
                    <a:pt x="1382" y="224"/>
                  </a:lnTo>
                  <a:lnTo>
                    <a:pt x="1337" y="266"/>
                  </a:lnTo>
                  <a:lnTo>
                    <a:pt x="1297" y="309"/>
                  </a:lnTo>
                  <a:lnTo>
                    <a:pt x="1263" y="350"/>
                  </a:lnTo>
                  <a:lnTo>
                    <a:pt x="1233" y="392"/>
                  </a:lnTo>
                  <a:lnTo>
                    <a:pt x="1207" y="430"/>
                  </a:lnTo>
                  <a:lnTo>
                    <a:pt x="1185" y="466"/>
                  </a:lnTo>
                  <a:lnTo>
                    <a:pt x="1164" y="501"/>
                  </a:lnTo>
                  <a:lnTo>
                    <a:pt x="1149" y="523"/>
                  </a:lnTo>
                  <a:lnTo>
                    <a:pt x="1128" y="546"/>
                  </a:lnTo>
                  <a:lnTo>
                    <a:pt x="1105" y="565"/>
                  </a:lnTo>
                  <a:lnTo>
                    <a:pt x="1081" y="577"/>
                  </a:lnTo>
                  <a:lnTo>
                    <a:pt x="1057" y="582"/>
                  </a:lnTo>
                  <a:lnTo>
                    <a:pt x="1045" y="582"/>
                  </a:lnTo>
                  <a:lnTo>
                    <a:pt x="903" y="578"/>
                  </a:lnTo>
                  <a:lnTo>
                    <a:pt x="763" y="565"/>
                  </a:lnTo>
                  <a:lnTo>
                    <a:pt x="627" y="544"/>
                  </a:lnTo>
                  <a:lnTo>
                    <a:pt x="494" y="514"/>
                  </a:lnTo>
                  <a:lnTo>
                    <a:pt x="364" y="476"/>
                  </a:lnTo>
                  <a:lnTo>
                    <a:pt x="238" y="432"/>
                  </a:lnTo>
                  <a:lnTo>
                    <a:pt x="117" y="378"/>
                  </a:lnTo>
                  <a:lnTo>
                    <a:pt x="0" y="317"/>
                  </a:lnTo>
                  <a:lnTo>
                    <a:pt x="0" y="98"/>
                  </a:lnTo>
                  <a:lnTo>
                    <a:pt x="5" y="67"/>
                  </a:lnTo>
                  <a:lnTo>
                    <a:pt x="19" y="39"/>
                  </a:lnTo>
                  <a:lnTo>
                    <a:pt x="41" y="19"/>
                  </a:lnTo>
                  <a:lnTo>
                    <a:pt x="69" y="5"/>
                  </a:lnTo>
                  <a:lnTo>
                    <a:pt x="100"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6" name="Freeform 11">
              <a:extLst>
                <a:ext uri="{FF2B5EF4-FFF2-40B4-BE49-F238E27FC236}">
                  <a16:creationId xmlns:a16="http://schemas.microsoft.com/office/drawing/2014/main" id="{A9F51669-A24F-A4CB-65C7-B12B5A16494F}"/>
                </a:ext>
              </a:extLst>
            </p:cNvPr>
            <p:cNvSpPr>
              <a:spLocks/>
            </p:cNvSpPr>
            <p:nvPr/>
          </p:nvSpPr>
          <p:spPr bwMode="auto">
            <a:xfrm>
              <a:off x="637137" y="-509142"/>
              <a:ext cx="169389" cy="184604"/>
            </a:xfrm>
            <a:custGeom>
              <a:avLst/>
              <a:gdLst>
                <a:gd name="T0" fmla="*/ 686 w 2183"/>
                <a:gd name="T1" fmla="*/ 0 h 2377"/>
                <a:gd name="T2" fmla="*/ 1499 w 2183"/>
                <a:gd name="T3" fmla="*/ 0 h 2377"/>
                <a:gd name="T4" fmla="*/ 1526 w 2183"/>
                <a:gd name="T5" fmla="*/ 3 h 2377"/>
                <a:gd name="T6" fmla="*/ 1552 w 2183"/>
                <a:gd name="T7" fmla="*/ 14 h 2377"/>
                <a:gd name="T8" fmla="*/ 1573 w 2183"/>
                <a:gd name="T9" fmla="*/ 31 h 2377"/>
                <a:gd name="T10" fmla="*/ 1590 w 2183"/>
                <a:gd name="T11" fmla="*/ 52 h 2377"/>
                <a:gd name="T12" fmla="*/ 1600 w 2183"/>
                <a:gd name="T13" fmla="*/ 77 h 2377"/>
                <a:gd name="T14" fmla="*/ 1604 w 2183"/>
                <a:gd name="T15" fmla="*/ 105 h 2377"/>
                <a:gd name="T16" fmla="*/ 1604 w 2183"/>
                <a:gd name="T17" fmla="*/ 273 h 2377"/>
                <a:gd name="T18" fmla="*/ 2010 w 2183"/>
                <a:gd name="T19" fmla="*/ 273 h 2377"/>
                <a:gd name="T20" fmla="*/ 2050 w 2183"/>
                <a:gd name="T21" fmla="*/ 278 h 2377"/>
                <a:gd name="T22" fmla="*/ 2086 w 2183"/>
                <a:gd name="T23" fmla="*/ 290 h 2377"/>
                <a:gd name="T24" fmla="*/ 2119 w 2183"/>
                <a:gd name="T25" fmla="*/ 311 h 2377"/>
                <a:gd name="T26" fmla="*/ 2145 w 2183"/>
                <a:gd name="T27" fmla="*/ 337 h 2377"/>
                <a:gd name="T28" fmla="*/ 2166 w 2183"/>
                <a:gd name="T29" fmla="*/ 370 h 2377"/>
                <a:gd name="T30" fmla="*/ 2178 w 2183"/>
                <a:gd name="T31" fmla="*/ 406 h 2377"/>
                <a:gd name="T32" fmla="*/ 2183 w 2183"/>
                <a:gd name="T33" fmla="*/ 444 h 2377"/>
                <a:gd name="T34" fmla="*/ 2183 w 2183"/>
                <a:gd name="T35" fmla="*/ 2187 h 2377"/>
                <a:gd name="T36" fmla="*/ 2119 w 2183"/>
                <a:gd name="T37" fmla="*/ 2193 h 2377"/>
                <a:gd name="T38" fmla="*/ 2058 w 2183"/>
                <a:gd name="T39" fmla="*/ 2201 h 2377"/>
                <a:gd name="T40" fmla="*/ 2058 w 2183"/>
                <a:gd name="T41" fmla="*/ 444 h 2377"/>
                <a:gd name="T42" fmla="*/ 2055 w 2183"/>
                <a:gd name="T43" fmla="*/ 427 h 2377"/>
                <a:gd name="T44" fmla="*/ 2045 w 2183"/>
                <a:gd name="T45" fmla="*/ 411 h 2377"/>
                <a:gd name="T46" fmla="*/ 2029 w 2183"/>
                <a:gd name="T47" fmla="*/ 401 h 2377"/>
                <a:gd name="T48" fmla="*/ 2010 w 2183"/>
                <a:gd name="T49" fmla="*/ 397 h 2377"/>
                <a:gd name="T50" fmla="*/ 173 w 2183"/>
                <a:gd name="T51" fmla="*/ 397 h 2377"/>
                <a:gd name="T52" fmla="*/ 154 w 2183"/>
                <a:gd name="T53" fmla="*/ 401 h 2377"/>
                <a:gd name="T54" fmla="*/ 139 w 2183"/>
                <a:gd name="T55" fmla="*/ 411 h 2377"/>
                <a:gd name="T56" fmla="*/ 130 w 2183"/>
                <a:gd name="T57" fmla="*/ 427 h 2377"/>
                <a:gd name="T58" fmla="*/ 125 w 2183"/>
                <a:gd name="T59" fmla="*/ 444 h 2377"/>
                <a:gd name="T60" fmla="*/ 125 w 2183"/>
                <a:gd name="T61" fmla="*/ 2377 h 2377"/>
                <a:gd name="T62" fmla="*/ 63 w 2183"/>
                <a:gd name="T63" fmla="*/ 2331 h 2377"/>
                <a:gd name="T64" fmla="*/ 0 w 2183"/>
                <a:gd name="T65" fmla="*/ 2282 h 2377"/>
                <a:gd name="T66" fmla="*/ 0 w 2183"/>
                <a:gd name="T67" fmla="*/ 444 h 2377"/>
                <a:gd name="T68" fmla="*/ 6 w 2183"/>
                <a:gd name="T69" fmla="*/ 406 h 2377"/>
                <a:gd name="T70" fmla="*/ 19 w 2183"/>
                <a:gd name="T71" fmla="*/ 370 h 2377"/>
                <a:gd name="T72" fmla="*/ 38 w 2183"/>
                <a:gd name="T73" fmla="*/ 337 h 2377"/>
                <a:gd name="T74" fmla="*/ 66 w 2183"/>
                <a:gd name="T75" fmla="*/ 311 h 2377"/>
                <a:gd name="T76" fmla="*/ 97 w 2183"/>
                <a:gd name="T77" fmla="*/ 290 h 2377"/>
                <a:gd name="T78" fmla="*/ 133 w 2183"/>
                <a:gd name="T79" fmla="*/ 278 h 2377"/>
                <a:gd name="T80" fmla="*/ 173 w 2183"/>
                <a:gd name="T81" fmla="*/ 273 h 2377"/>
                <a:gd name="T82" fmla="*/ 579 w 2183"/>
                <a:gd name="T83" fmla="*/ 273 h 2377"/>
                <a:gd name="T84" fmla="*/ 579 w 2183"/>
                <a:gd name="T85" fmla="*/ 105 h 2377"/>
                <a:gd name="T86" fmla="*/ 584 w 2183"/>
                <a:gd name="T87" fmla="*/ 77 h 2377"/>
                <a:gd name="T88" fmla="*/ 595 w 2183"/>
                <a:gd name="T89" fmla="*/ 52 h 2377"/>
                <a:gd name="T90" fmla="*/ 610 w 2183"/>
                <a:gd name="T91" fmla="*/ 31 h 2377"/>
                <a:gd name="T92" fmla="*/ 633 w 2183"/>
                <a:gd name="T93" fmla="*/ 14 h 2377"/>
                <a:gd name="T94" fmla="*/ 659 w 2183"/>
                <a:gd name="T95" fmla="*/ 3 h 2377"/>
                <a:gd name="T96" fmla="*/ 686 w 2183"/>
                <a:gd name="T97" fmla="*/ 0 h 2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183" h="2377">
                  <a:moveTo>
                    <a:pt x="686" y="0"/>
                  </a:moveTo>
                  <a:lnTo>
                    <a:pt x="1499" y="0"/>
                  </a:lnTo>
                  <a:lnTo>
                    <a:pt x="1526" y="3"/>
                  </a:lnTo>
                  <a:lnTo>
                    <a:pt x="1552" y="14"/>
                  </a:lnTo>
                  <a:lnTo>
                    <a:pt x="1573" y="31"/>
                  </a:lnTo>
                  <a:lnTo>
                    <a:pt x="1590" y="52"/>
                  </a:lnTo>
                  <a:lnTo>
                    <a:pt x="1600" y="77"/>
                  </a:lnTo>
                  <a:lnTo>
                    <a:pt x="1604" y="105"/>
                  </a:lnTo>
                  <a:lnTo>
                    <a:pt x="1604" y="273"/>
                  </a:lnTo>
                  <a:lnTo>
                    <a:pt x="2010" y="273"/>
                  </a:lnTo>
                  <a:lnTo>
                    <a:pt x="2050" y="278"/>
                  </a:lnTo>
                  <a:lnTo>
                    <a:pt x="2086" y="290"/>
                  </a:lnTo>
                  <a:lnTo>
                    <a:pt x="2119" y="311"/>
                  </a:lnTo>
                  <a:lnTo>
                    <a:pt x="2145" y="337"/>
                  </a:lnTo>
                  <a:lnTo>
                    <a:pt x="2166" y="370"/>
                  </a:lnTo>
                  <a:lnTo>
                    <a:pt x="2178" y="406"/>
                  </a:lnTo>
                  <a:lnTo>
                    <a:pt x="2183" y="444"/>
                  </a:lnTo>
                  <a:lnTo>
                    <a:pt x="2183" y="2187"/>
                  </a:lnTo>
                  <a:lnTo>
                    <a:pt x="2119" y="2193"/>
                  </a:lnTo>
                  <a:lnTo>
                    <a:pt x="2058" y="2201"/>
                  </a:lnTo>
                  <a:lnTo>
                    <a:pt x="2058" y="444"/>
                  </a:lnTo>
                  <a:lnTo>
                    <a:pt x="2055" y="427"/>
                  </a:lnTo>
                  <a:lnTo>
                    <a:pt x="2045" y="411"/>
                  </a:lnTo>
                  <a:lnTo>
                    <a:pt x="2029" y="401"/>
                  </a:lnTo>
                  <a:lnTo>
                    <a:pt x="2010" y="397"/>
                  </a:lnTo>
                  <a:lnTo>
                    <a:pt x="173" y="397"/>
                  </a:lnTo>
                  <a:lnTo>
                    <a:pt x="154" y="401"/>
                  </a:lnTo>
                  <a:lnTo>
                    <a:pt x="139" y="411"/>
                  </a:lnTo>
                  <a:lnTo>
                    <a:pt x="130" y="427"/>
                  </a:lnTo>
                  <a:lnTo>
                    <a:pt x="125" y="444"/>
                  </a:lnTo>
                  <a:lnTo>
                    <a:pt x="125" y="2377"/>
                  </a:lnTo>
                  <a:lnTo>
                    <a:pt x="63" y="2331"/>
                  </a:lnTo>
                  <a:lnTo>
                    <a:pt x="0" y="2282"/>
                  </a:lnTo>
                  <a:lnTo>
                    <a:pt x="0" y="444"/>
                  </a:lnTo>
                  <a:lnTo>
                    <a:pt x="6" y="406"/>
                  </a:lnTo>
                  <a:lnTo>
                    <a:pt x="19" y="370"/>
                  </a:lnTo>
                  <a:lnTo>
                    <a:pt x="38" y="337"/>
                  </a:lnTo>
                  <a:lnTo>
                    <a:pt x="66" y="311"/>
                  </a:lnTo>
                  <a:lnTo>
                    <a:pt x="97" y="290"/>
                  </a:lnTo>
                  <a:lnTo>
                    <a:pt x="133" y="278"/>
                  </a:lnTo>
                  <a:lnTo>
                    <a:pt x="173" y="273"/>
                  </a:lnTo>
                  <a:lnTo>
                    <a:pt x="579" y="273"/>
                  </a:lnTo>
                  <a:lnTo>
                    <a:pt x="579" y="105"/>
                  </a:lnTo>
                  <a:lnTo>
                    <a:pt x="584" y="77"/>
                  </a:lnTo>
                  <a:lnTo>
                    <a:pt x="595" y="52"/>
                  </a:lnTo>
                  <a:lnTo>
                    <a:pt x="610" y="31"/>
                  </a:lnTo>
                  <a:lnTo>
                    <a:pt x="633" y="14"/>
                  </a:lnTo>
                  <a:lnTo>
                    <a:pt x="659" y="3"/>
                  </a:lnTo>
                  <a:lnTo>
                    <a:pt x="686"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27" name="Freeform 12">
              <a:extLst>
                <a:ext uri="{FF2B5EF4-FFF2-40B4-BE49-F238E27FC236}">
                  <a16:creationId xmlns:a16="http://schemas.microsoft.com/office/drawing/2014/main" id="{819E26AF-0BA6-D48F-3C01-FB85C45D4A05}"/>
                </a:ext>
              </a:extLst>
            </p:cNvPr>
            <p:cNvSpPr>
              <a:spLocks/>
            </p:cNvSpPr>
            <p:nvPr/>
          </p:nvSpPr>
          <p:spPr bwMode="auto">
            <a:xfrm>
              <a:off x="515413" y="-579941"/>
              <a:ext cx="409576" cy="409576"/>
            </a:xfrm>
            <a:custGeom>
              <a:avLst/>
              <a:gdLst>
                <a:gd name="T0" fmla="*/ 3443 w 5278"/>
                <a:gd name="T1" fmla="*/ 125 h 5278"/>
                <a:gd name="T2" fmla="*/ 4272 w 5278"/>
                <a:gd name="T3" fmla="*/ 565 h 5278"/>
                <a:gd name="T4" fmla="*/ 4891 w 5278"/>
                <a:gd name="T5" fmla="*/ 1262 h 5278"/>
                <a:gd name="T6" fmla="*/ 5233 w 5278"/>
                <a:gd name="T7" fmla="*/ 2147 h 5278"/>
                <a:gd name="T8" fmla="*/ 5233 w 5278"/>
                <a:gd name="T9" fmla="*/ 3126 h 5278"/>
                <a:gd name="T10" fmla="*/ 4897 w 5278"/>
                <a:gd name="T11" fmla="*/ 4004 h 5278"/>
                <a:gd name="T12" fmla="*/ 4383 w 5278"/>
                <a:gd name="T13" fmla="*/ 4274 h 5278"/>
                <a:gd name="T14" fmla="*/ 4856 w 5278"/>
                <a:gd name="T15" fmla="*/ 3534 h 5278"/>
                <a:gd name="T16" fmla="*/ 5029 w 5278"/>
                <a:gd name="T17" fmla="*/ 2639 h 5278"/>
                <a:gd name="T18" fmla="*/ 4842 w 5278"/>
                <a:gd name="T19" fmla="*/ 1709 h 5278"/>
                <a:gd name="T20" fmla="*/ 4329 w 5278"/>
                <a:gd name="T21" fmla="*/ 949 h 5278"/>
                <a:gd name="T22" fmla="*/ 3569 w 5278"/>
                <a:gd name="T23" fmla="*/ 436 h 5278"/>
                <a:gd name="T24" fmla="*/ 2637 w 5278"/>
                <a:gd name="T25" fmla="*/ 249 h 5278"/>
                <a:gd name="T26" fmla="*/ 1721 w 5278"/>
                <a:gd name="T27" fmla="*/ 431 h 5278"/>
                <a:gd name="T28" fmla="*/ 1143 w 5278"/>
                <a:gd name="T29" fmla="*/ 837 h 5278"/>
                <a:gd name="T30" fmla="*/ 849 w 5278"/>
                <a:gd name="T31" fmla="*/ 1433 h 5278"/>
                <a:gd name="T32" fmla="*/ 870 w 5278"/>
                <a:gd name="T33" fmla="*/ 2228 h 5278"/>
                <a:gd name="T34" fmla="*/ 1206 w 5278"/>
                <a:gd name="T35" fmla="*/ 2938 h 5278"/>
                <a:gd name="T36" fmla="*/ 1803 w 5278"/>
                <a:gd name="T37" fmla="*/ 3460 h 5278"/>
                <a:gd name="T38" fmla="*/ 2598 w 5278"/>
                <a:gd name="T39" fmla="*/ 3722 h 5278"/>
                <a:gd name="T40" fmla="*/ 3061 w 5278"/>
                <a:gd name="T41" fmla="*/ 3676 h 5278"/>
                <a:gd name="T42" fmla="*/ 3208 w 5278"/>
                <a:gd name="T43" fmla="*/ 3470 h 5278"/>
                <a:gd name="T44" fmla="*/ 3406 w 5278"/>
                <a:gd name="T45" fmla="*/ 3278 h 5278"/>
                <a:gd name="T46" fmla="*/ 3779 w 5278"/>
                <a:gd name="T47" fmla="*/ 3189 h 5278"/>
                <a:gd name="T48" fmla="*/ 4161 w 5278"/>
                <a:gd name="T49" fmla="*/ 3296 h 5278"/>
                <a:gd name="T50" fmla="*/ 4410 w 5278"/>
                <a:gd name="T51" fmla="*/ 3598 h 5278"/>
                <a:gd name="T52" fmla="*/ 3838 w 5278"/>
                <a:gd name="T53" fmla="*/ 3728 h 5278"/>
                <a:gd name="T54" fmla="*/ 3819 w 5278"/>
                <a:gd name="T55" fmla="*/ 4391 h 5278"/>
                <a:gd name="T56" fmla="*/ 4446 w 5278"/>
                <a:gd name="T57" fmla="*/ 4485 h 5278"/>
                <a:gd name="T58" fmla="*/ 4208 w 5278"/>
                <a:gd name="T59" fmla="*/ 4815 h 5278"/>
                <a:gd name="T60" fmla="*/ 3857 w 5278"/>
                <a:gd name="T61" fmla="*/ 4958 h 5278"/>
                <a:gd name="T62" fmla="*/ 3451 w 5278"/>
                <a:gd name="T63" fmla="*/ 4903 h 5278"/>
                <a:gd name="T64" fmla="*/ 3232 w 5278"/>
                <a:gd name="T65" fmla="*/ 4735 h 5278"/>
                <a:gd name="T66" fmla="*/ 3090 w 5278"/>
                <a:gd name="T67" fmla="*/ 4542 h 5278"/>
                <a:gd name="T68" fmla="*/ 2712 w 5278"/>
                <a:gd name="T69" fmla="*/ 4491 h 5278"/>
                <a:gd name="T70" fmla="*/ 2010 w 5278"/>
                <a:gd name="T71" fmla="*/ 4415 h 5278"/>
                <a:gd name="T72" fmla="*/ 1305 w 5278"/>
                <a:gd name="T73" fmla="*/ 4085 h 5278"/>
                <a:gd name="T74" fmla="*/ 797 w 5278"/>
                <a:gd name="T75" fmla="*/ 3576 h 5278"/>
                <a:gd name="T76" fmla="*/ 500 w 5278"/>
                <a:gd name="T77" fmla="*/ 2962 h 5278"/>
                <a:gd name="T78" fmla="*/ 394 w 5278"/>
                <a:gd name="T79" fmla="*/ 2314 h 5278"/>
                <a:gd name="T80" fmla="*/ 460 w 5278"/>
                <a:gd name="T81" fmla="*/ 1696 h 5278"/>
                <a:gd name="T82" fmla="*/ 268 w 5278"/>
                <a:gd name="T83" fmla="*/ 2325 h 5278"/>
                <a:gd name="T84" fmla="*/ 334 w 5278"/>
                <a:gd name="T85" fmla="*/ 3275 h 5278"/>
                <a:gd name="T86" fmla="*/ 747 w 5278"/>
                <a:gd name="T87" fmla="*/ 4099 h 5278"/>
                <a:gd name="T88" fmla="*/ 1433 w 5278"/>
                <a:gd name="T89" fmla="*/ 4704 h 5278"/>
                <a:gd name="T90" fmla="*/ 2314 w 5278"/>
                <a:gd name="T91" fmla="*/ 5008 h 5278"/>
                <a:gd name="T92" fmla="*/ 3168 w 5278"/>
                <a:gd name="T93" fmla="*/ 4970 h 5278"/>
                <a:gd name="T94" fmla="*/ 3546 w 5278"/>
                <a:gd name="T95" fmla="*/ 5044 h 5278"/>
                <a:gd name="T96" fmla="*/ 3104 w 5278"/>
                <a:gd name="T97" fmla="*/ 5238 h 5278"/>
                <a:gd name="T98" fmla="*/ 2147 w 5278"/>
                <a:gd name="T99" fmla="*/ 5233 h 5278"/>
                <a:gd name="T100" fmla="*/ 1262 w 5278"/>
                <a:gd name="T101" fmla="*/ 4891 h 5278"/>
                <a:gd name="T102" fmla="*/ 565 w 5278"/>
                <a:gd name="T103" fmla="*/ 4272 h 5278"/>
                <a:gd name="T104" fmla="*/ 125 w 5278"/>
                <a:gd name="T105" fmla="*/ 3443 h 5278"/>
                <a:gd name="T106" fmla="*/ 6 w 5278"/>
                <a:gd name="T107" fmla="*/ 2473 h 5278"/>
                <a:gd name="T108" fmla="*/ 239 w 5278"/>
                <a:gd name="T109" fmla="*/ 1540 h 5278"/>
                <a:gd name="T110" fmla="*/ 773 w 5278"/>
                <a:gd name="T111" fmla="*/ 773 h 5278"/>
                <a:gd name="T112" fmla="*/ 1540 w 5278"/>
                <a:gd name="T113" fmla="*/ 239 h 5278"/>
                <a:gd name="T114" fmla="*/ 2473 w 5278"/>
                <a:gd name="T115" fmla="*/ 6 h 5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78" h="5278">
                  <a:moveTo>
                    <a:pt x="2639" y="0"/>
                  </a:moveTo>
                  <a:lnTo>
                    <a:pt x="2807" y="6"/>
                  </a:lnTo>
                  <a:lnTo>
                    <a:pt x="2971" y="21"/>
                  </a:lnTo>
                  <a:lnTo>
                    <a:pt x="3131" y="45"/>
                  </a:lnTo>
                  <a:lnTo>
                    <a:pt x="3289" y="80"/>
                  </a:lnTo>
                  <a:lnTo>
                    <a:pt x="3443" y="125"/>
                  </a:lnTo>
                  <a:lnTo>
                    <a:pt x="3593" y="178"/>
                  </a:lnTo>
                  <a:lnTo>
                    <a:pt x="3738" y="239"/>
                  </a:lnTo>
                  <a:lnTo>
                    <a:pt x="3880" y="310"/>
                  </a:lnTo>
                  <a:lnTo>
                    <a:pt x="4016" y="387"/>
                  </a:lnTo>
                  <a:lnTo>
                    <a:pt x="4148" y="472"/>
                  </a:lnTo>
                  <a:lnTo>
                    <a:pt x="4272" y="565"/>
                  </a:lnTo>
                  <a:lnTo>
                    <a:pt x="4391" y="666"/>
                  </a:lnTo>
                  <a:lnTo>
                    <a:pt x="4505" y="773"/>
                  </a:lnTo>
                  <a:lnTo>
                    <a:pt x="4612" y="887"/>
                  </a:lnTo>
                  <a:lnTo>
                    <a:pt x="4713" y="1006"/>
                  </a:lnTo>
                  <a:lnTo>
                    <a:pt x="4806" y="1132"/>
                  </a:lnTo>
                  <a:lnTo>
                    <a:pt x="4891" y="1262"/>
                  </a:lnTo>
                  <a:lnTo>
                    <a:pt x="4968" y="1398"/>
                  </a:lnTo>
                  <a:lnTo>
                    <a:pt x="5039" y="1540"/>
                  </a:lnTo>
                  <a:lnTo>
                    <a:pt x="5100" y="1685"/>
                  </a:lnTo>
                  <a:lnTo>
                    <a:pt x="5153" y="1835"/>
                  </a:lnTo>
                  <a:lnTo>
                    <a:pt x="5198" y="1989"/>
                  </a:lnTo>
                  <a:lnTo>
                    <a:pt x="5233" y="2147"/>
                  </a:lnTo>
                  <a:lnTo>
                    <a:pt x="5257" y="2309"/>
                  </a:lnTo>
                  <a:lnTo>
                    <a:pt x="5272" y="2473"/>
                  </a:lnTo>
                  <a:lnTo>
                    <a:pt x="5278" y="2639"/>
                  </a:lnTo>
                  <a:lnTo>
                    <a:pt x="5272" y="2805"/>
                  </a:lnTo>
                  <a:lnTo>
                    <a:pt x="5257" y="2967"/>
                  </a:lnTo>
                  <a:lnTo>
                    <a:pt x="5233" y="3126"/>
                  </a:lnTo>
                  <a:lnTo>
                    <a:pt x="5198" y="3284"/>
                  </a:lnTo>
                  <a:lnTo>
                    <a:pt x="5155" y="3436"/>
                  </a:lnTo>
                  <a:lnTo>
                    <a:pt x="5103" y="3584"/>
                  </a:lnTo>
                  <a:lnTo>
                    <a:pt x="5043" y="3729"/>
                  </a:lnTo>
                  <a:lnTo>
                    <a:pt x="4975" y="3869"/>
                  </a:lnTo>
                  <a:lnTo>
                    <a:pt x="4897" y="4004"/>
                  </a:lnTo>
                  <a:lnTo>
                    <a:pt x="4815" y="4134"/>
                  </a:lnTo>
                  <a:lnTo>
                    <a:pt x="4723" y="4260"/>
                  </a:lnTo>
                  <a:lnTo>
                    <a:pt x="4624" y="4377"/>
                  </a:lnTo>
                  <a:lnTo>
                    <a:pt x="4624" y="4377"/>
                  </a:lnTo>
                  <a:lnTo>
                    <a:pt x="4279" y="4377"/>
                  </a:lnTo>
                  <a:lnTo>
                    <a:pt x="4383" y="4274"/>
                  </a:lnTo>
                  <a:lnTo>
                    <a:pt x="4479" y="4165"/>
                  </a:lnTo>
                  <a:lnTo>
                    <a:pt x="4569" y="4049"/>
                  </a:lnTo>
                  <a:lnTo>
                    <a:pt x="4652" y="3928"/>
                  </a:lnTo>
                  <a:lnTo>
                    <a:pt x="4728" y="3800"/>
                  </a:lnTo>
                  <a:lnTo>
                    <a:pt x="4797" y="3669"/>
                  </a:lnTo>
                  <a:lnTo>
                    <a:pt x="4856" y="3534"/>
                  </a:lnTo>
                  <a:lnTo>
                    <a:pt x="4908" y="3394"/>
                  </a:lnTo>
                  <a:lnTo>
                    <a:pt x="4951" y="3249"/>
                  </a:lnTo>
                  <a:lnTo>
                    <a:pt x="4984" y="3102"/>
                  </a:lnTo>
                  <a:lnTo>
                    <a:pt x="5010" y="2950"/>
                  </a:lnTo>
                  <a:lnTo>
                    <a:pt x="5024" y="2796"/>
                  </a:lnTo>
                  <a:lnTo>
                    <a:pt x="5029" y="2639"/>
                  </a:lnTo>
                  <a:lnTo>
                    <a:pt x="5024" y="2475"/>
                  </a:lnTo>
                  <a:lnTo>
                    <a:pt x="5008" y="2314"/>
                  </a:lnTo>
                  <a:lnTo>
                    <a:pt x="4980" y="2157"/>
                  </a:lnTo>
                  <a:lnTo>
                    <a:pt x="4944" y="2003"/>
                  </a:lnTo>
                  <a:lnTo>
                    <a:pt x="4897" y="1854"/>
                  </a:lnTo>
                  <a:lnTo>
                    <a:pt x="4842" y="1709"/>
                  </a:lnTo>
                  <a:lnTo>
                    <a:pt x="4777" y="1568"/>
                  </a:lnTo>
                  <a:lnTo>
                    <a:pt x="4702" y="1433"/>
                  </a:lnTo>
                  <a:lnTo>
                    <a:pt x="4621" y="1303"/>
                  </a:lnTo>
                  <a:lnTo>
                    <a:pt x="4531" y="1179"/>
                  </a:lnTo>
                  <a:lnTo>
                    <a:pt x="4434" y="1060"/>
                  </a:lnTo>
                  <a:lnTo>
                    <a:pt x="4329" y="949"/>
                  </a:lnTo>
                  <a:lnTo>
                    <a:pt x="4218" y="844"/>
                  </a:lnTo>
                  <a:lnTo>
                    <a:pt x="4099" y="747"/>
                  </a:lnTo>
                  <a:lnTo>
                    <a:pt x="3975" y="657"/>
                  </a:lnTo>
                  <a:lnTo>
                    <a:pt x="3845" y="574"/>
                  </a:lnTo>
                  <a:lnTo>
                    <a:pt x="3710" y="501"/>
                  </a:lnTo>
                  <a:lnTo>
                    <a:pt x="3569" y="436"/>
                  </a:lnTo>
                  <a:lnTo>
                    <a:pt x="3424" y="381"/>
                  </a:lnTo>
                  <a:lnTo>
                    <a:pt x="3275" y="334"/>
                  </a:lnTo>
                  <a:lnTo>
                    <a:pt x="3121" y="298"/>
                  </a:lnTo>
                  <a:lnTo>
                    <a:pt x="2964" y="270"/>
                  </a:lnTo>
                  <a:lnTo>
                    <a:pt x="2803" y="254"/>
                  </a:lnTo>
                  <a:lnTo>
                    <a:pt x="2637" y="249"/>
                  </a:lnTo>
                  <a:lnTo>
                    <a:pt x="2478" y="254"/>
                  </a:lnTo>
                  <a:lnTo>
                    <a:pt x="2319" y="270"/>
                  </a:lnTo>
                  <a:lnTo>
                    <a:pt x="2164" y="296"/>
                  </a:lnTo>
                  <a:lnTo>
                    <a:pt x="2013" y="330"/>
                  </a:lnTo>
                  <a:lnTo>
                    <a:pt x="1865" y="377"/>
                  </a:lnTo>
                  <a:lnTo>
                    <a:pt x="1721" y="431"/>
                  </a:lnTo>
                  <a:lnTo>
                    <a:pt x="1583" y="495"/>
                  </a:lnTo>
                  <a:lnTo>
                    <a:pt x="1483" y="548"/>
                  </a:lnTo>
                  <a:lnTo>
                    <a:pt x="1388" y="610"/>
                  </a:lnTo>
                  <a:lnTo>
                    <a:pt x="1300" y="679"/>
                  </a:lnTo>
                  <a:lnTo>
                    <a:pt x="1217" y="755"/>
                  </a:lnTo>
                  <a:lnTo>
                    <a:pt x="1143" y="837"/>
                  </a:lnTo>
                  <a:lnTo>
                    <a:pt x="1073" y="925"/>
                  </a:lnTo>
                  <a:lnTo>
                    <a:pt x="1011" y="1018"/>
                  </a:lnTo>
                  <a:lnTo>
                    <a:pt x="959" y="1115"/>
                  </a:lnTo>
                  <a:lnTo>
                    <a:pt x="913" y="1217"/>
                  </a:lnTo>
                  <a:lnTo>
                    <a:pt x="876" y="1322"/>
                  </a:lnTo>
                  <a:lnTo>
                    <a:pt x="849" y="1433"/>
                  </a:lnTo>
                  <a:lnTo>
                    <a:pt x="830" y="1545"/>
                  </a:lnTo>
                  <a:lnTo>
                    <a:pt x="819" y="1685"/>
                  </a:lnTo>
                  <a:lnTo>
                    <a:pt x="818" y="1825"/>
                  </a:lnTo>
                  <a:lnTo>
                    <a:pt x="825" y="1962"/>
                  </a:lnTo>
                  <a:lnTo>
                    <a:pt x="842" y="2096"/>
                  </a:lnTo>
                  <a:lnTo>
                    <a:pt x="870" y="2228"/>
                  </a:lnTo>
                  <a:lnTo>
                    <a:pt x="904" y="2356"/>
                  </a:lnTo>
                  <a:lnTo>
                    <a:pt x="949" y="2482"/>
                  </a:lnTo>
                  <a:lnTo>
                    <a:pt x="1001" y="2601"/>
                  </a:lnTo>
                  <a:lnTo>
                    <a:pt x="1061" y="2718"/>
                  </a:lnTo>
                  <a:lnTo>
                    <a:pt x="1130" y="2831"/>
                  </a:lnTo>
                  <a:lnTo>
                    <a:pt x="1206" y="2938"/>
                  </a:lnTo>
                  <a:lnTo>
                    <a:pt x="1289" y="3040"/>
                  </a:lnTo>
                  <a:lnTo>
                    <a:pt x="1379" y="3137"/>
                  </a:lnTo>
                  <a:lnTo>
                    <a:pt x="1476" y="3227"/>
                  </a:lnTo>
                  <a:lnTo>
                    <a:pt x="1580" y="3311"/>
                  </a:lnTo>
                  <a:lnTo>
                    <a:pt x="1689" y="3389"/>
                  </a:lnTo>
                  <a:lnTo>
                    <a:pt x="1803" y="3460"/>
                  </a:lnTo>
                  <a:lnTo>
                    <a:pt x="1924" y="3524"/>
                  </a:lnTo>
                  <a:lnTo>
                    <a:pt x="2050" y="3579"/>
                  </a:lnTo>
                  <a:lnTo>
                    <a:pt x="2179" y="3627"/>
                  </a:lnTo>
                  <a:lnTo>
                    <a:pt x="2314" y="3669"/>
                  </a:lnTo>
                  <a:lnTo>
                    <a:pt x="2454" y="3700"/>
                  </a:lnTo>
                  <a:lnTo>
                    <a:pt x="2598" y="3722"/>
                  </a:lnTo>
                  <a:lnTo>
                    <a:pt x="2744" y="3736"/>
                  </a:lnTo>
                  <a:lnTo>
                    <a:pt x="2895" y="3740"/>
                  </a:lnTo>
                  <a:lnTo>
                    <a:pt x="2940" y="3736"/>
                  </a:lnTo>
                  <a:lnTo>
                    <a:pt x="2983" y="3722"/>
                  </a:lnTo>
                  <a:lnTo>
                    <a:pt x="3023" y="3702"/>
                  </a:lnTo>
                  <a:lnTo>
                    <a:pt x="3061" y="3676"/>
                  </a:lnTo>
                  <a:lnTo>
                    <a:pt x="3093" y="3645"/>
                  </a:lnTo>
                  <a:lnTo>
                    <a:pt x="3123" y="3608"/>
                  </a:lnTo>
                  <a:lnTo>
                    <a:pt x="3149" y="3569"/>
                  </a:lnTo>
                  <a:lnTo>
                    <a:pt x="3166" y="3538"/>
                  </a:lnTo>
                  <a:lnTo>
                    <a:pt x="3187" y="3503"/>
                  </a:lnTo>
                  <a:lnTo>
                    <a:pt x="3208" y="3470"/>
                  </a:lnTo>
                  <a:lnTo>
                    <a:pt x="3233" y="3436"/>
                  </a:lnTo>
                  <a:lnTo>
                    <a:pt x="3259" y="3401"/>
                  </a:lnTo>
                  <a:lnTo>
                    <a:pt x="3290" y="3368"/>
                  </a:lnTo>
                  <a:lnTo>
                    <a:pt x="3325" y="3337"/>
                  </a:lnTo>
                  <a:lnTo>
                    <a:pt x="3363" y="3306"/>
                  </a:lnTo>
                  <a:lnTo>
                    <a:pt x="3406" y="3278"/>
                  </a:lnTo>
                  <a:lnTo>
                    <a:pt x="3453" y="3252"/>
                  </a:lnTo>
                  <a:lnTo>
                    <a:pt x="3506" y="3232"/>
                  </a:lnTo>
                  <a:lnTo>
                    <a:pt x="3565" y="3214"/>
                  </a:lnTo>
                  <a:lnTo>
                    <a:pt x="3629" y="3201"/>
                  </a:lnTo>
                  <a:lnTo>
                    <a:pt x="3702" y="3192"/>
                  </a:lnTo>
                  <a:lnTo>
                    <a:pt x="3779" y="3189"/>
                  </a:lnTo>
                  <a:lnTo>
                    <a:pt x="3857" y="3192"/>
                  </a:lnTo>
                  <a:lnTo>
                    <a:pt x="3928" y="3201"/>
                  </a:lnTo>
                  <a:lnTo>
                    <a:pt x="3994" y="3216"/>
                  </a:lnTo>
                  <a:lnTo>
                    <a:pt x="4054" y="3237"/>
                  </a:lnTo>
                  <a:lnTo>
                    <a:pt x="4110" y="3265"/>
                  </a:lnTo>
                  <a:lnTo>
                    <a:pt x="4161" y="3296"/>
                  </a:lnTo>
                  <a:lnTo>
                    <a:pt x="4208" y="3334"/>
                  </a:lnTo>
                  <a:lnTo>
                    <a:pt x="4253" y="3377"/>
                  </a:lnTo>
                  <a:lnTo>
                    <a:pt x="4294" y="3425"/>
                  </a:lnTo>
                  <a:lnTo>
                    <a:pt x="4334" y="3477"/>
                  </a:lnTo>
                  <a:lnTo>
                    <a:pt x="4372" y="3536"/>
                  </a:lnTo>
                  <a:lnTo>
                    <a:pt x="4410" y="3598"/>
                  </a:lnTo>
                  <a:lnTo>
                    <a:pt x="4446" y="3664"/>
                  </a:lnTo>
                  <a:lnTo>
                    <a:pt x="3966" y="3664"/>
                  </a:lnTo>
                  <a:lnTo>
                    <a:pt x="3928" y="3669"/>
                  </a:lnTo>
                  <a:lnTo>
                    <a:pt x="3894" y="3681"/>
                  </a:lnTo>
                  <a:lnTo>
                    <a:pt x="3864" y="3702"/>
                  </a:lnTo>
                  <a:lnTo>
                    <a:pt x="3838" y="3728"/>
                  </a:lnTo>
                  <a:lnTo>
                    <a:pt x="3819" y="3759"/>
                  </a:lnTo>
                  <a:lnTo>
                    <a:pt x="3807" y="3793"/>
                  </a:lnTo>
                  <a:lnTo>
                    <a:pt x="3804" y="3833"/>
                  </a:lnTo>
                  <a:lnTo>
                    <a:pt x="3804" y="4317"/>
                  </a:lnTo>
                  <a:lnTo>
                    <a:pt x="3807" y="4355"/>
                  </a:lnTo>
                  <a:lnTo>
                    <a:pt x="3819" y="4391"/>
                  </a:lnTo>
                  <a:lnTo>
                    <a:pt x="3838" y="4422"/>
                  </a:lnTo>
                  <a:lnTo>
                    <a:pt x="3864" y="4448"/>
                  </a:lnTo>
                  <a:lnTo>
                    <a:pt x="3894" y="4469"/>
                  </a:lnTo>
                  <a:lnTo>
                    <a:pt x="3928" y="4481"/>
                  </a:lnTo>
                  <a:lnTo>
                    <a:pt x="3966" y="4485"/>
                  </a:lnTo>
                  <a:lnTo>
                    <a:pt x="4446" y="4485"/>
                  </a:lnTo>
                  <a:lnTo>
                    <a:pt x="4410" y="4552"/>
                  </a:lnTo>
                  <a:lnTo>
                    <a:pt x="4372" y="4614"/>
                  </a:lnTo>
                  <a:lnTo>
                    <a:pt x="4334" y="4671"/>
                  </a:lnTo>
                  <a:lnTo>
                    <a:pt x="4294" y="4725"/>
                  </a:lnTo>
                  <a:lnTo>
                    <a:pt x="4253" y="4773"/>
                  </a:lnTo>
                  <a:lnTo>
                    <a:pt x="4208" y="4815"/>
                  </a:lnTo>
                  <a:lnTo>
                    <a:pt x="4161" y="4853"/>
                  </a:lnTo>
                  <a:lnTo>
                    <a:pt x="4110" y="4885"/>
                  </a:lnTo>
                  <a:lnTo>
                    <a:pt x="4054" y="4911"/>
                  </a:lnTo>
                  <a:lnTo>
                    <a:pt x="3994" y="4932"/>
                  </a:lnTo>
                  <a:lnTo>
                    <a:pt x="3928" y="4948"/>
                  </a:lnTo>
                  <a:lnTo>
                    <a:pt x="3857" y="4958"/>
                  </a:lnTo>
                  <a:lnTo>
                    <a:pt x="3779" y="4960"/>
                  </a:lnTo>
                  <a:lnTo>
                    <a:pt x="3700" y="4958"/>
                  </a:lnTo>
                  <a:lnTo>
                    <a:pt x="3629" y="4949"/>
                  </a:lnTo>
                  <a:lnTo>
                    <a:pt x="3563" y="4937"/>
                  </a:lnTo>
                  <a:lnTo>
                    <a:pt x="3505" y="4922"/>
                  </a:lnTo>
                  <a:lnTo>
                    <a:pt x="3451" y="4903"/>
                  </a:lnTo>
                  <a:lnTo>
                    <a:pt x="3405" y="4878"/>
                  </a:lnTo>
                  <a:lnTo>
                    <a:pt x="3361" y="4854"/>
                  </a:lnTo>
                  <a:lnTo>
                    <a:pt x="3323" y="4827"/>
                  </a:lnTo>
                  <a:lnTo>
                    <a:pt x="3289" y="4797"/>
                  </a:lnTo>
                  <a:lnTo>
                    <a:pt x="3259" y="4766"/>
                  </a:lnTo>
                  <a:lnTo>
                    <a:pt x="3232" y="4735"/>
                  </a:lnTo>
                  <a:lnTo>
                    <a:pt x="3208" y="4704"/>
                  </a:lnTo>
                  <a:lnTo>
                    <a:pt x="3187" y="4673"/>
                  </a:lnTo>
                  <a:lnTo>
                    <a:pt x="3168" y="4642"/>
                  </a:lnTo>
                  <a:lnTo>
                    <a:pt x="3150" y="4612"/>
                  </a:lnTo>
                  <a:lnTo>
                    <a:pt x="3123" y="4574"/>
                  </a:lnTo>
                  <a:lnTo>
                    <a:pt x="3090" y="4542"/>
                  </a:lnTo>
                  <a:lnTo>
                    <a:pt x="3052" y="4517"/>
                  </a:lnTo>
                  <a:lnTo>
                    <a:pt x="3012" y="4500"/>
                  </a:lnTo>
                  <a:lnTo>
                    <a:pt x="2969" y="4490"/>
                  </a:lnTo>
                  <a:lnTo>
                    <a:pt x="2922" y="4488"/>
                  </a:lnTo>
                  <a:lnTo>
                    <a:pt x="2820" y="4491"/>
                  </a:lnTo>
                  <a:lnTo>
                    <a:pt x="2712" y="4491"/>
                  </a:lnTo>
                  <a:lnTo>
                    <a:pt x="2598" y="4488"/>
                  </a:lnTo>
                  <a:lnTo>
                    <a:pt x="2480" y="4483"/>
                  </a:lnTo>
                  <a:lnTo>
                    <a:pt x="2359" y="4472"/>
                  </a:lnTo>
                  <a:lnTo>
                    <a:pt x="2240" y="4457"/>
                  </a:lnTo>
                  <a:lnTo>
                    <a:pt x="2122" y="4438"/>
                  </a:lnTo>
                  <a:lnTo>
                    <a:pt x="2010" y="4415"/>
                  </a:lnTo>
                  <a:lnTo>
                    <a:pt x="1903" y="4388"/>
                  </a:lnTo>
                  <a:lnTo>
                    <a:pt x="1770" y="4338"/>
                  </a:lnTo>
                  <a:lnTo>
                    <a:pt x="1644" y="4282"/>
                  </a:lnTo>
                  <a:lnTo>
                    <a:pt x="1524" y="4222"/>
                  </a:lnTo>
                  <a:lnTo>
                    <a:pt x="1410" y="4156"/>
                  </a:lnTo>
                  <a:lnTo>
                    <a:pt x="1305" y="4085"/>
                  </a:lnTo>
                  <a:lnTo>
                    <a:pt x="1205" y="4011"/>
                  </a:lnTo>
                  <a:lnTo>
                    <a:pt x="1110" y="3932"/>
                  </a:lnTo>
                  <a:lnTo>
                    <a:pt x="1023" y="3847"/>
                  </a:lnTo>
                  <a:lnTo>
                    <a:pt x="942" y="3760"/>
                  </a:lnTo>
                  <a:lnTo>
                    <a:pt x="866" y="3669"/>
                  </a:lnTo>
                  <a:lnTo>
                    <a:pt x="797" y="3576"/>
                  </a:lnTo>
                  <a:lnTo>
                    <a:pt x="733" y="3479"/>
                  </a:lnTo>
                  <a:lnTo>
                    <a:pt x="674" y="3379"/>
                  </a:lnTo>
                  <a:lnTo>
                    <a:pt x="622" y="3277"/>
                  </a:lnTo>
                  <a:lnTo>
                    <a:pt x="576" y="3173"/>
                  </a:lnTo>
                  <a:lnTo>
                    <a:pt x="534" y="3069"/>
                  </a:lnTo>
                  <a:lnTo>
                    <a:pt x="500" y="2962"/>
                  </a:lnTo>
                  <a:lnTo>
                    <a:pt x="469" y="2855"/>
                  </a:lnTo>
                  <a:lnTo>
                    <a:pt x="444" y="2748"/>
                  </a:lnTo>
                  <a:lnTo>
                    <a:pt x="424" y="2637"/>
                  </a:lnTo>
                  <a:lnTo>
                    <a:pt x="408" y="2530"/>
                  </a:lnTo>
                  <a:lnTo>
                    <a:pt x="400" y="2421"/>
                  </a:lnTo>
                  <a:lnTo>
                    <a:pt x="394" y="2314"/>
                  </a:lnTo>
                  <a:lnTo>
                    <a:pt x="393" y="2207"/>
                  </a:lnTo>
                  <a:lnTo>
                    <a:pt x="398" y="2102"/>
                  </a:lnTo>
                  <a:lnTo>
                    <a:pt x="406" y="1996"/>
                  </a:lnTo>
                  <a:lnTo>
                    <a:pt x="420" y="1894"/>
                  </a:lnTo>
                  <a:lnTo>
                    <a:pt x="438" y="1794"/>
                  </a:lnTo>
                  <a:lnTo>
                    <a:pt x="460" y="1696"/>
                  </a:lnTo>
                  <a:lnTo>
                    <a:pt x="486" y="1600"/>
                  </a:lnTo>
                  <a:lnTo>
                    <a:pt x="425" y="1737"/>
                  </a:lnTo>
                  <a:lnTo>
                    <a:pt x="372" y="1879"/>
                  </a:lnTo>
                  <a:lnTo>
                    <a:pt x="329" y="2024"/>
                  </a:lnTo>
                  <a:lnTo>
                    <a:pt x="294" y="2172"/>
                  </a:lnTo>
                  <a:lnTo>
                    <a:pt x="268" y="2325"/>
                  </a:lnTo>
                  <a:lnTo>
                    <a:pt x="254" y="2480"/>
                  </a:lnTo>
                  <a:lnTo>
                    <a:pt x="249" y="2639"/>
                  </a:lnTo>
                  <a:lnTo>
                    <a:pt x="254" y="2803"/>
                  </a:lnTo>
                  <a:lnTo>
                    <a:pt x="270" y="2964"/>
                  </a:lnTo>
                  <a:lnTo>
                    <a:pt x="298" y="3121"/>
                  </a:lnTo>
                  <a:lnTo>
                    <a:pt x="334" y="3275"/>
                  </a:lnTo>
                  <a:lnTo>
                    <a:pt x="381" y="3425"/>
                  </a:lnTo>
                  <a:lnTo>
                    <a:pt x="436" y="3570"/>
                  </a:lnTo>
                  <a:lnTo>
                    <a:pt x="501" y="3710"/>
                  </a:lnTo>
                  <a:lnTo>
                    <a:pt x="576" y="3845"/>
                  </a:lnTo>
                  <a:lnTo>
                    <a:pt x="657" y="3976"/>
                  </a:lnTo>
                  <a:lnTo>
                    <a:pt x="747" y="4099"/>
                  </a:lnTo>
                  <a:lnTo>
                    <a:pt x="844" y="4218"/>
                  </a:lnTo>
                  <a:lnTo>
                    <a:pt x="949" y="4329"/>
                  </a:lnTo>
                  <a:lnTo>
                    <a:pt x="1060" y="4434"/>
                  </a:lnTo>
                  <a:lnTo>
                    <a:pt x="1179" y="4531"/>
                  </a:lnTo>
                  <a:lnTo>
                    <a:pt x="1302" y="4621"/>
                  </a:lnTo>
                  <a:lnTo>
                    <a:pt x="1433" y="4704"/>
                  </a:lnTo>
                  <a:lnTo>
                    <a:pt x="1568" y="4777"/>
                  </a:lnTo>
                  <a:lnTo>
                    <a:pt x="1708" y="4842"/>
                  </a:lnTo>
                  <a:lnTo>
                    <a:pt x="1854" y="4897"/>
                  </a:lnTo>
                  <a:lnTo>
                    <a:pt x="2003" y="4944"/>
                  </a:lnTo>
                  <a:lnTo>
                    <a:pt x="2157" y="4980"/>
                  </a:lnTo>
                  <a:lnTo>
                    <a:pt x="2314" y="5008"/>
                  </a:lnTo>
                  <a:lnTo>
                    <a:pt x="2475" y="5024"/>
                  </a:lnTo>
                  <a:lnTo>
                    <a:pt x="2637" y="5029"/>
                  </a:lnTo>
                  <a:lnTo>
                    <a:pt x="2774" y="5025"/>
                  </a:lnTo>
                  <a:lnTo>
                    <a:pt x="2909" y="5015"/>
                  </a:lnTo>
                  <a:lnTo>
                    <a:pt x="3040" y="4996"/>
                  </a:lnTo>
                  <a:lnTo>
                    <a:pt x="3168" y="4970"/>
                  </a:lnTo>
                  <a:lnTo>
                    <a:pt x="3294" y="4939"/>
                  </a:lnTo>
                  <a:lnTo>
                    <a:pt x="3335" y="4965"/>
                  </a:lnTo>
                  <a:lnTo>
                    <a:pt x="3382" y="4989"/>
                  </a:lnTo>
                  <a:lnTo>
                    <a:pt x="3432" y="5010"/>
                  </a:lnTo>
                  <a:lnTo>
                    <a:pt x="3486" y="5029"/>
                  </a:lnTo>
                  <a:lnTo>
                    <a:pt x="3546" y="5044"/>
                  </a:lnTo>
                  <a:lnTo>
                    <a:pt x="3612" y="5056"/>
                  </a:lnTo>
                  <a:lnTo>
                    <a:pt x="3683" y="5063"/>
                  </a:lnTo>
                  <a:lnTo>
                    <a:pt x="3543" y="5119"/>
                  </a:lnTo>
                  <a:lnTo>
                    <a:pt x="3401" y="5167"/>
                  </a:lnTo>
                  <a:lnTo>
                    <a:pt x="3254" y="5207"/>
                  </a:lnTo>
                  <a:lnTo>
                    <a:pt x="3104" y="5238"/>
                  </a:lnTo>
                  <a:lnTo>
                    <a:pt x="2952" y="5260"/>
                  </a:lnTo>
                  <a:lnTo>
                    <a:pt x="2796" y="5274"/>
                  </a:lnTo>
                  <a:lnTo>
                    <a:pt x="2637" y="5278"/>
                  </a:lnTo>
                  <a:lnTo>
                    <a:pt x="2471" y="5272"/>
                  </a:lnTo>
                  <a:lnTo>
                    <a:pt x="2307" y="5257"/>
                  </a:lnTo>
                  <a:lnTo>
                    <a:pt x="2147" y="5233"/>
                  </a:lnTo>
                  <a:lnTo>
                    <a:pt x="1989" y="5198"/>
                  </a:lnTo>
                  <a:lnTo>
                    <a:pt x="1835" y="5153"/>
                  </a:lnTo>
                  <a:lnTo>
                    <a:pt x="1685" y="5101"/>
                  </a:lnTo>
                  <a:lnTo>
                    <a:pt x="1540" y="5039"/>
                  </a:lnTo>
                  <a:lnTo>
                    <a:pt x="1398" y="4968"/>
                  </a:lnTo>
                  <a:lnTo>
                    <a:pt x="1262" y="4891"/>
                  </a:lnTo>
                  <a:lnTo>
                    <a:pt x="1130" y="4806"/>
                  </a:lnTo>
                  <a:lnTo>
                    <a:pt x="1006" y="4713"/>
                  </a:lnTo>
                  <a:lnTo>
                    <a:pt x="887" y="4612"/>
                  </a:lnTo>
                  <a:lnTo>
                    <a:pt x="773" y="4505"/>
                  </a:lnTo>
                  <a:lnTo>
                    <a:pt x="666" y="4391"/>
                  </a:lnTo>
                  <a:lnTo>
                    <a:pt x="565" y="4272"/>
                  </a:lnTo>
                  <a:lnTo>
                    <a:pt x="472" y="4148"/>
                  </a:lnTo>
                  <a:lnTo>
                    <a:pt x="387" y="4016"/>
                  </a:lnTo>
                  <a:lnTo>
                    <a:pt x="310" y="3880"/>
                  </a:lnTo>
                  <a:lnTo>
                    <a:pt x="239" y="3738"/>
                  </a:lnTo>
                  <a:lnTo>
                    <a:pt x="178" y="3593"/>
                  </a:lnTo>
                  <a:lnTo>
                    <a:pt x="125" y="3443"/>
                  </a:lnTo>
                  <a:lnTo>
                    <a:pt x="80" y="3289"/>
                  </a:lnTo>
                  <a:lnTo>
                    <a:pt x="45" y="3131"/>
                  </a:lnTo>
                  <a:lnTo>
                    <a:pt x="21" y="2971"/>
                  </a:lnTo>
                  <a:lnTo>
                    <a:pt x="6" y="2807"/>
                  </a:lnTo>
                  <a:lnTo>
                    <a:pt x="0" y="2639"/>
                  </a:lnTo>
                  <a:lnTo>
                    <a:pt x="6" y="2473"/>
                  </a:lnTo>
                  <a:lnTo>
                    <a:pt x="21" y="2309"/>
                  </a:lnTo>
                  <a:lnTo>
                    <a:pt x="45" y="2148"/>
                  </a:lnTo>
                  <a:lnTo>
                    <a:pt x="82" y="1989"/>
                  </a:lnTo>
                  <a:lnTo>
                    <a:pt x="125" y="1835"/>
                  </a:lnTo>
                  <a:lnTo>
                    <a:pt x="178" y="1685"/>
                  </a:lnTo>
                  <a:lnTo>
                    <a:pt x="239" y="1540"/>
                  </a:lnTo>
                  <a:lnTo>
                    <a:pt x="310" y="1398"/>
                  </a:lnTo>
                  <a:lnTo>
                    <a:pt x="387" y="1264"/>
                  </a:lnTo>
                  <a:lnTo>
                    <a:pt x="474" y="1132"/>
                  </a:lnTo>
                  <a:lnTo>
                    <a:pt x="567" y="1006"/>
                  </a:lnTo>
                  <a:lnTo>
                    <a:pt x="666" y="887"/>
                  </a:lnTo>
                  <a:lnTo>
                    <a:pt x="773" y="773"/>
                  </a:lnTo>
                  <a:lnTo>
                    <a:pt x="887" y="666"/>
                  </a:lnTo>
                  <a:lnTo>
                    <a:pt x="1006" y="565"/>
                  </a:lnTo>
                  <a:lnTo>
                    <a:pt x="1132" y="474"/>
                  </a:lnTo>
                  <a:lnTo>
                    <a:pt x="1264" y="387"/>
                  </a:lnTo>
                  <a:lnTo>
                    <a:pt x="1398" y="310"/>
                  </a:lnTo>
                  <a:lnTo>
                    <a:pt x="1540" y="239"/>
                  </a:lnTo>
                  <a:lnTo>
                    <a:pt x="1685" y="178"/>
                  </a:lnTo>
                  <a:lnTo>
                    <a:pt x="1835" y="125"/>
                  </a:lnTo>
                  <a:lnTo>
                    <a:pt x="1989" y="80"/>
                  </a:lnTo>
                  <a:lnTo>
                    <a:pt x="2147" y="45"/>
                  </a:lnTo>
                  <a:lnTo>
                    <a:pt x="2309" y="21"/>
                  </a:lnTo>
                  <a:lnTo>
                    <a:pt x="2473" y="6"/>
                  </a:lnTo>
                  <a:lnTo>
                    <a:pt x="2639" y="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aphicFrame>
        <p:nvGraphicFramePr>
          <p:cNvPr id="15" name="Chart 14">
            <a:extLst>
              <a:ext uri="{FF2B5EF4-FFF2-40B4-BE49-F238E27FC236}">
                <a16:creationId xmlns:a16="http://schemas.microsoft.com/office/drawing/2014/main" id="{1E535501-DB5E-0B02-CC07-64123A36C0C1}"/>
              </a:ext>
            </a:extLst>
          </p:cNvPr>
          <p:cNvGraphicFramePr/>
          <p:nvPr/>
        </p:nvGraphicFramePr>
        <p:xfrm>
          <a:off x="98115" y="1802493"/>
          <a:ext cx="7352898" cy="454703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6" name="Chart 15">
            <a:extLst>
              <a:ext uri="{FF2B5EF4-FFF2-40B4-BE49-F238E27FC236}">
                <a16:creationId xmlns:a16="http://schemas.microsoft.com/office/drawing/2014/main" id="{A6AE5B13-C542-691F-4B74-E89290DB8F0E}"/>
              </a:ext>
            </a:extLst>
          </p:cNvPr>
          <p:cNvGraphicFramePr>
            <a:graphicFrameLocks/>
          </p:cNvGraphicFramePr>
          <p:nvPr/>
        </p:nvGraphicFramePr>
        <p:xfrm>
          <a:off x="7573161" y="1507737"/>
          <a:ext cx="4520726" cy="4841788"/>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Box 16">
            <a:extLst>
              <a:ext uri="{FF2B5EF4-FFF2-40B4-BE49-F238E27FC236}">
                <a16:creationId xmlns:a16="http://schemas.microsoft.com/office/drawing/2014/main" id="{66E7EE32-3574-1334-3A94-C45E59F4315C}"/>
              </a:ext>
            </a:extLst>
          </p:cNvPr>
          <p:cNvSpPr txBox="1"/>
          <p:nvPr/>
        </p:nvSpPr>
        <p:spPr>
          <a:xfrm>
            <a:off x="8345510" y="1860605"/>
            <a:ext cx="2976028" cy="169277"/>
          </a:xfrm>
          <a:prstGeom prst="rect">
            <a:avLst/>
          </a:prstGeom>
        </p:spPr>
        <p:txBody>
          <a:bodyPr wrap="square" lIns="0" tIns="0" rIns="0" bIns="0">
            <a:spAutoFit/>
          </a:bodyPr>
          <a:lstStyle>
            <a:defPPr>
              <a:defRPr lang="en-US"/>
            </a:defPPr>
            <a:lvl1pPr algn="ctr" defTabSz="914400">
              <a:buSzPct val="75000"/>
              <a:defRPr sz="1400" b="1" kern="0">
                <a:solidFill>
                  <a:srgbClr val="17426B"/>
                </a:solidFill>
                <a:cs typeface="Arial" charset="0"/>
              </a:defRPr>
            </a:lvl1pPr>
          </a:lstStyle>
          <a:p>
            <a:pPr marL="0" marR="0" lvl="0" indent="0" algn="ctr" defTabSz="914400" eaLnBrk="1" fontAlgn="auto" latinLnBrk="0" hangingPunct="1">
              <a:lnSpc>
                <a:spcPct val="100000"/>
              </a:lnSpc>
              <a:spcBef>
                <a:spcPts val="0"/>
              </a:spcBef>
              <a:spcAft>
                <a:spcPts val="0"/>
              </a:spcAft>
              <a:buClrTx/>
              <a:buSzPct val="75000"/>
              <a:buFontTx/>
              <a:buNone/>
              <a:tabLst/>
              <a:defRPr/>
            </a:pPr>
            <a:r>
              <a:rPr kumimoji="0" lang="en-US" sz="1100" b="1" i="0" u="none" strike="noStrike" kern="0" cap="none" spc="0" normalizeH="0" baseline="0" noProof="0" dirty="0">
                <a:ln>
                  <a:noFill/>
                </a:ln>
                <a:solidFill>
                  <a:srgbClr val="172D55"/>
                </a:solidFill>
                <a:effectLst/>
                <a:uLnTx/>
                <a:uFillTx/>
                <a:cs typeface="Arial" charset="0"/>
              </a:rPr>
              <a:t>PV Systems as a Percentage of Households, 2030</a:t>
            </a:r>
          </a:p>
        </p:txBody>
      </p:sp>
      <p:sp>
        <p:nvSpPr>
          <p:cNvPr id="20" name="TextBox 19">
            <a:extLst>
              <a:ext uri="{FF2B5EF4-FFF2-40B4-BE49-F238E27FC236}">
                <a16:creationId xmlns:a16="http://schemas.microsoft.com/office/drawing/2014/main" id="{EEE6587D-35C4-FD4D-18CA-D5DB7E6607B6}"/>
              </a:ext>
            </a:extLst>
          </p:cNvPr>
          <p:cNvSpPr txBox="1"/>
          <p:nvPr/>
        </p:nvSpPr>
        <p:spPr>
          <a:xfrm>
            <a:off x="10679629" y="6473517"/>
            <a:ext cx="1229504" cy="153888"/>
          </a:xfrm>
          <a:prstGeom prst="rect">
            <a:avLst/>
          </a:prstGeom>
          <a:noFill/>
        </p:spPr>
        <p:txBody>
          <a:bodyPr wrap="square" lIns="0" tIns="0" rIns="0" bIns="0" rtlCol="0" anchor="b">
            <a:spAutoFit/>
          </a:bodyPr>
          <a:lstStyle/>
          <a:p>
            <a:pPr algn="r" defTabSz="835867"/>
            <a:r>
              <a:rPr lang="en-US" sz="1000" dirty="0">
                <a:solidFill>
                  <a:schemeClr val="tx2"/>
                </a:solidFill>
                <a:latin typeface="Calibri"/>
                <a:cs typeface="Calibri" panose="020F0502020204030204" pitchFamily="34" charset="0"/>
              </a:rPr>
              <a:t>Source: Frost &amp; Sullivan</a:t>
            </a:r>
          </a:p>
        </p:txBody>
      </p:sp>
    </p:spTree>
    <p:extLst>
      <p:ext uri="{BB962C8B-B14F-4D97-AF65-F5344CB8AC3E}">
        <p14:creationId xmlns:p14="http://schemas.microsoft.com/office/powerpoint/2010/main" val="33021052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3216" y="2417"/>
          <a:ext cx="1629" cy="1489"/>
        </p:xfrm>
        <a:graphic>
          <a:graphicData uri="http://schemas.openxmlformats.org/presentationml/2006/ole">
            <mc:AlternateContent xmlns:mc="http://schemas.openxmlformats.org/markup-compatibility/2006">
              <mc:Choice xmlns:v="urn:schemas-microsoft-com:vml" Requires="v">
                <p:oleObj spid="_x0000_s10242" name="think-cell Slide" r:id="rId4" imgW="378" imgH="379" progId="TCLayout.ActiveDocument.1">
                  <p:embed/>
                </p:oleObj>
              </mc:Choice>
              <mc:Fallback>
                <p:oleObj name="think-cell Slide" r:id="rId4" imgW="378" imgH="379" progId="TCLayout.ActiveDocument.1">
                  <p:embed/>
                  <p:pic>
                    <p:nvPicPr>
                      <p:cNvPr id="3" name="Object 2" hidden="1"/>
                      <p:cNvPicPr/>
                      <p:nvPr/>
                    </p:nvPicPr>
                    <p:blipFill>
                      <a:blip r:embed="rId5"/>
                      <a:stretch>
                        <a:fillRect/>
                      </a:stretch>
                    </p:blipFill>
                    <p:spPr>
                      <a:xfrm>
                        <a:off x="3216" y="2417"/>
                        <a:ext cx="1629" cy="1489"/>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IN" dirty="0"/>
              <a:t>Residential BESS – regional trends</a:t>
            </a:r>
          </a:p>
        </p:txBody>
      </p:sp>
      <p:sp>
        <p:nvSpPr>
          <p:cNvPr id="82" name="Freeform 74"/>
          <p:cNvSpPr>
            <a:spLocks noChangeAspect="1"/>
          </p:cNvSpPr>
          <p:nvPr/>
        </p:nvSpPr>
        <p:spPr bwMode="gray">
          <a:xfrm>
            <a:off x="5851184" y="3054998"/>
            <a:ext cx="227472" cy="268670"/>
          </a:xfrm>
          <a:custGeom>
            <a:avLst/>
            <a:gdLst/>
            <a:ahLst/>
            <a:cxnLst>
              <a:cxn ang="0">
                <a:pos x="0" y="138"/>
              </a:cxn>
              <a:cxn ang="0">
                <a:pos x="2" y="192"/>
              </a:cxn>
              <a:cxn ang="0">
                <a:pos x="4" y="217"/>
              </a:cxn>
              <a:cxn ang="0">
                <a:pos x="8" y="247"/>
              </a:cxn>
              <a:cxn ang="0">
                <a:pos x="73" y="271"/>
              </a:cxn>
              <a:cxn ang="0">
                <a:pos x="53" y="327"/>
              </a:cxn>
              <a:cxn ang="0">
                <a:pos x="121" y="335"/>
              </a:cxn>
              <a:cxn ang="0">
                <a:pos x="237" y="333"/>
              </a:cxn>
              <a:cxn ang="0">
                <a:pos x="269" y="280"/>
              </a:cxn>
              <a:cxn ang="0">
                <a:pos x="206" y="210"/>
              </a:cxn>
              <a:cxn ang="0">
                <a:pos x="282" y="173"/>
              </a:cxn>
              <a:cxn ang="0">
                <a:pos x="302" y="184"/>
              </a:cxn>
              <a:cxn ang="0">
                <a:pos x="282" y="51"/>
              </a:cxn>
              <a:cxn ang="0">
                <a:pos x="226" y="18"/>
              </a:cxn>
              <a:cxn ang="0">
                <a:pos x="165" y="40"/>
              </a:cxn>
              <a:cxn ang="0">
                <a:pos x="173" y="25"/>
              </a:cxn>
              <a:cxn ang="0">
                <a:pos x="121" y="0"/>
              </a:cxn>
              <a:cxn ang="0">
                <a:pos x="93" y="0"/>
              </a:cxn>
              <a:cxn ang="0">
                <a:pos x="91" y="73"/>
              </a:cxn>
              <a:cxn ang="0">
                <a:pos x="60" y="53"/>
              </a:cxn>
              <a:cxn ang="0">
                <a:pos x="41" y="77"/>
              </a:cxn>
              <a:cxn ang="0">
                <a:pos x="36" y="121"/>
              </a:cxn>
              <a:cxn ang="0">
                <a:pos x="0" y="138"/>
              </a:cxn>
            </a:cxnLst>
            <a:rect l="0" t="0" r="r" b="b"/>
            <a:pathLst>
              <a:path w="302" h="335">
                <a:moveTo>
                  <a:pt x="0" y="138"/>
                </a:moveTo>
                <a:lnTo>
                  <a:pt x="2" y="192"/>
                </a:lnTo>
                <a:lnTo>
                  <a:pt x="4" y="217"/>
                </a:lnTo>
                <a:lnTo>
                  <a:pt x="8" y="247"/>
                </a:lnTo>
                <a:lnTo>
                  <a:pt x="73" y="271"/>
                </a:lnTo>
                <a:lnTo>
                  <a:pt x="53" y="327"/>
                </a:lnTo>
                <a:lnTo>
                  <a:pt x="121" y="335"/>
                </a:lnTo>
                <a:lnTo>
                  <a:pt x="237" y="333"/>
                </a:lnTo>
                <a:lnTo>
                  <a:pt x="269" y="280"/>
                </a:lnTo>
                <a:lnTo>
                  <a:pt x="206" y="210"/>
                </a:lnTo>
                <a:lnTo>
                  <a:pt x="282" y="173"/>
                </a:lnTo>
                <a:lnTo>
                  <a:pt x="302" y="184"/>
                </a:lnTo>
                <a:lnTo>
                  <a:pt x="282" y="51"/>
                </a:lnTo>
                <a:lnTo>
                  <a:pt x="226" y="18"/>
                </a:lnTo>
                <a:lnTo>
                  <a:pt x="165" y="40"/>
                </a:lnTo>
                <a:lnTo>
                  <a:pt x="173" y="25"/>
                </a:lnTo>
                <a:lnTo>
                  <a:pt x="121" y="0"/>
                </a:lnTo>
                <a:lnTo>
                  <a:pt x="93" y="0"/>
                </a:lnTo>
                <a:lnTo>
                  <a:pt x="91" y="73"/>
                </a:lnTo>
                <a:lnTo>
                  <a:pt x="60" y="53"/>
                </a:lnTo>
                <a:lnTo>
                  <a:pt x="41" y="77"/>
                </a:lnTo>
                <a:lnTo>
                  <a:pt x="36" y="121"/>
                </a:lnTo>
                <a:lnTo>
                  <a:pt x="0" y="13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84" name="Freeform 132"/>
          <p:cNvSpPr>
            <a:spLocks noChangeAspect="1"/>
          </p:cNvSpPr>
          <p:nvPr/>
        </p:nvSpPr>
        <p:spPr bwMode="gray">
          <a:xfrm>
            <a:off x="6066890" y="3058445"/>
            <a:ext cx="262770" cy="210113"/>
          </a:xfrm>
          <a:custGeom>
            <a:avLst/>
            <a:gdLst/>
            <a:ahLst/>
            <a:cxnLst>
              <a:cxn ang="0">
                <a:pos x="0" y="48"/>
              </a:cxn>
              <a:cxn ang="0">
                <a:pos x="20" y="185"/>
              </a:cxn>
              <a:cxn ang="0">
                <a:pos x="201" y="253"/>
              </a:cxn>
              <a:cxn ang="0">
                <a:pos x="289" y="262"/>
              </a:cxn>
              <a:cxn ang="0">
                <a:pos x="345" y="193"/>
              </a:cxn>
              <a:cxn ang="0">
                <a:pos x="317" y="115"/>
              </a:cxn>
              <a:cxn ang="0">
                <a:pos x="339" y="94"/>
              </a:cxn>
              <a:cxn ang="0">
                <a:pos x="324" y="34"/>
              </a:cxn>
              <a:cxn ang="0">
                <a:pos x="192" y="15"/>
              </a:cxn>
              <a:cxn ang="0">
                <a:pos x="107" y="0"/>
              </a:cxn>
              <a:cxn ang="0">
                <a:pos x="0" y="48"/>
              </a:cxn>
            </a:cxnLst>
            <a:rect l="0" t="0" r="r" b="b"/>
            <a:pathLst>
              <a:path w="345" h="262">
                <a:moveTo>
                  <a:pt x="0" y="48"/>
                </a:moveTo>
                <a:lnTo>
                  <a:pt x="20" y="185"/>
                </a:lnTo>
                <a:lnTo>
                  <a:pt x="201" y="253"/>
                </a:lnTo>
                <a:lnTo>
                  <a:pt x="289" y="262"/>
                </a:lnTo>
                <a:lnTo>
                  <a:pt x="345" y="193"/>
                </a:lnTo>
                <a:lnTo>
                  <a:pt x="317" y="115"/>
                </a:lnTo>
                <a:lnTo>
                  <a:pt x="339" y="94"/>
                </a:lnTo>
                <a:lnTo>
                  <a:pt x="324" y="34"/>
                </a:lnTo>
                <a:lnTo>
                  <a:pt x="192" y="15"/>
                </a:lnTo>
                <a:lnTo>
                  <a:pt x="107" y="0"/>
                </a:lnTo>
                <a:lnTo>
                  <a:pt x="0" y="48"/>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85" name="Freeform 84"/>
          <p:cNvSpPr>
            <a:spLocks noChangeAspect="1"/>
          </p:cNvSpPr>
          <p:nvPr/>
        </p:nvSpPr>
        <p:spPr bwMode="gray">
          <a:xfrm>
            <a:off x="6213962" y="1994102"/>
            <a:ext cx="4474930" cy="1519012"/>
          </a:xfrm>
          <a:custGeom>
            <a:avLst/>
            <a:gdLst/>
            <a:ahLst/>
            <a:cxnLst>
              <a:cxn ang="0">
                <a:pos x="98" y="1193"/>
              </a:cxn>
              <a:cxn ang="0">
                <a:pos x="313" y="1040"/>
              </a:cxn>
              <a:cxn ang="0">
                <a:pos x="311" y="615"/>
              </a:cxn>
              <a:cxn ang="0">
                <a:pos x="564" y="566"/>
              </a:cxn>
              <a:cxn ang="0">
                <a:pos x="623" y="878"/>
              </a:cxn>
              <a:cxn ang="0">
                <a:pos x="700" y="776"/>
              </a:cxn>
              <a:cxn ang="0">
                <a:pos x="881" y="671"/>
              </a:cxn>
              <a:cxn ang="0">
                <a:pos x="1364" y="576"/>
              </a:cxn>
              <a:cxn ang="0">
                <a:pos x="1719" y="589"/>
              </a:cxn>
              <a:cxn ang="0">
                <a:pos x="1727" y="330"/>
              </a:cxn>
              <a:cxn ang="0">
                <a:pos x="1856" y="653"/>
              </a:cxn>
              <a:cxn ang="0">
                <a:pos x="1933" y="589"/>
              </a:cxn>
              <a:cxn ang="0">
                <a:pos x="2016" y="589"/>
              </a:cxn>
              <a:cxn ang="0">
                <a:pos x="1929" y="428"/>
              </a:cxn>
              <a:cxn ang="0">
                <a:pos x="2209" y="414"/>
              </a:cxn>
              <a:cxn ang="0">
                <a:pos x="2328" y="267"/>
              </a:cxn>
              <a:cxn ang="0">
                <a:pos x="2644" y="112"/>
              </a:cxn>
              <a:cxn ang="0">
                <a:pos x="2833" y="48"/>
              </a:cxn>
              <a:cxn ang="0">
                <a:pos x="3269" y="129"/>
              </a:cxn>
              <a:cxn ang="0">
                <a:pos x="3011" y="313"/>
              </a:cxn>
              <a:cxn ang="0">
                <a:pos x="3299" y="316"/>
              </a:cxn>
              <a:cxn ang="0">
                <a:pos x="3600" y="275"/>
              </a:cxn>
              <a:cxn ang="0">
                <a:pos x="4024" y="414"/>
              </a:cxn>
              <a:cxn ang="0">
                <a:pos x="4491" y="413"/>
              </a:cxn>
              <a:cxn ang="0">
                <a:pos x="4957" y="534"/>
              </a:cxn>
              <a:cxn ang="0">
                <a:pos x="5242" y="516"/>
              </a:cxn>
              <a:cxn ang="0">
                <a:pos x="5802" y="705"/>
              </a:cxn>
              <a:cxn ang="0">
                <a:pos x="5774" y="842"/>
              </a:cxn>
              <a:cxn ang="0">
                <a:pos x="5591" y="736"/>
              </a:cxn>
              <a:cxn ang="0">
                <a:pos x="5535" y="953"/>
              </a:cxn>
              <a:cxn ang="0">
                <a:pos x="5086" y="1050"/>
              </a:cxn>
              <a:cxn ang="0">
                <a:pos x="4952" y="1262"/>
              </a:cxn>
              <a:cxn ang="0">
                <a:pos x="4765" y="1520"/>
              </a:cxn>
              <a:cxn ang="0">
                <a:pos x="5020" y="962"/>
              </a:cxn>
              <a:cxn ang="0">
                <a:pos x="4672" y="1084"/>
              </a:cxn>
              <a:cxn ang="0">
                <a:pos x="4271" y="1121"/>
              </a:cxn>
              <a:cxn ang="0">
                <a:pos x="4123" y="1396"/>
              </a:cxn>
              <a:cxn ang="0">
                <a:pos x="4197" y="1526"/>
              </a:cxn>
              <a:cxn ang="0">
                <a:pos x="3876" y="1845"/>
              </a:cxn>
              <a:cxn ang="0">
                <a:pos x="3682" y="1423"/>
              </a:cxn>
              <a:cxn ang="0">
                <a:pos x="3293" y="1549"/>
              </a:cxn>
              <a:cxn ang="0">
                <a:pos x="2714" y="1558"/>
              </a:cxn>
              <a:cxn ang="0">
                <a:pos x="2094" y="1556"/>
              </a:cxn>
              <a:cxn ang="0">
                <a:pos x="1816" y="1416"/>
              </a:cxn>
              <a:cxn ang="0">
                <a:pos x="1475" y="1315"/>
              </a:cxn>
              <a:cxn ang="0">
                <a:pos x="1242" y="1359"/>
              </a:cxn>
              <a:cxn ang="0">
                <a:pos x="1295" y="1521"/>
              </a:cxn>
              <a:cxn ang="0">
                <a:pos x="1134" y="1505"/>
              </a:cxn>
              <a:cxn ang="0">
                <a:pos x="931" y="1540"/>
              </a:cxn>
              <a:cxn ang="0">
                <a:pos x="924" y="1636"/>
              </a:cxn>
              <a:cxn ang="0">
                <a:pos x="968" y="1717"/>
              </a:cxn>
              <a:cxn ang="0">
                <a:pos x="905" y="1865"/>
              </a:cxn>
              <a:cxn ang="0">
                <a:pos x="669" y="1807"/>
              </a:cxn>
              <a:cxn ang="0">
                <a:pos x="679" y="1584"/>
              </a:cxn>
              <a:cxn ang="0">
                <a:pos x="461" y="1452"/>
              </a:cxn>
              <a:cxn ang="0">
                <a:pos x="399" y="1414"/>
              </a:cxn>
              <a:cxn ang="0">
                <a:pos x="241" y="1301"/>
              </a:cxn>
              <a:cxn ang="0">
                <a:pos x="144" y="1394"/>
              </a:cxn>
            </a:cxnLst>
            <a:rect l="0" t="0" r="r" b="b"/>
            <a:pathLst>
              <a:path w="5927" h="1901">
                <a:moveTo>
                  <a:pt x="0" y="1351"/>
                </a:moveTo>
                <a:lnTo>
                  <a:pt x="49" y="1307"/>
                </a:lnTo>
                <a:lnTo>
                  <a:pt x="33" y="1325"/>
                </a:lnTo>
                <a:lnTo>
                  <a:pt x="55" y="1330"/>
                </a:lnTo>
                <a:lnTo>
                  <a:pt x="49" y="1241"/>
                </a:lnTo>
                <a:lnTo>
                  <a:pt x="69" y="1199"/>
                </a:lnTo>
                <a:lnTo>
                  <a:pt x="98" y="1193"/>
                </a:lnTo>
                <a:lnTo>
                  <a:pt x="155" y="1232"/>
                </a:lnTo>
                <a:lnTo>
                  <a:pt x="168" y="1158"/>
                </a:lnTo>
                <a:lnTo>
                  <a:pt x="143" y="1159"/>
                </a:lnTo>
                <a:lnTo>
                  <a:pt x="133" y="1116"/>
                </a:lnTo>
                <a:lnTo>
                  <a:pt x="368" y="1078"/>
                </a:lnTo>
                <a:lnTo>
                  <a:pt x="311" y="1062"/>
                </a:lnTo>
                <a:lnTo>
                  <a:pt x="313" y="1040"/>
                </a:lnTo>
                <a:lnTo>
                  <a:pt x="278" y="1048"/>
                </a:lnTo>
                <a:lnTo>
                  <a:pt x="411" y="936"/>
                </a:lnTo>
                <a:lnTo>
                  <a:pt x="352" y="818"/>
                </a:lnTo>
                <a:lnTo>
                  <a:pt x="366" y="761"/>
                </a:lnTo>
                <a:lnTo>
                  <a:pt x="330" y="699"/>
                </a:lnTo>
                <a:lnTo>
                  <a:pt x="360" y="664"/>
                </a:lnTo>
                <a:lnTo>
                  <a:pt x="311" y="615"/>
                </a:lnTo>
                <a:lnTo>
                  <a:pt x="325" y="574"/>
                </a:lnTo>
                <a:lnTo>
                  <a:pt x="389" y="529"/>
                </a:lnTo>
                <a:lnTo>
                  <a:pt x="425" y="523"/>
                </a:lnTo>
                <a:lnTo>
                  <a:pt x="470" y="533"/>
                </a:lnTo>
                <a:lnTo>
                  <a:pt x="431" y="544"/>
                </a:lnTo>
                <a:lnTo>
                  <a:pt x="461" y="561"/>
                </a:lnTo>
                <a:lnTo>
                  <a:pt x="564" y="566"/>
                </a:lnTo>
                <a:lnTo>
                  <a:pt x="745" y="661"/>
                </a:lnTo>
                <a:lnTo>
                  <a:pt x="750" y="708"/>
                </a:lnTo>
                <a:lnTo>
                  <a:pt x="670" y="749"/>
                </a:lnTo>
                <a:lnTo>
                  <a:pt x="427" y="692"/>
                </a:lnTo>
                <a:lnTo>
                  <a:pt x="526" y="760"/>
                </a:lnTo>
                <a:lnTo>
                  <a:pt x="524" y="838"/>
                </a:lnTo>
                <a:lnTo>
                  <a:pt x="623" y="878"/>
                </a:lnTo>
                <a:lnTo>
                  <a:pt x="648" y="870"/>
                </a:lnTo>
                <a:lnTo>
                  <a:pt x="635" y="838"/>
                </a:lnTo>
                <a:lnTo>
                  <a:pt x="590" y="826"/>
                </a:lnTo>
                <a:lnTo>
                  <a:pt x="601" y="799"/>
                </a:lnTo>
                <a:lnTo>
                  <a:pt x="645" y="829"/>
                </a:lnTo>
                <a:lnTo>
                  <a:pt x="741" y="838"/>
                </a:lnTo>
                <a:lnTo>
                  <a:pt x="700" y="776"/>
                </a:lnTo>
                <a:lnTo>
                  <a:pt x="788" y="724"/>
                </a:lnTo>
                <a:lnTo>
                  <a:pt x="853" y="760"/>
                </a:lnTo>
                <a:lnTo>
                  <a:pt x="851" y="618"/>
                </a:lnTo>
                <a:lnTo>
                  <a:pt x="823" y="598"/>
                </a:lnTo>
                <a:lnTo>
                  <a:pt x="931" y="629"/>
                </a:lnTo>
                <a:lnTo>
                  <a:pt x="938" y="646"/>
                </a:lnTo>
                <a:lnTo>
                  <a:pt x="881" y="671"/>
                </a:lnTo>
                <a:lnTo>
                  <a:pt x="938" y="716"/>
                </a:lnTo>
                <a:lnTo>
                  <a:pt x="987" y="664"/>
                </a:lnTo>
                <a:lnTo>
                  <a:pt x="1187" y="580"/>
                </a:lnTo>
                <a:lnTo>
                  <a:pt x="1217" y="576"/>
                </a:lnTo>
                <a:lnTo>
                  <a:pt x="1187" y="590"/>
                </a:lnTo>
                <a:lnTo>
                  <a:pt x="1220" y="631"/>
                </a:lnTo>
                <a:lnTo>
                  <a:pt x="1364" y="576"/>
                </a:lnTo>
                <a:lnTo>
                  <a:pt x="1397" y="616"/>
                </a:lnTo>
                <a:lnTo>
                  <a:pt x="1431" y="587"/>
                </a:lnTo>
                <a:lnTo>
                  <a:pt x="1414" y="540"/>
                </a:lnTo>
                <a:lnTo>
                  <a:pt x="1434" y="525"/>
                </a:lnTo>
                <a:lnTo>
                  <a:pt x="1544" y="547"/>
                </a:lnTo>
                <a:lnTo>
                  <a:pt x="1689" y="627"/>
                </a:lnTo>
                <a:lnTo>
                  <a:pt x="1719" y="589"/>
                </a:lnTo>
                <a:lnTo>
                  <a:pt x="1687" y="549"/>
                </a:lnTo>
                <a:lnTo>
                  <a:pt x="1643" y="538"/>
                </a:lnTo>
                <a:lnTo>
                  <a:pt x="1660" y="474"/>
                </a:lnTo>
                <a:lnTo>
                  <a:pt x="1629" y="465"/>
                </a:lnTo>
                <a:lnTo>
                  <a:pt x="1640" y="437"/>
                </a:lnTo>
                <a:lnTo>
                  <a:pt x="1693" y="406"/>
                </a:lnTo>
                <a:lnTo>
                  <a:pt x="1727" y="330"/>
                </a:lnTo>
                <a:lnTo>
                  <a:pt x="1803" y="332"/>
                </a:lnTo>
                <a:lnTo>
                  <a:pt x="1838" y="343"/>
                </a:lnTo>
                <a:lnTo>
                  <a:pt x="1812" y="423"/>
                </a:lnTo>
                <a:lnTo>
                  <a:pt x="1842" y="463"/>
                </a:lnTo>
                <a:lnTo>
                  <a:pt x="1832" y="574"/>
                </a:lnTo>
                <a:lnTo>
                  <a:pt x="1870" y="613"/>
                </a:lnTo>
                <a:lnTo>
                  <a:pt x="1856" y="653"/>
                </a:lnTo>
                <a:lnTo>
                  <a:pt x="1798" y="684"/>
                </a:lnTo>
                <a:lnTo>
                  <a:pt x="1816" y="699"/>
                </a:lnTo>
                <a:lnTo>
                  <a:pt x="1742" y="715"/>
                </a:lnTo>
                <a:lnTo>
                  <a:pt x="1821" y="742"/>
                </a:lnTo>
                <a:lnTo>
                  <a:pt x="1912" y="653"/>
                </a:lnTo>
                <a:lnTo>
                  <a:pt x="1901" y="598"/>
                </a:lnTo>
                <a:lnTo>
                  <a:pt x="1933" y="589"/>
                </a:lnTo>
                <a:lnTo>
                  <a:pt x="1980" y="579"/>
                </a:lnTo>
                <a:lnTo>
                  <a:pt x="2002" y="610"/>
                </a:lnTo>
                <a:lnTo>
                  <a:pt x="2000" y="651"/>
                </a:lnTo>
                <a:lnTo>
                  <a:pt x="2059" y="665"/>
                </a:lnTo>
                <a:lnTo>
                  <a:pt x="2013" y="650"/>
                </a:lnTo>
                <a:lnTo>
                  <a:pt x="2033" y="626"/>
                </a:lnTo>
                <a:lnTo>
                  <a:pt x="2016" y="589"/>
                </a:lnTo>
                <a:lnTo>
                  <a:pt x="1880" y="565"/>
                </a:lnTo>
                <a:lnTo>
                  <a:pt x="1901" y="478"/>
                </a:lnTo>
                <a:lnTo>
                  <a:pt x="1854" y="423"/>
                </a:lnTo>
                <a:lnTo>
                  <a:pt x="1922" y="373"/>
                </a:lnTo>
                <a:lnTo>
                  <a:pt x="1913" y="337"/>
                </a:lnTo>
                <a:lnTo>
                  <a:pt x="1944" y="358"/>
                </a:lnTo>
                <a:lnTo>
                  <a:pt x="1929" y="428"/>
                </a:lnTo>
                <a:lnTo>
                  <a:pt x="1950" y="437"/>
                </a:lnTo>
                <a:lnTo>
                  <a:pt x="2041" y="459"/>
                </a:lnTo>
                <a:lnTo>
                  <a:pt x="1958" y="401"/>
                </a:lnTo>
                <a:lnTo>
                  <a:pt x="2022" y="403"/>
                </a:lnTo>
                <a:lnTo>
                  <a:pt x="2007" y="380"/>
                </a:lnTo>
                <a:lnTo>
                  <a:pt x="2041" y="369"/>
                </a:lnTo>
                <a:lnTo>
                  <a:pt x="2209" y="414"/>
                </a:lnTo>
                <a:lnTo>
                  <a:pt x="2177" y="445"/>
                </a:lnTo>
                <a:lnTo>
                  <a:pt x="2172" y="490"/>
                </a:lnTo>
                <a:lnTo>
                  <a:pt x="2207" y="516"/>
                </a:lnTo>
                <a:lnTo>
                  <a:pt x="2224" y="414"/>
                </a:lnTo>
                <a:lnTo>
                  <a:pt x="2133" y="363"/>
                </a:lnTo>
                <a:lnTo>
                  <a:pt x="2114" y="293"/>
                </a:lnTo>
                <a:lnTo>
                  <a:pt x="2328" y="267"/>
                </a:lnTo>
                <a:lnTo>
                  <a:pt x="2300" y="203"/>
                </a:lnTo>
                <a:lnTo>
                  <a:pt x="2328" y="217"/>
                </a:lnTo>
                <a:lnTo>
                  <a:pt x="2363" y="192"/>
                </a:lnTo>
                <a:lnTo>
                  <a:pt x="2337" y="184"/>
                </a:lnTo>
                <a:lnTo>
                  <a:pt x="2560" y="132"/>
                </a:lnTo>
                <a:lnTo>
                  <a:pt x="2542" y="117"/>
                </a:lnTo>
                <a:lnTo>
                  <a:pt x="2644" y="112"/>
                </a:lnTo>
                <a:lnTo>
                  <a:pt x="2643" y="129"/>
                </a:lnTo>
                <a:lnTo>
                  <a:pt x="2669" y="129"/>
                </a:lnTo>
                <a:lnTo>
                  <a:pt x="2744" y="106"/>
                </a:lnTo>
                <a:lnTo>
                  <a:pt x="2779" y="118"/>
                </a:lnTo>
                <a:lnTo>
                  <a:pt x="2746" y="90"/>
                </a:lnTo>
                <a:lnTo>
                  <a:pt x="2830" y="84"/>
                </a:lnTo>
                <a:lnTo>
                  <a:pt x="2833" y="48"/>
                </a:lnTo>
                <a:lnTo>
                  <a:pt x="2933" y="0"/>
                </a:lnTo>
                <a:lnTo>
                  <a:pt x="3002" y="29"/>
                </a:lnTo>
                <a:lnTo>
                  <a:pt x="2943" y="55"/>
                </a:lnTo>
                <a:lnTo>
                  <a:pt x="3043" y="53"/>
                </a:lnTo>
                <a:lnTo>
                  <a:pt x="3003" y="90"/>
                </a:lnTo>
                <a:lnTo>
                  <a:pt x="3174" y="72"/>
                </a:lnTo>
                <a:lnTo>
                  <a:pt x="3269" y="129"/>
                </a:lnTo>
                <a:lnTo>
                  <a:pt x="3255" y="150"/>
                </a:lnTo>
                <a:lnTo>
                  <a:pt x="3223" y="138"/>
                </a:lnTo>
                <a:lnTo>
                  <a:pt x="3266" y="156"/>
                </a:lnTo>
                <a:lnTo>
                  <a:pt x="3245" y="190"/>
                </a:lnTo>
                <a:lnTo>
                  <a:pt x="2933" y="355"/>
                </a:lnTo>
                <a:lnTo>
                  <a:pt x="3032" y="335"/>
                </a:lnTo>
                <a:lnTo>
                  <a:pt x="3011" y="313"/>
                </a:lnTo>
                <a:lnTo>
                  <a:pt x="3169" y="282"/>
                </a:lnTo>
                <a:lnTo>
                  <a:pt x="3126" y="287"/>
                </a:lnTo>
                <a:lnTo>
                  <a:pt x="3136" y="259"/>
                </a:lnTo>
                <a:lnTo>
                  <a:pt x="3223" y="282"/>
                </a:lnTo>
                <a:lnTo>
                  <a:pt x="3236" y="259"/>
                </a:lnTo>
                <a:lnTo>
                  <a:pt x="3256" y="313"/>
                </a:lnTo>
                <a:lnTo>
                  <a:pt x="3299" y="316"/>
                </a:lnTo>
                <a:lnTo>
                  <a:pt x="3258" y="294"/>
                </a:lnTo>
                <a:lnTo>
                  <a:pt x="3342" y="280"/>
                </a:lnTo>
                <a:lnTo>
                  <a:pt x="3442" y="293"/>
                </a:lnTo>
                <a:lnTo>
                  <a:pt x="3433" y="313"/>
                </a:lnTo>
                <a:lnTo>
                  <a:pt x="3520" y="330"/>
                </a:lnTo>
                <a:lnTo>
                  <a:pt x="3596" y="326"/>
                </a:lnTo>
                <a:lnTo>
                  <a:pt x="3600" y="275"/>
                </a:lnTo>
                <a:lnTo>
                  <a:pt x="3622" y="269"/>
                </a:lnTo>
                <a:lnTo>
                  <a:pt x="3815" y="326"/>
                </a:lnTo>
                <a:lnTo>
                  <a:pt x="3788" y="414"/>
                </a:lnTo>
                <a:lnTo>
                  <a:pt x="3877" y="474"/>
                </a:lnTo>
                <a:lnTo>
                  <a:pt x="3926" y="392"/>
                </a:lnTo>
                <a:lnTo>
                  <a:pt x="3959" y="428"/>
                </a:lnTo>
                <a:lnTo>
                  <a:pt x="4024" y="414"/>
                </a:lnTo>
                <a:lnTo>
                  <a:pt x="4110" y="445"/>
                </a:lnTo>
                <a:lnTo>
                  <a:pt x="4179" y="426"/>
                </a:lnTo>
                <a:lnTo>
                  <a:pt x="4172" y="392"/>
                </a:lnTo>
                <a:lnTo>
                  <a:pt x="4220" y="336"/>
                </a:lnTo>
                <a:lnTo>
                  <a:pt x="4508" y="376"/>
                </a:lnTo>
                <a:lnTo>
                  <a:pt x="4527" y="402"/>
                </a:lnTo>
                <a:lnTo>
                  <a:pt x="4491" y="413"/>
                </a:lnTo>
                <a:lnTo>
                  <a:pt x="4584" y="426"/>
                </a:lnTo>
                <a:lnTo>
                  <a:pt x="4619" y="465"/>
                </a:lnTo>
                <a:lnTo>
                  <a:pt x="4835" y="459"/>
                </a:lnTo>
                <a:lnTo>
                  <a:pt x="4875" y="490"/>
                </a:lnTo>
                <a:lnTo>
                  <a:pt x="4861" y="529"/>
                </a:lnTo>
                <a:lnTo>
                  <a:pt x="4924" y="556"/>
                </a:lnTo>
                <a:lnTo>
                  <a:pt x="4957" y="534"/>
                </a:lnTo>
                <a:lnTo>
                  <a:pt x="5111" y="550"/>
                </a:lnTo>
                <a:lnTo>
                  <a:pt x="5142" y="529"/>
                </a:lnTo>
                <a:lnTo>
                  <a:pt x="5162" y="563"/>
                </a:lnTo>
                <a:lnTo>
                  <a:pt x="5225" y="591"/>
                </a:lnTo>
                <a:lnTo>
                  <a:pt x="5256" y="572"/>
                </a:lnTo>
                <a:lnTo>
                  <a:pt x="5224" y="540"/>
                </a:lnTo>
                <a:lnTo>
                  <a:pt x="5242" y="516"/>
                </a:lnTo>
                <a:lnTo>
                  <a:pt x="5513" y="555"/>
                </a:lnTo>
                <a:lnTo>
                  <a:pt x="5691" y="655"/>
                </a:lnTo>
                <a:lnTo>
                  <a:pt x="5729" y="655"/>
                </a:lnTo>
                <a:lnTo>
                  <a:pt x="5774" y="736"/>
                </a:lnTo>
                <a:lnTo>
                  <a:pt x="5756" y="692"/>
                </a:lnTo>
                <a:lnTo>
                  <a:pt x="5784" y="688"/>
                </a:lnTo>
                <a:lnTo>
                  <a:pt x="5802" y="705"/>
                </a:lnTo>
                <a:lnTo>
                  <a:pt x="5854" y="699"/>
                </a:lnTo>
                <a:lnTo>
                  <a:pt x="5927" y="746"/>
                </a:lnTo>
                <a:lnTo>
                  <a:pt x="5823" y="798"/>
                </a:lnTo>
                <a:lnTo>
                  <a:pt x="5844" y="812"/>
                </a:lnTo>
                <a:lnTo>
                  <a:pt x="5807" y="821"/>
                </a:lnTo>
                <a:lnTo>
                  <a:pt x="5837" y="841"/>
                </a:lnTo>
                <a:lnTo>
                  <a:pt x="5774" y="842"/>
                </a:lnTo>
                <a:lnTo>
                  <a:pt x="5755" y="812"/>
                </a:lnTo>
                <a:lnTo>
                  <a:pt x="5730" y="824"/>
                </a:lnTo>
                <a:lnTo>
                  <a:pt x="5690" y="776"/>
                </a:lnTo>
                <a:lnTo>
                  <a:pt x="5620" y="777"/>
                </a:lnTo>
                <a:lnTo>
                  <a:pt x="5602" y="749"/>
                </a:lnTo>
                <a:lnTo>
                  <a:pt x="5619" y="736"/>
                </a:lnTo>
                <a:lnTo>
                  <a:pt x="5591" y="736"/>
                </a:lnTo>
                <a:lnTo>
                  <a:pt x="5569" y="746"/>
                </a:lnTo>
                <a:lnTo>
                  <a:pt x="5595" y="779"/>
                </a:lnTo>
                <a:lnTo>
                  <a:pt x="5579" y="799"/>
                </a:lnTo>
                <a:lnTo>
                  <a:pt x="5519" y="832"/>
                </a:lnTo>
                <a:lnTo>
                  <a:pt x="5478" y="825"/>
                </a:lnTo>
                <a:lnTo>
                  <a:pt x="5546" y="918"/>
                </a:lnTo>
                <a:lnTo>
                  <a:pt x="5535" y="953"/>
                </a:lnTo>
                <a:lnTo>
                  <a:pt x="5466" y="928"/>
                </a:lnTo>
                <a:lnTo>
                  <a:pt x="5469" y="942"/>
                </a:lnTo>
                <a:lnTo>
                  <a:pt x="5343" y="988"/>
                </a:lnTo>
                <a:lnTo>
                  <a:pt x="5231" y="1082"/>
                </a:lnTo>
                <a:lnTo>
                  <a:pt x="5155" y="1046"/>
                </a:lnTo>
                <a:lnTo>
                  <a:pt x="5086" y="1084"/>
                </a:lnTo>
                <a:lnTo>
                  <a:pt x="5086" y="1050"/>
                </a:lnTo>
                <a:lnTo>
                  <a:pt x="5045" y="1087"/>
                </a:lnTo>
                <a:lnTo>
                  <a:pt x="4996" y="1083"/>
                </a:lnTo>
                <a:lnTo>
                  <a:pt x="4944" y="1175"/>
                </a:lnTo>
                <a:lnTo>
                  <a:pt x="4985" y="1193"/>
                </a:lnTo>
                <a:lnTo>
                  <a:pt x="4968" y="1224"/>
                </a:lnTo>
                <a:lnTo>
                  <a:pt x="4988" y="1270"/>
                </a:lnTo>
                <a:lnTo>
                  <a:pt x="4952" y="1262"/>
                </a:lnTo>
                <a:lnTo>
                  <a:pt x="4932" y="1303"/>
                </a:lnTo>
                <a:lnTo>
                  <a:pt x="4945" y="1341"/>
                </a:lnTo>
                <a:lnTo>
                  <a:pt x="4869" y="1372"/>
                </a:lnTo>
                <a:lnTo>
                  <a:pt x="4875" y="1413"/>
                </a:lnTo>
                <a:lnTo>
                  <a:pt x="4825" y="1424"/>
                </a:lnTo>
                <a:lnTo>
                  <a:pt x="4811" y="1471"/>
                </a:lnTo>
                <a:lnTo>
                  <a:pt x="4765" y="1520"/>
                </a:lnTo>
                <a:lnTo>
                  <a:pt x="4726" y="1341"/>
                </a:lnTo>
                <a:lnTo>
                  <a:pt x="4731" y="1244"/>
                </a:lnTo>
                <a:lnTo>
                  <a:pt x="4765" y="1188"/>
                </a:lnTo>
                <a:lnTo>
                  <a:pt x="4818" y="1176"/>
                </a:lnTo>
                <a:lnTo>
                  <a:pt x="4941" y="1056"/>
                </a:lnTo>
                <a:lnTo>
                  <a:pt x="5000" y="1032"/>
                </a:lnTo>
                <a:lnTo>
                  <a:pt x="5020" y="962"/>
                </a:lnTo>
                <a:lnTo>
                  <a:pt x="5045" y="944"/>
                </a:lnTo>
                <a:lnTo>
                  <a:pt x="4998" y="942"/>
                </a:lnTo>
                <a:lnTo>
                  <a:pt x="4984" y="999"/>
                </a:lnTo>
                <a:lnTo>
                  <a:pt x="4879" y="1048"/>
                </a:lnTo>
                <a:lnTo>
                  <a:pt x="4890" y="974"/>
                </a:lnTo>
                <a:lnTo>
                  <a:pt x="4778" y="990"/>
                </a:lnTo>
                <a:lnTo>
                  <a:pt x="4672" y="1084"/>
                </a:lnTo>
                <a:lnTo>
                  <a:pt x="4692" y="1123"/>
                </a:lnTo>
                <a:lnTo>
                  <a:pt x="4579" y="1136"/>
                </a:lnTo>
                <a:lnTo>
                  <a:pt x="4565" y="1125"/>
                </a:lnTo>
                <a:lnTo>
                  <a:pt x="4604" y="1119"/>
                </a:lnTo>
                <a:lnTo>
                  <a:pt x="4510" y="1095"/>
                </a:lnTo>
                <a:lnTo>
                  <a:pt x="4484" y="1119"/>
                </a:lnTo>
                <a:lnTo>
                  <a:pt x="4271" y="1121"/>
                </a:lnTo>
                <a:lnTo>
                  <a:pt x="4017" y="1337"/>
                </a:lnTo>
                <a:lnTo>
                  <a:pt x="4068" y="1346"/>
                </a:lnTo>
                <a:lnTo>
                  <a:pt x="4068" y="1385"/>
                </a:lnTo>
                <a:lnTo>
                  <a:pt x="4097" y="1361"/>
                </a:lnTo>
                <a:lnTo>
                  <a:pt x="4089" y="1394"/>
                </a:lnTo>
                <a:lnTo>
                  <a:pt x="4128" y="1375"/>
                </a:lnTo>
                <a:lnTo>
                  <a:pt x="4123" y="1396"/>
                </a:lnTo>
                <a:lnTo>
                  <a:pt x="4135" y="1361"/>
                </a:lnTo>
                <a:lnTo>
                  <a:pt x="4172" y="1362"/>
                </a:lnTo>
                <a:lnTo>
                  <a:pt x="4226" y="1407"/>
                </a:lnTo>
                <a:lnTo>
                  <a:pt x="4178" y="1412"/>
                </a:lnTo>
                <a:lnTo>
                  <a:pt x="4221" y="1427"/>
                </a:lnTo>
                <a:lnTo>
                  <a:pt x="4231" y="1457"/>
                </a:lnTo>
                <a:lnTo>
                  <a:pt x="4197" y="1526"/>
                </a:lnTo>
                <a:lnTo>
                  <a:pt x="4189" y="1630"/>
                </a:lnTo>
                <a:lnTo>
                  <a:pt x="4011" y="1845"/>
                </a:lnTo>
                <a:lnTo>
                  <a:pt x="3948" y="1873"/>
                </a:lnTo>
                <a:lnTo>
                  <a:pt x="3899" y="1845"/>
                </a:lnTo>
                <a:lnTo>
                  <a:pt x="3857" y="1887"/>
                </a:lnTo>
                <a:lnTo>
                  <a:pt x="3852" y="1878"/>
                </a:lnTo>
                <a:lnTo>
                  <a:pt x="3876" y="1845"/>
                </a:lnTo>
                <a:lnTo>
                  <a:pt x="3866" y="1791"/>
                </a:lnTo>
                <a:lnTo>
                  <a:pt x="3942" y="1769"/>
                </a:lnTo>
                <a:lnTo>
                  <a:pt x="4002" y="1625"/>
                </a:lnTo>
                <a:lnTo>
                  <a:pt x="3872" y="1659"/>
                </a:lnTo>
                <a:lnTo>
                  <a:pt x="3852" y="1605"/>
                </a:lnTo>
                <a:lnTo>
                  <a:pt x="3746" y="1572"/>
                </a:lnTo>
                <a:lnTo>
                  <a:pt x="3682" y="1423"/>
                </a:lnTo>
                <a:lnTo>
                  <a:pt x="3612" y="1396"/>
                </a:lnTo>
                <a:lnTo>
                  <a:pt x="3486" y="1437"/>
                </a:lnTo>
                <a:lnTo>
                  <a:pt x="3510" y="1468"/>
                </a:lnTo>
                <a:lnTo>
                  <a:pt x="3459" y="1556"/>
                </a:lnTo>
                <a:lnTo>
                  <a:pt x="3409" y="1580"/>
                </a:lnTo>
                <a:lnTo>
                  <a:pt x="3356" y="1559"/>
                </a:lnTo>
                <a:lnTo>
                  <a:pt x="3293" y="1549"/>
                </a:lnTo>
                <a:lnTo>
                  <a:pt x="3129" y="1589"/>
                </a:lnTo>
                <a:lnTo>
                  <a:pt x="2984" y="1531"/>
                </a:lnTo>
                <a:lnTo>
                  <a:pt x="2892" y="1539"/>
                </a:lnTo>
                <a:lnTo>
                  <a:pt x="2857" y="1490"/>
                </a:lnTo>
                <a:lnTo>
                  <a:pt x="2766" y="1457"/>
                </a:lnTo>
                <a:lnTo>
                  <a:pt x="2718" y="1492"/>
                </a:lnTo>
                <a:lnTo>
                  <a:pt x="2714" y="1558"/>
                </a:lnTo>
                <a:lnTo>
                  <a:pt x="2506" y="1529"/>
                </a:lnTo>
                <a:lnTo>
                  <a:pt x="2396" y="1589"/>
                </a:lnTo>
                <a:lnTo>
                  <a:pt x="2337" y="1614"/>
                </a:lnTo>
                <a:lnTo>
                  <a:pt x="2263" y="1566"/>
                </a:lnTo>
                <a:lnTo>
                  <a:pt x="2215" y="1592"/>
                </a:lnTo>
                <a:lnTo>
                  <a:pt x="2127" y="1559"/>
                </a:lnTo>
                <a:lnTo>
                  <a:pt x="2094" y="1556"/>
                </a:lnTo>
                <a:lnTo>
                  <a:pt x="2068" y="1505"/>
                </a:lnTo>
                <a:lnTo>
                  <a:pt x="2022" y="1505"/>
                </a:lnTo>
                <a:lnTo>
                  <a:pt x="2001" y="1514"/>
                </a:lnTo>
                <a:lnTo>
                  <a:pt x="1964" y="1474"/>
                </a:lnTo>
                <a:lnTo>
                  <a:pt x="1939" y="1485"/>
                </a:lnTo>
                <a:lnTo>
                  <a:pt x="1914" y="1498"/>
                </a:lnTo>
                <a:lnTo>
                  <a:pt x="1816" y="1416"/>
                </a:lnTo>
                <a:lnTo>
                  <a:pt x="1788" y="1410"/>
                </a:lnTo>
                <a:lnTo>
                  <a:pt x="1722" y="1347"/>
                </a:lnTo>
                <a:lnTo>
                  <a:pt x="1661" y="1385"/>
                </a:lnTo>
                <a:lnTo>
                  <a:pt x="1650" y="1359"/>
                </a:lnTo>
                <a:lnTo>
                  <a:pt x="1558" y="1356"/>
                </a:lnTo>
                <a:lnTo>
                  <a:pt x="1524" y="1311"/>
                </a:lnTo>
                <a:lnTo>
                  <a:pt x="1475" y="1315"/>
                </a:lnTo>
                <a:lnTo>
                  <a:pt x="1458" y="1334"/>
                </a:lnTo>
                <a:lnTo>
                  <a:pt x="1397" y="1345"/>
                </a:lnTo>
                <a:lnTo>
                  <a:pt x="1380" y="1334"/>
                </a:lnTo>
                <a:lnTo>
                  <a:pt x="1357" y="1368"/>
                </a:lnTo>
                <a:lnTo>
                  <a:pt x="1338" y="1359"/>
                </a:lnTo>
                <a:lnTo>
                  <a:pt x="1265" y="1369"/>
                </a:lnTo>
                <a:lnTo>
                  <a:pt x="1242" y="1359"/>
                </a:lnTo>
                <a:lnTo>
                  <a:pt x="1233" y="1369"/>
                </a:lnTo>
                <a:lnTo>
                  <a:pt x="1270" y="1410"/>
                </a:lnTo>
                <a:lnTo>
                  <a:pt x="1244" y="1432"/>
                </a:lnTo>
                <a:lnTo>
                  <a:pt x="1246" y="1465"/>
                </a:lnTo>
                <a:lnTo>
                  <a:pt x="1288" y="1466"/>
                </a:lnTo>
                <a:lnTo>
                  <a:pt x="1305" y="1498"/>
                </a:lnTo>
                <a:lnTo>
                  <a:pt x="1295" y="1521"/>
                </a:lnTo>
                <a:lnTo>
                  <a:pt x="1265" y="1505"/>
                </a:lnTo>
                <a:lnTo>
                  <a:pt x="1242" y="1520"/>
                </a:lnTo>
                <a:lnTo>
                  <a:pt x="1218" y="1506"/>
                </a:lnTo>
                <a:lnTo>
                  <a:pt x="1207" y="1485"/>
                </a:lnTo>
                <a:lnTo>
                  <a:pt x="1178" y="1498"/>
                </a:lnTo>
                <a:lnTo>
                  <a:pt x="1157" y="1487"/>
                </a:lnTo>
                <a:lnTo>
                  <a:pt x="1134" y="1505"/>
                </a:lnTo>
                <a:lnTo>
                  <a:pt x="1101" y="1509"/>
                </a:lnTo>
                <a:lnTo>
                  <a:pt x="1083" y="1485"/>
                </a:lnTo>
                <a:lnTo>
                  <a:pt x="970" y="1478"/>
                </a:lnTo>
                <a:lnTo>
                  <a:pt x="957" y="1490"/>
                </a:lnTo>
                <a:lnTo>
                  <a:pt x="946" y="1489"/>
                </a:lnTo>
                <a:lnTo>
                  <a:pt x="930" y="1515"/>
                </a:lnTo>
                <a:lnTo>
                  <a:pt x="931" y="1540"/>
                </a:lnTo>
                <a:lnTo>
                  <a:pt x="917" y="1542"/>
                </a:lnTo>
                <a:lnTo>
                  <a:pt x="908" y="1521"/>
                </a:lnTo>
                <a:lnTo>
                  <a:pt x="892" y="1523"/>
                </a:lnTo>
                <a:lnTo>
                  <a:pt x="888" y="1597"/>
                </a:lnTo>
                <a:lnTo>
                  <a:pt x="905" y="1619"/>
                </a:lnTo>
                <a:lnTo>
                  <a:pt x="905" y="1640"/>
                </a:lnTo>
                <a:lnTo>
                  <a:pt x="924" y="1636"/>
                </a:lnTo>
                <a:lnTo>
                  <a:pt x="946" y="1626"/>
                </a:lnTo>
                <a:lnTo>
                  <a:pt x="966" y="1659"/>
                </a:lnTo>
                <a:lnTo>
                  <a:pt x="982" y="1681"/>
                </a:lnTo>
                <a:lnTo>
                  <a:pt x="998" y="1708"/>
                </a:lnTo>
                <a:lnTo>
                  <a:pt x="1023" y="1715"/>
                </a:lnTo>
                <a:lnTo>
                  <a:pt x="991" y="1736"/>
                </a:lnTo>
                <a:lnTo>
                  <a:pt x="968" y="1717"/>
                </a:lnTo>
                <a:lnTo>
                  <a:pt x="944" y="1800"/>
                </a:lnTo>
                <a:lnTo>
                  <a:pt x="972" y="1821"/>
                </a:lnTo>
                <a:lnTo>
                  <a:pt x="997" y="1901"/>
                </a:lnTo>
                <a:lnTo>
                  <a:pt x="974" y="1887"/>
                </a:lnTo>
                <a:lnTo>
                  <a:pt x="950" y="1878"/>
                </a:lnTo>
                <a:lnTo>
                  <a:pt x="924" y="1873"/>
                </a:lnTo>
                <a:lnTo>
                  <a:pt x="905" y="1865"/>
                </a:lnTo>
                <a:lnTo>
                  <a:pt x="887" y="1862"/>
                </a:lnTo>
                <a:lnTo>
                  <a:pt x="871" y="1834"/>
                </a:lnTo>
                <a:lnTo>
                  <a:pt x="836" y="1851"/>
                </a:lnTo>
                <a:lnTo>
                  <a:pt x="802" y="1850"/>
                </a:lnTo>
                <a:lnTo>
                  <a:pt x="780" y="1825"/>
                </a:lnTo>
                <a:lnTo>
                  <a:pt x="725" y="1802"/>
                </a:lnTo>
                <a:lnTo>
                  <a:pt x="669" y="1807"/>
                </a:lnTo>
                <a:lnTo>
                  <a:pt x="610" y="1767"/>
                </a:lnTo>
                <a:lnTo>
                  <a:pt x="657" y="1729"/>
                </a:lnTo>
                <a:lnTo>
                  <a:pt x="662" y="1698"/>
                </a:lnTo>
                <a:lnTo>
                  <a:pt x="661" y="1666"/>
                </a:lnTo>
                <a:lnTo>
                  <a:pt x="665" y="1642"/>
                </a:lnTo>
                <a:lnTo>
                  <a:pt x="695" y="1633"/>
                </a:lnTo>
                <a:lnTo>
                  <a:pt x="679" y="1584"/>
                </a:lnTo>
                <a:lnTo>
                  <a:pt x="643" y="1572"/>
                </a:lnTo>
                <a:lnTo>
                  <a:pt x="626" y="1564"/>
                </a:lnTo>
                <a:lnTo>
                  <a:pt x="602" y="1571"/>
                </a:lnTo>
                <a:lnTo>
                  <a:pt x="551" y="1558"/>
                </a:lnTo>
                <a:lnTo>
                  <a:pt x="509" y="1511"/>
                </a:lnTo>
                <a:lnTo>
                  <a:pt x="476" y="1496"/>
                </a:lnTo>
                <a:lnTo>
                  <a:pt x="461" y="1452"/>
                </a:lnTo>
                <a:lnTo>
                  <a:pt x="431" y="1448"/>
                </a:lnTo>
                <a:lnTo>
                  <a:pt x="404" y="1462"/>
                </a:lnTo>
                <a:lnTo>
                  <a:pt x="385" y="1471"/>
                </a:lnTo>
                <a:lnTo>
                  <a:pt x="377" y="1451"/>
                </a:lnTo>
                <a:lnTo>
                  <a:pt x="362" y="1430"/>
                </a:lnTo>
                <a:lnTo>
                  <a:pt x="403" y="1428"/>
                </a:lnTo>
                <a:lnTo>
                  <a:pt x="399" y="1414"/>
                </a:lnTo>
                <a:lnTo>
                  <a:pt x="389" y="1405"/>
                </a:lnTo>
                <a:lnTo>
                  <a:pt x="377" y="1395"/>
                </a:lnTo>
                <a:lnTo>
                  <a:pt x="355" y="1345"/>
                </a:lnTo>
                <a:lnTo>
                  <a:pt x="325" y="1318"/>
                </a:lnTo>
                <a:lnTo>
                  <a:pt x="294" y="1317"/>
                </a:lnTo>
                <a:lnTo>
                  <a:pt x="263" y="1317"/>
                </a:lnTo>
                <a:lnTo>
                  <a:pt x="241" y="1301"/>
                </a:lnTo>
                <a:lnTo>
                  <a:pt x="220" y="1297"/>
                </a:lnTo>
                <a:lnTo>
                  <a:pt x="202" y="1297"/>
                </a:lnTo>
                <a:lnTo>
                  <a:pt x="191" y="1311"/>
                </a:lnTo>
                <a:lnTo>
                  <a:pt x="169" y="1333"/>
                </a:lnTo>
                <a:lnTo>
                  <a:pt x="166" y="1353"/>
                </a:lnTo>
                <a:lnTo>
                  <a:pt x="157" y="1359"/>
                </a:lnTo>
                <a:lnTo>
                  <a:pt x="144" y="1394"/>
                </a:lnTo>
                <a:lnTo>
                  <a:pt x="136" y="1384"/>
                </a:lnTo>
                <a:lnTo>
                  <a:pt x="132" y="1370"/>
                </a:lnTo>
                <a:lnTo>
                  <a:pt x="0" y="135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86" name="Freeform 85"/>
          <p:cNvSpPr>
            <a:spLocks noChangeAspect="1"/>
          </p:cNvSpPr>
          <p:nvPr/>
        </p:nvSpPr>
        <p:spPr bwMode="gray">
          <a:xfrm>
            <a:off x="10626143" y="2700218"/>
            <a:ext cx="84322" cy="25834"/>
          </a:xfrm>
          <a:custGeom>
            <a:avLst/>
            <a:gdLst/>
            <a:ahLst/>
            <a:cxnLst>
              <a:cxn ang="0">
                <a:pos x="0" y="10"/>
              </a:cxn>
              <a:cxn ang="0">
                <a:pos x="65" y="0"/>
              </a:cxn>
              <a:cxn ang="0">
                <a:pos x="107" y="16"/>
              </a:cxn>
              <a:cxn ang="0">
                <a:pos x="85" y="33"/>
              </a:cxn>
              <a:cxn ang="0">
                <a:pos x="0" y="10"/>
              </a:cxn>
            </a:cxnLst>
            <a:rect l="0" t="0" r="r" b="b"/>
            <a:pathLst>
              <a:path w="107" h="33">
                <a:moveTo>
                  <a:pt x="0" y="10"/>
                </a:moveTo>
                <a:lnTo>
                  <a:pt x="65" y="0"/>
                </a:lnTo>
                <a:lnTo>
                  <a:pt x="107" y="16"/>
                </a:lnTo>
                <a:lnTo>
                  <a:pt x="85" y="33"/>
                </a:lnTo>
                <a:lnTo>
                  <a:pt x="0" y="1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87" name="Freeform 86"/>
          <p:cNvSpPr>
            <a:spLocks noChangeAspect="1"/>
          </p:cNvSpPr>
          <p:nvPr/>
        </p:nvSpPr>
        <p:spPr bwMode="gray">
          <a:xfrm>
            <a:off x="1301738" y="2335107"/>
            <a:ext cx="782427" cy="719895"/>
          </a:xfrm>
          <a:custGeom>
            <a:avLst/>
            <a:gdLst/>
            <a:ahLst/>
            <a:cxnLst>
              <a:cxn ang="0">
                <a:pos x="65" y="362"/>
              </a:cxn>
              <a:cxn ang="0">
                <a:pos x="67" y="402"/>
              </a:cxn>
              <a:cxn ang="0">
                <a:pos x="186" y="421"/>
              </a:cxn>
              <a:cxn ang="0">
                <a:pos x="229" y="405"/>
              </a:cxn>
              <a:cxn ang="0">
                <a:pos x="100" y="512"/>
              </a:cxn>
              <a:cxn ang="0">
                <a:pos x="97" y="561"/>
              </a:cxn>
              <a:cxn ang="0">
                <a:pos x="97" y="596"/>
              </a:cxn>
              <a:cxn ang="0">
                <a:pos x="119" y="634"/>
              </a:cxn>
              <a:cxn ang="0">
                <a:pos x="171" y="667"/>
              </a:cxn>
              <a:cxn ang="0">
                <a:pos x="192" y="634"/>
              </a:cxn>
              <a:cxn ang="0">
                <a:pos x="207" y="718"/>
              </a:cxn>
              <a:cxn ang="0">
                <a:pos x="313" y="726"/>
              </a:cxn>
              <a:cxn ang="0">
                <a:pos x="342" y="718"/>
              </a:cxn>
              <a:cxn ang="0">
                <a:pos x="324" y="807"/>
              </a:cxn>
              <a:cxn ang="0">
                <a:pos x="270" y="855"/>
              </a:cxn>
              <a:cxn ang="0">
                <a:pos x="160" y="903"/>
              </a:cxn>
              <a:cxn ang="0">
                <a:pos x="287" y="870"/>
              </a:cxn>
              <a:cxn ang="0">
                <a:pos x="308" y="819"/>
              </a:cxn>
              <a:cxn ang="0">
                <a:pos x="481" y="737"/>
              </a:cxn>
              <a:cxn ang="0">
                <a:pos x="482" y="682"/>
              </a:cxn>
              <a:cxn ang="0">
                <a:pos x="614" y="527"/>
              </a:cxn>
              <a:cxn ang="0">
                <a:pos x="647" y="569"/>
              </a:cxn>
              <a:cxn ang="0">
                <a:pos x="658" y="602"/>
              </a:cxn>
              <a:cxn ang="0">
                <a:pos x="559" y="658"/>
              </a:cxn>
              <a:cxn ang="0">
                <a:pos x="563" y="691"/>
              </a:cxn>
              <a:cxn ang="0">
                <a:pos x="689" y="619"/>
              </a:cxn>
              <a:cxn ang="0">
                <a:pos x="697" y="581"/>
              </a:cxn>
              <a:cxn ang="0">
                <a:pos x="749" y="589"/>
              </a:cxn>
              <a:cxn ang="0">
                <a:pos x="828" y="646"/>
              </a:cxn>
              <a:cxn ang="0">
                <a:pos x="983" y="643"/>
              </a:cxn>
              <a:cxn ang="0">
                <a:pos x="978" y="674"/>
              </a:cxn>
              <a:cxn ang="0">
                <a:pos x="1035" y="678"/>
              </a:cxn>
              <a:cxn ang="0">
                <a:pos x="937" y="634"/>
              </a:cxn>
              <a:cxn ang="0">
                <a:pos x="565" y="60"/>
              </a:cxn>
              <a:cxn ang="0">
                <a:pos x="448" y="17"/>
              </a:cxn>
              <a:cxn ang="0">
                <a:pos x="406" y="33"/>
              </a:cxn>
              <a:cxn ang="0">
                <a:pos x="393" y="0"/>
              </a:cxn>
              <a:cxn ang="0">
                <a:pos x="284" y="39"/>
              </a:cxn>
              <a:cxn ang="0">
                <a:pos x="274" y="51"/>
              </a:cxn>
              <a:cxn ang="0">
                <a:pos x="220" y="93"/>
              </a:cxn>
              <a:cxn ang="0">
                <a:pos x="154" y="136"/>
              </a:cxn>
              <a:cxn ang="0">
                <a:pos x="67" y="179"/>
              </a:cxn>
              <a:cxn ang="0">
                <a:pos x="150" y="259"/>
              </a:cxn>
              <a:cxn ang="0">
                <a:pos x="207" y="285"/>
              </a:cxn>
              <a:cxn ang="0">
                <a:pos x="246" y="307"/>
              </a:cxn>
              <a:cxn ang="0">
                <a:pos x="150" y="319"/>
              </a:cxn>
              <a:cxn ang="0">
                <a:pos x="116" y="290"/>
              </a:cxn>
            </a:cxnLst>
            <a:rect l="0" t="0" r="r" b="b"/>
            <a:pathLst>
              <a:path w="1035" h="903">
                <a:moveTo>
                  <a:pt x="0" y="345"/>
                </a:moveTo>
                <a:lnTo>
                  <a:pt x="65" y="362"/>
                </a:lnTo>
                <a:lnTo>
                  <a:pt x="39" y="369"/>
                </a:lnTo>
                <a:lnTo>
                  <a:pt x="67" y="402"/>
                </a:lnTo>
                <a:lnTo>
                  <a:pt x="171" y="399"/>
                </a:lnTo>
                <a:lnTo>
                  <a:pt x="186" y="421"/>
                </a:lnTo>
                <a:lnTo>
                  <a:pt x="252" y="394"/>
                </a:lnTo>
                <a:lnTo>
                  <a:pt x="229" y="405"/>
                </a:lnTo>
                <a:lnTo>
                  <a:pt x="242" y="460"/>
                </a:lnTo>
                <a:lnTo>
                  <a:pt x="100" y="512"/>
                </a:lnTo>
                <a:lnTo>
                  <a:pt x="62" y="570"/>
                </a:lnTo>
                <a:lnTo>
                  <a:pt x="97" y="561"/>
                </a:lnTo>
                <a:lnTo>
                  <a:pt x="71" y="576"/>
                </a:lnTo>
                <a:lnTo>
                  <a:pt x="97" y="596"/>
                </a:lnTo>
                <a:lnTo>
                  <a:pt x="149" y="603"/>
                </a:lnTo>
                <a:lnTo>
                  <a:pt x="119" y="634"/>
                </a:lnTo>
                <a:lnTo>
                  <a:pt x="143" y="663"/>
                </a:lnTo>
                <a:lnTo>
                  <a:pt x="171" y="667"/>
                </a:lnTo>
                <a:lnTo>
                  <a:pt x="226" y="603"/>
                </a:lnTo>
                <a:lnTo>
                  <a:pt x="192" y="634"/>
                </a:lnTo>
                <a:lnTo>
                  <a:pt x="220" y="693"/>
                </a:lnTo>
                <a:lnTo>
                  <a:pt x="207" y="718"/>
                </a:lnTo>
                <a:lnTo>
                  <a:pt x="270" y="684"/>
                </a:lnTo>
                <a:lnTo>
                  <a:pt x="313" y="726"/>
                </a:lnTo>
                <a:lnTo>
                  <a:pt x="328" y="701"/>
                </a:lnTo>
                <a:lnTo>
                  <a:pt x="342" y="718"/>
                </a:lnTo>
                <a:lnTo>
                  <a:pt x="390" y="695"/>
                </a:lnTo>
                <a:lnTo>
                  <a:pt x="324" y="807"/>
                </a:lnTo>
                <a:lnTo>
                  <a:pt x="273" y="830"/>
                </a:lnTo>
                <a:lnTo>
                  <a:pt x="270" y="855"/>
                </a:lnTo>
                <a:lnTo>
                  <a:pt x="207" y="856"/>
                </a:lnTo>
                <a:lnTo>
                  <a:pt x="160" y="903"/>
                </a:lnTo>
                <a:lnTo>
                  <a:pt x="220" y="867"/>
                </a:lnTo>
                <a:lnTo>
                  <a:pt x="287" y="870"/>
                </a:lnTo>
                <a:lnTo>
                  <a:pt x="325" y="841"/>
                </a:lnTo>
                <a:lnTo>
                  <a:pt x="308" y="819"/>
                </a:lnTo>
                <a:lnTo>
                  <a:pt x="350" y="823"/>
                </a:lnTo>
                <a:lnTo>
                  <a:pt x="481" y="737"/>
                </a:lnTo>
                <a:lnTo>
                  <a:pt x="506" y="706"/>
                </a:lnTo>
                <a:lnTo>
                  <a:pt x="482" y="682"/>
                </a:lnTo>
                <a:lnTo>
                  <a:pt x="597" y="578"/>
                </a:lnTo>
                <a:lnTo>
                  <a:pt x="614" y="527"/>
                </a:lnTo>
                <a:lnTo>
                  <a:pt x="601" y="578"/>
                </a:lnTo>
                <a:lnTo>
                  <a:pt x="647" y="569"/>
                </a:lnTo>
                <a:lnTo>
                  <a:pt x="623" y="591"/>
                </a:lnTo>
                <a:lnTo>
                  <a:pt x="658" y="602"/>
                </a:lnTo>
                <a:lnTo>
                  <a:pt x="575" y="609"/>
                </a:lnTo>
                <a:lnTo>
                  <a:pt x="559" y="658"/>
                </a:lnTo>
                <a:lnTo>
                  <a:pt x="590" y="657"/>
                </a:lnTo>
                <a:lnTo>
                  <a:pt x="563" y="691"/>
                </a:lnTo>
                <a:lnTo>
                  <a:pt x="673" y="646"/>
                </a:lnTo>
                <a:lnTo>
                  <a:pt x="689" y="619"/>
                </a:lnTo>
                <a:lnTo>
                  <a:pt x="671" y="607"/>
                </a:lnTo>
                <a:lnTo>
                  <a:pt x="697" y="581"/>
                </a:lnTo>
                <a:lnTo>
                  <a:pt x="692" y="602"/>
                </a:lnTo>
                <a:lnTo>
                  <a:pt x="749" y="589"/>
                </a:lnTo>
                <a:lnTo>
                  <a:pt x="736" y="610"/>
                </a:lnTo>
                <a:lnTo>
                  <a:pt x="828" y="646"/>
                </a:lnTo>
                <a:lnTo>
                  <a:pt x="961" y="663"/>
                </a:lnTo>
                <a:lnTo>
                  <a:pt x="983" y="643"/>
                </a:lnTo>
                <a:lnTo>
                  <a:pt x="1003" y="653"/>
                </a:lnTo>
                <a:lnTo>
                  <a:pt x="978" y="674"/>
                </a:lnTo>
                <a:lnTo>
                  <a:pt x="1016" y="693"/>
                </a:lnTo>
                <a:lnTo>
                  <a:pt x="1035" y="678"/>
                </a:lnTo>
                <a:lnTo>
                  <a:pt x="1000" y="634"/>
                </a:lnTo>
                <a:lnTo>
                  <a:pt x="937" y="634"/>
                </a:lnTo>
                <a:lnTo>
                  <a:pt x="937" y="103"/>
                </a:lnTo>
                <a:lnTo>
                  <a:pt x="565" y="60"/>
                </a:lnTo>
                <a:lnTo>
                  <a:pt x="550" y="34"/>
                </a:lnTo>
                <a:lnTo>
                  <a:pt x="448" y="17"/>
                </a:lnTo>
                <a:lnTo>
                  <a:pt x="437" y="39"/>
                </a:lnTo>
                <a:lnTo>
                  <a:pt x="406" y="33"/>
                </a:lnTo>
                <a:lnTo>
                  <a:pt x="435" y="15"/>
                </a:lnTo>
                <a:lnTo>
                  <a:pt x="393" y="0"/>
                </a:lnTo>
                <a:lnTo>
                  <a:pt x="351" y="34"/>
                </a:lnTo>
                <a:lnTo>
                  <a:pt x="284" y="39"/>
                </a:lnTo>
                <a:lnTo>
                  <a:pt x="281" y="70"/>
                </a:lnTo>
                <a:lnTo>
                  <a:pt x="274" y="51"/>
                </a:lnTo>
                <a:lnTo>
                  <a:pt x="210" y="69"/>
                </a:lnTo>
                <a:lnTo>
                  <a:pt x="220" y="93"/>
                </a:lnTo>
                <a:lnTo>
                  <a:pt x="192" y="86"/>
                </a:lnTo>
                <a:lnTo>
                  <a:pt x="154" y="136"/>
                </a:lnTo>
                <a:lnTo>
                  <a:pt x="62" y="157"/>
                </a:lnTo>
                <a:lnTo>
                  <a:pt x="67" y="179"/>
                </a:lnTo>
                <a:lnTo>
                  <a:pt x="40" y="185"/>
                </a:lnTo>
                <a:lnTo>
                  <a:pt x="150" y="259"/>
                </a:lnTo>
                <a:lnTo>
                  <a:pt x="296" y="295"/>
                </a:lnTo>
                <a:lnTo>
                  <a:pt x="207" y="285"/>
                </a:lnTo>
                <a:lnTo>
                  <a:pt x="210" y="306"/>
                </a:lnTo>
                <a:lnTo>
                  <a:pt x="246" y="307"/>
                </a:lnTo>
                <a:lnTo>
                  <a:pt x="216" y="323"/>
                </a:lnTo>
                <a:lnTo>
                  <a:pt x="150" y="319"/>
                </a:lnTo>
                <a:lnTo>
                  <a:pt x="150" y="287"/>
                </a:lnTo>
                <a:lnTo>
                  <a:pt x="116" y="290"/>
                </a:lnTo>
                <a:lnTo>
                  <a:pt x="0" y="34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88" name="Freeform 87"/>
          <p:cNvSpPr>
            <a:spLocks noChangeAspect="1"/>
          </p:cNvSpPr>
          <p:nvPr/>
        </p:nvSpPr>
        <p:spPr bwMode="gray">
          <a:xfrm>
            <a:off x="3933357" y="4220954"/>
            <a:ext cx="39219" cy="15501"/>
          </a:xfrm>
          <a:custGeom>
            <a:avLst/>
            <a:gdLst/>
            <a:ahLst/>
            <a:cxnLst>
              <a:cxn ang="0">
                <a:pos x="0" y="0"/>
              </a:cxn>
              <a:cxn ang="0">
                <a:pos x="4" y="17"/>
              </a:cxn>
              <a:cxn ang="0">
                <a:pos x="52" y="10"/>
              </a:cxn>
              <a:cxn ang="0">
                <a:pos x="0" y="0"/>
              </a:cxn>
            </a:cxnLst>
            <a:rect l="0" t="0" r="r" b="b"/>
            <a:pathLst>
              <a:path w="52" h="17">
                <a:moveTo>
                  <a:pt x="0" y="0"/>
                </a:moveTo>
                <a:lnTo>
                  <a:pt x="4" y="17"/>
                </a:lnTo>
                <a:lnTo>
                  <a:pt x="52" y="10"/>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89" name="Freeform 88"/>
          <p:cNvSpPr>
            <a:spLocks noChangeAspect="1"/>
          </p:cNvSpPr>
          <p:nvPr/>
        </p:nvSpPr>
        <p:spPr bwMode="gray">
          <a:xfrm>
            <a:off x="7286613" y="3625060"/>
            <a:ext cx="370624" cy="280725"/>
          </a:xfrm>
          <a:custGeom>
            <a:avLst/>
            <a:gdLst/>
            <a:ahLst/>
            <a:cxnLst>
              <a:cxn ang="0">
                <a:pos x="0" y="168"/>
              </a:cxn>
              <a:cxn ang="0">
                <a:pos x="3" y="259"/>
              </a:cxn>
              <a:cxn ang="0">
                <a:pos x="40" y="287"/>
              </a:cxn>
              <a:cxn ang="0">
                <a:pos x="11" y="333"/>
              </a:cxn>
              <a:cxn ang="0">
                <a:pos x="66" y="351"/>
              </a:cxn>
              <a:cxn ang="0">
                <a:pos x="193" y="333"/>
              </a:cxn>
              <a:cxn ang="0">
                <a:pos x="217" y="282"/>
              </a:cxn>
              <a:cxn ang="0">
                <a:pos x="303" y="254"/>
              </a:cxn>
              <a:cxn ang="0">
                <a:pos x="311" y="211"/>
              </a:cxn>
              <a:cxn ang="0">
                <a:pos x="340" y="199"/>
              </a:cxn>
              <a:cxn ang="0">
                <a:pos x="327" y="177"/>
              </a:cxn>
              <a:cxn ang="0">
                <a:pos x="358" y="174"/>
              </a:cxn>
              <a:cxn ang="0">
                <a:pos x="381" y="130"/>
              </a:cxn>
              <a:cxn ang="0">
                <a:pos x="371" y="88"/>
              </a:cxn>
              <a:cxn ang="0">
                <a:pos x="486" y="56"/>
              </a:cxn>
              <a:cxn ang="0">
                <a:pos x="490" y="47"/>
              </a:cxn>
              <a:cxn ang="0">
                <a:pos x="447" y="39"/>
              </a:cxn>
              <a:cxn ang="0">
                <a:pos x="385" y="69"/>
              </a:cxn>
              <a:cxn ang="0">
                <a:pos x="357" y="0"/>
              </a:cxn>
              <a:cxn ang="0">
                <a:pos x="304" y="52"/>
              </a:cxn>
              <a:cxn ang="0">
                <a:pos x="152" y="47"/>
              </a:cxn>
              <a:cxn ang="0">
                <a:pos x="75" y="128"/>
              </a:cxn>
              <a:cxn ang="0">
                <a:pos x="24" y="102"/>
              </a:cxn>
              <a:cxn ang="0">
                <a:pos x="0" y="168"/>
              </a:cxn>
            </a:cxnLst>
            <a:rect l="0" t="0" r="r" b="b"/>
            <a:pathLst>
              <a:path w="490" h="351">
                <a:moveTo>
                  <a:pt x="0" y="168"/>
                </a:moveTo>
                <a:lnTo>
                  <a:pt x="3" y="259"/>
                </a:lnTo>
                <a:lnTo>
                  <a:pt x="40" y="287"/>
                </a:lnTo>
                <a:lnTo>
                  <a:pt x="11" y="333"/>
                </a:lnTo>
                <a:lnTo>
                  <a:pt x="66" y="351"/>
                </a:lnTo>
                <a:lnTo>
                  <a:pt x="193" y="333"/>
                </a:lnTo>
                <a:lnTo>
                  <a:pt x="217" y="282"/>
                </a:lnTo>
                <a:lnTo>
                  <a:pt x="303" y="254"/>
                </a:lnTo>
                <a:lnTo>
                  <a:pt x="311" y="211"/>
                </a:lnTo>
                <a:lnTo>
                  <a:pt x="340" y="199"/>
                </a:lnTo>
                <a:lnTo>
                  <a:pt x="327" y="177"/>
                </a:lnTo>
                <a:lnTo>
                  <a:pt x="358" y="174"/>
                </a:lnTo>
                <a:lnTo>
                  <a:pt x="381" y="130"/>
                </a:lnTo>
                <a:lnTo>
                  <a:pt x="371" y="88"/>
                </a:lnTo>
                <a:lnTo>
                  <a:pt x="486" y="56"/>
                </a:lnTo>
                <a:lnTo>
                  <a:pt x="490" y="47"/>
                </a:lnTo>
                <a:lnTo>
                  <a:pt x="447" y="39"/>
                </a:lnTo>
                <a:lnTo>
                  <a:pt x="385" y="69"/>
                </a:lnTo>
                <a:lnTo>
                  <a:pt x="357" y="0"/>
                </a:lnTo>
                <a:lnTo>
                  <a:pt x="304" y="52"/>
                </a:lnTo>
                <a:lnTo>
                  <a:pt x="152" y="47"/>
                </a:lnTo>
                <a:lnTo>
                  <a:pt x="75" y="128"/>
                </a:lnTo>
                <a:lnTo>
                  <a:pt x="24" y="102"/>
                </a:lnTo>
                <a:lnTo>
                  <a:pt x="0" y="16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90" name="Freeform 89"/>
          <p:cNvSpPr>
            <a:spLocks noChangeAspect="1"/>
          </p:cNvSpPr>
          <p:nvPr/>
        </p:nvSpPr>
        <p:spPr bwMode="gray">
          <a:xfrm>
            <a:off x="6202199" y="3492446"/>
            <a:ext cx="45103" cy="94724"/>
          </a:xfrm>
          <a:custGeom>
            <a:avLst/>
            <a:gdLst/>
            <a:ahLst/>
            <a:cxnLst>
              <a:cxn ang="0">
                <a:pos x="0" y="90"/>
              </a:cxn>
              <a:cxn ang="0">
                <a:pos x="2" y="28"/>
              </a:cxn>
              <a:cxn ang="0">
                <a:pos x="30" y="0"/>
              </a:cxn>
              <a:cxn ang="0">
                <a:pos x="62" y="70"/>
              </a:cxn>
              <a:cxn ang="0">
                <a:pos x="33" y="119"/>
              </a:cxn>
              <a:cxn ang="0">
                <a:pos x="0" y="90"/>
              </a:cxn>
            </a:cxnLst>
            <a:rect l="0" t="0" r="r" b="b"/>
            <a:pathLst>
              <a:path w="62" h="119">
                <a:moveTo>
                  <a:pt x="0" y="90"/>
                </a:moveTo>
                <a:lnTo>
                  <a:pt x="2" y="28"/>
                </a:lnTo>
                <a:lnTo>
                  <a:pt x="30" y="0"/>
                </a:lnTo>
                <a:lnTo>
                  <a:pt x="62" y="70"/>
                </a:lnTo>
                <a:lnTo>
                  <a:pt x="33" y="119"/>
                </a:lnTo>
                <a:lnTo>
                  <a:pt x="0" y="9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91" name="Freeform 90"/>
          <p:cNvSpPr>
            <a:spLocks noChangeAspect="1"/>
          </p:cNvSpPr>
          <p:nvPr/>
        </p:nvSpPr>
        <p:spPr bwMode="gray">
          <a:xfrm>
            <a:off x="5470757" y="3675003"/>
            <a:ext cx="529461" cy="533894"/>
          </a:xfrm>
          <a:custGeom>
            <a:avLst/>
            <a:gdLst/>
            <a:ahLst/>
            <a:cxnLst>
              <a:cxn ang="0">
                <a:pos x="0" y="359"/>
              </a:cxn>
              <a:cxn ang="0">
                <a:pos x="3" y="372"/>
              </a:cxn>
              <a:cxn ang="0">
                <a:pos x="131" y="455"/>
              </a:cxn>
              <a:cxn ang="0">
                <a:pos x="410" y="640"/>
              </a:cxn>
              <a:cxn ang="0">
                <a:pos x="413" y="672"/>
              </a:cxn>
              <a:cxn ang="0">
                <a:pos x="441" y="667"/>
              </a:cxn>
              <a:cxn ang="0">
                <a:pos x="495" y="654"/>
              </a:cxn>
              <a:cxn ang="0">
                <a:pos x="705" y="509"/>
              </a:cxn>
              <a:cxn ang="0">
                <a:pos x="623" y="413"/>
              </a:cxn>
              <a:cxn ang="0">
                <a:pos x="624" y="258"/>
              </a:cxn>
              <a:cxn ang="0">
                <a:pos x="614" y="189"/>
              </a:cxn>
              <a:cxn ang="0">
                <a:pos x="556" y="119"/>
              </a:cxn>
              <a:cxn ang="0">
                <a:pos x="586" y="95"/>
              </a:cxn>
              <a:cxn ang="0">
                <a:pos x="601" y="0"/>
              </a:cxn>
              <a:cxn ang="0">
                <a:pos x="351" y="16"/>
              </a:cxn>
              <a:cxn ang="0">
                <a:pos x="223" y="71"/>
              </a:cxn>
              <a:cxn ang="0">
                <a:pos x="256" y="186"/>
              </a:cxn>
              <a:cxn ang="0">
                <a:pos x="200" y="189"/>
              </a:cxn>
              <a:cxn ang="0">
                <a:pos x="170" y="201"/>
              </a:cxn>
              <a:cxn ang="0">
                <a:pos x="175" y="232"/>
              </a:cxn>
              <a:cxn ang="0">
                <a:pos x="19" y="300"/>
              </a:cxn>
              <a:cxn ang="0">
                <a:pos x="0" y="359"/>
              </a:cxn>
            </a:cxnLst>
            <a:rect l="0" t="0" r="r" b="b"/>
            <a:pathLst>
              <a:path w="705" h="672">
                <a:moveTo>
                  <a:pt x="0" y="359"/>
                </a:moveTo>
                <a:lnTo>
                  <a:pt x="3" y="372"/>
                </a:lnTo>
                <a:lnTo>
                  <a:pt x="131" y="455"/>
                </a:lnTo>
                <a:lnTo>
                  <a:pt x="410" y="640"/>
                </a:lnTo>
                <a:lnTo>
                  <a:pt x="413" y="672"/>
                </a:lnTo>
                <a:lnTo>
                  <a:pt x="441" y="667"/>
                </a:lnTo>
                <a:lnTo>
                  <a:pt x="495" y="654"/>
                </a:lnTo>
                <a:lnTo>
                  <a:pt x="705" y="509"/>
                </a:lnTo>
                <a:lnTo>
                  <a:pt x="623" y="413"/>
                </a:lnTo>
                <a:lnTo>
                  <a:pt x="624" y="258"/>
                </a:lnTo>
                <a:lnTo>
                  <a:pt x="614" y="189"/>
                </a:lnTo>
                <a:lnTo>
                  <a:pt x="556" y="119"/>
                </a:lnTo>
                <a:lnTo>
                  <a:pt x="586" y="95"/>
                </a:lnTo>
                <a:lnTo>
                  <a:pt x="601" y="0"/>
                </a:lnTo>
                <a:lnTo>
                  <a:pt x="351" y="16"/>
                </a:lnTo>
                <a:lnTo>
                  <a:pt x="223" y="71"/>
                </a:lnTo>
                <a:lnTo>
                  <a:pt x="256" y="186"/>
                </a:lnTo>
                <a:lnTo>
                  <a:pt x="200" y="189"/>
                </a:lnTo>
                <a:lnTo>
                  <a:pt x="170" y="201"/>
                </a:lnTo>
                <a:lnTo>
                  <a:pt x="175" y="232"/>
                </a:lnTo>
                <a:lnTo>
                  <a:pt x="19" y="300"/>
                </a:lnTo>
                <a:lnTo>
                  <a:pt x="0" y="35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92" name="Freeform 91"/>
          <p:cNvSpPr>
            <a:spLocks noChangeAspect="1"/>
          </p:cNvSpPr>
          <p:nvPr/>
        </p:nvSpPr>
        <p:spPr bwMode="gray">
          <a:xfrm>
            <a:off x="3772558" y="5345574"/>
            <a:ext cx="515735" cy="974786"/>
          </a:xfrm>
          <a:custGeom>
            <a:avLst/>
            <a:gdLst/>
            <a:ahLst/>
            <a:cxnLst>
              <a:cxn ang="0">
                <a:pos x="0" y="1131"/>
              </a:cxn>
              <a:cxn ang="0">
                <a:pos x="5" y="1158"/>
              </a:cxn>
              <a:cxn ang="0">
                <a:pos x="35" y="1148"/>
              </a:cxn>
              <a:cxn ang="0">
                <a:pos x="46" y="1210"/>
              </a:cxn>
              <a:cxn ang="0">
                <a:pos x="172" y="1223"/>
              </a:cxn>
              <a:cxn ang="0">
                <a:pos x="137" y="1192"/>
              </a:cxn>
              <a:cxn ang="0">
                <a:pos x="163" y="1109"/>
              </a:cxn>
              <a:cxn ang="0">
                <a:pos x="188" y="1125"/>
              </a:cxn>
              <a:cxn ang="0">
                <a:pos x="266" y="1009"/>
              </a:cxn>
              <a:cxn ang="0">
                <a:pos x="205" y="942"/>
              </a:cxn>
              <a:cxn ang="0">
                <a:pos x="273" y="903"/>
              </a:cxn>
              <a:cxn ang="0">
                <a:pos x="283" y="842"/>
              </a:cxn>
              <a:cxn ang="0">
                <a:pos x="315" y="815"/>
              </a:cxn>
              <a:cxn ang="0">
                <a:pos x="288" y="804"/>
              </a:cxn>
              <a:cxn ang="0">
                <a:pos x="339" y="804"/>
              </a:cxn>
              <a:cxn ang="0">
                <a:pos x="333" y="776"/>
              </a:cxn>
              <a:cxn ang="0">
                <a:pos x="310" y="796"/>
              </a:cxn>
              <a:cxn ang="0">
                <a:pos x="288" y="774"/>
              </a:cxn>
              <a:cxn ang="0">
                <a:pos x="284" y="730"/>
              </a:cxn>
              <a:cxn ang="0">
                <a:pos x="377" y="735"/>
              </a:cxn>
              <a:cxn ang="0">
                <a:pos x="386" y="644"/>
              </a:cxn>
              <a:cxn ang="0">
                <a:pos x="534" y="629"/>
              </a:cxn>
              <a:cxn ang="0">
                <a:pos x="576" y="567"/>
              </a:cxn>
              <a:cxn ang="0">
                <a:pos x="518" y="455"/>
              </a:cxn>
              <a:cxn ang="0">
                <a:pos x="547" y="311"/>
              </a:cxn>
              <a:cxn ang="0">
                <a:pos x="683" y="194"/>
              </a:cxn>
              <a:cxn ang="0">
                <a:pos x="678" y="141"/>
              </a:cxn>
              <a:cxn ang="0">
                <a:pos x="650" y="140"/>
              </a:cxn>
              <a:cxn ang="0">
                <a:pos x="614" y="203"/>
              </a:cxn>
              <a:cxn ang="0">
                <a:pos x="520" y="198"/>
              </a:cxn>
              <a:cxn ang="0">
                <a:pos x="540" y="128"/>
              </a:cxn>
              <a:cxn ang="0">
                <a:pos x="373" y="18"/>
              </a:cxn>
              <a:cxn ang="0">
                <a:pos x="317" y="9"/>
              </a:cxn>
              <a:cxn ang="0">
                <a:pos x="314" y="33"/>
              </a:cxn>
              <a:cxn ang="0">
                <a:pos x="249" y="0"/>
              </a:cxn>
              <a:cxn ang="0">
                <a:pos x="212" y="40"/>
              </a:cxn>
              <a:cxn ang="0">
                <a:pos x="208" y="83"/>
              </a:cxn>
              <a:cxn ang="0">
                <a:pos x="170" y="101"/>
              </a:cxn>
              <a:cxn ang="0">
                <a:pos x="172" y="185"/>
              </a:cxn>
              <a:cxn ang="0">
                <a:pos x="130" y="232"/>
              </a:cxn>
              <a:cxn ang="0">
                <a:pos x="97" y="351"/>
              </a:cxn>
              <a:cxn ang="0">
                <a:pos x="122" y="464"/>
              </a:cxn>
              <a:cxn ang="0">
                <a:pos x="77" y="560"/>
              </a:cxn>
              <a:cxn ang="0">
                <a:pos x="46" y="798"/>
              </a:cxn>
              <a:cxn ang="0">
                <a:pos x="70" y="885"/>
              </a:cxn>
              <a:cxn ang="0">
                <a:pos x="47" y="892"/>
              </a:cxn>
              <a:cxn ang="0">
                <a:pos x="59" y="969"/>
              </a:cxn>
              <a:cxn ang="0">
                <a:pos x="0" y="1131"/>
              </a:cxn>
            </a:cxnLst>
            <a:rect l="0" t="0" r="r" b="b"/>
            <a:pathLst>
              <a:path w="683" h="1223">
                <a:moveTo>
                  <a:pt x="0" y="1131"/>
                </a:moveTo>
                <a:lnTo>
                  <a:pt x="5" y="1158"/>
                </a:lnTo>
                <a:lnTo>
                  <a:pt x="35" y="1148"/>
                </a:lnTo>
                <a:lnTo>
                  <a:pt x="46" y="1210"/>
                </a:lnTo>
                <a:lnTo>
                  <a:pt x="172" y="1223"/>
                </a:lnTo>
                <a:lnTo>
                  <a:pt x="137" y="1192"/>
                </a:lnTo>
                <a:lnTo>
                  <a:pt x="163" y="1109"/>
                </a:lnTo>
                <a:lnTo>
                  <a:pt x="188" y="1125"/>
                </a:lnTo>
                <a:lnTo>
                  <a:pt x="266" y="1009"/>
                </a:lnTo>
                <a:lnTo>
                  <a:pt x="205" y="942"/>
                </a:lnTo>
                <a:lnTo>
                  <a:pt x="273" y="903"/>
                </a:lnTo>
                <a:lnTo>
                  <a:pt x="283" y="842"/>
                </a:lnTo>
                <a:lnTo>
                  <a:pt x="315" y="815"/>
                </a:lnTo>
                <a:lnTo>
                  <a:pt x="288" y="804"/>
                </a:lnTo>
                <a:lnTo>
                  <a:pt x="339" y="804"/>
                </a:lnTo>
                <a:lnTo>
                  <a:pt x="333" y="776"/>
                </a:lnTo>
                <a:lnTo>
                  <a:pt x="310" y="796"/>
                </a:lnTo>
                <a:lnTo>
                  <a:pt x="288" y="774"/>
                </a:lnTo>
                <a:lnTo>
                  <a:pt x="284" y="730"/>
                </a:lnTo>
                <a:lnTo>
                  <a:pt x="377" y="735"/>
                </a:lnTo>
                <a:lnTo>
                  <a:pt x="386" y="644"/>
                </a:lnTo>
                <a:lnTo>
                  <a:pt x="534" y="629"/>
                </a:lnTo>
                <a:lnTo>
                  <a:pt x="576" y="567"/>
                </a:lnTo>
                <a:lnTo>
                  <a:pt x="518" y="455"/>
                </a:lnTo>
                <a:lnTo>
                  <a:pt x="547" y="311"/>
                </a:lnTo>
                <a:lnTo>
                  <a:pt x="683" y="194"/>
                </a:lnTo>
                <a:lnTo>
                  <a:pt x="678" y="141"/>
                </a:lnTo>
                <a:lnTo>
                  <a:pt x="650" y="140"/>
                </a:lnTo>
                <a:lnTo>
                  <a:pt x="614" y="203"/>
                </a:lnTo>
                <a:lnTo>
                  <a:pt x="520" y="198"/>
                </a:lnTo>
                <a:lnTo>
                  <a:pt x="540" y="128"/>
                </a:lnTo>
                <a:lnTo>
                  <a:pt x="373" y="18"/>
                </a:lnTo>
                <a:lnTo>
                  <a:pt x="317" y="9"/>
                </a:lnTo>
                <a:lnTo>
                  <a:pt x="314" y="33"/>
                </a:lnTo>
                <a:lnTo>
                  <a:pt x="249" y="0"/>
                </a:lnTo>
                <a:lnTo>
                  <a:pt x="212" y="40"/>
                </a:lnTo>
                <a:lnTo>
                  <a:pt x="208" y="83"/>
                </a:lnTo>
                <a:lnTo>
                  <a:pt x="170" y="101"/>
                </a:lnTo>
                <a:lnTo>
                  <a:pt x="172" y="185"/>
                </a:lnTo>
                <a:lnTo>
                  <a:pt x="130" y="232"/>
                </a:lnTo>
                <a:lnTo>
                  <a:pt x="97" y="351"/>
                </a:lnTo>
                <a:lnTo>
                  <a:pt x="122" y="464"/>
                </a:lnTo>
                <a:lnTo>
                  <a:pt x="77" y="560"/>
                </a:lnTo>
                <a:lnTo>
                  <a:pt x="46" y="798"/>
                </a:lnTo>
                <a:lnTo>
                  <a:pt x="70" y="885"/>
                </a:lnTo>
                <a:lnTo>
                  <a:pt x="47" y="892"/>
                </a:lnTo>
                <a:lnTo>
                  <a:pt x="59" y="969"/>
                </a:lnTo>
                <a:lnTo>
                  <a:pt x="0" y="113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93" name="Freeform 92"/>
          <p:cNvSpPr>
            <a:spLocks noChangeAspect="1"/>
          </p:cNvSpPr>
          <p:nvPr/>
        </p:nvSpPr>
        <p:spPr bwMode="gray">
          <a:xfrm>
            <a:off x="3894138" y="6334140"/>
            <a:ext cx="90205" cy="86111"/>
          </a:xfrm>
          <a:custGeom>
            <a:avLst/>
            <a:gdLst/>
            <a:ahLst/>
            <a:cxnLst>
              <a:cxn ang="0">
                <a:pos x="0" y="0"/>
              </a:cxn>
              <a:cxn ang="0">
                <a:pos x="3" y="106"/>
              </a:cxn>
              <a:cxn ang="0">
                <a:pos x="121" y="95"/>
              </a:cxn>
              <a:cxn ang="0">
                <a:pos x="27" y="52"/>
              </a:cxn>
              <a:cxn ang="0">
                <a:pos x="0" y="0"/>
              </a:cxn>
            </a:cxnLst>
            <a:rect l="0" t="0" r="r" b="b"/>
            <a:pathLst>
              <a:path w="121" h="106">
                <a:moveTo>
                  <a:pt x="0" y="0"/>
                </a:moveTo>
                <a:lnTo>
                  <a:pt x="3" y="106"/>
                </a:lnTo>
                <a:lnTo>
                  <a:pt x="121" y="95"/>
                </a:lnTo>
                <a:lnTo>
                  <a:pt x="27" y="52"/>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94" name="Freeform 93"/>
          <p:cNvSpPr>
            <a:spLocks noChangeAspect="1"/>
          </p:cNvSpPr>
          <p:nvPr/>
        </p:nvSpPr>
        <p:spPr bwMode="gray">
          <a:xfrm>
            <a:off x="8663212" y="5033852"/>
            <a:ext cx="1062845" cy="840451"/>
          </a:xfrm>
          <a:custGeom>
            <a:avLst/>
            <a:gdLst/>
            <a:ahLst/>
            <a:cxnLst>
              <a:cxn ang="0">
                <a:pos x="24" y="563"/>
              </a:cxn>
              <a:cxn ang="0">
                <a:pos x="37" y="549"/>
              </a:cxn>
              <a:cxn ang="0">
                <a:pos x="27" y="395"/>
              </a:cxn>
              <a:cxn ang="0">
                <a:pos x="122" y="348"/>
              </a:cxn>
              <a:cxn ang="0">
                <a:pos x="318" y="258"/>
              </a:cxn>
              <a:cxn ang="0">
                <a:pos x="336" y="198"/>
              </a:cxn>
              <a:cxn ang="0">
                <a:pos x="358" y="195"/>
              </a:cxn>
              <a:cxn ang="0">
                <a:pos x="393" y="170"/>
              </a:cxn>
              <a:cxn ang="0">
                <a:pos x="501" y="121"/>
              </a:cxn>
              <a:cxn ang="0">
                <a:pos x="534" y="143"/>
              </a:cxn>
              <a:cxn ang="0">
                <a:pos x="560" y="126"/>
              </a:cxn>
              <a:cxn ang="0">
                <a:pos x="675" y="50"/>
              </a:cxn>
              <a:cxn ang="0">
                <a:pos x="813" y="59"/>
              </a:cxn>
              <a:cxn ang="0">
                <a:pos x="937" y="248"/>
              </a:cxn>
              <a:cxn ang="0">
                <a:pos x="993" y="49"/>
              </a:cxn>
              <a:cxn ang="0">
                <a:pos x="1064" y="124"/>
              </a:cxn>
              <a:cxn ang="0">
                <a:pos x="1155" y="295"/>
              </a:cxn>
              <a:cxn ang="0">
                <a:pos x="1271" y="420"/>
              </a:cxn>
              <a:cxn ang="0">
                <a:pos x="1310" y="458"/>
              </a:cxn>
              <a:cxn ang="0">
                <a:pos x="1403" y="630"/>
              </a:cxn>
              <a:cxn ang="0">
                <a:pos x="1325" y="831"/>
              </a:cxn>
              <a:cxn ang="0">
                <a:pos x="1201" y="1004"/>
              </a:cxn>
              <a:cxn ang="0">
                <a:pos x="1156" y="1052"/>
              </a:cxn>
              <a:cxn ang="0">
                <a:pos x="1052" y="1037"/>
              </a:cxn>
              <a:cxn ang="0">
                <a:pos x="933" y="982"/>
              </a:cxn>
              <a:cxn ang="0">
                <a:pos x="868" y="911"/>
              </a:cxn>
              <a:cxn ang="0">
                <a:pos x="854" y="893"/>
              </a:cxn>
              <a:cxn ang="0">
                <a:pos x="856" y="791"/>
              </a:cxn>
              <a:cxn ang="0">
                <a:pos x="766" y="869"/>
              </a:cxn>
              <a:cxn ang="0">
                <a:pos x="631" y="750"/>
              </a:cxn>
              <a:cxn ang="0">
                <a:pos x="367" y="839"/>
              </a:cxn>
              <a:cxn ang="0">
                <a:pos x="165" y="892"/>
              </a:cxn>
              <a:cxn ang="0">
                <a:pos x="89" y="756"/>
              </a:cxn>
            </a:cxnLst>
            <a:rect l="0" t="0" r="r" b="b"/>
            <a:pathLst>
              <a:path w="1403" h="1052">
                <a:moveTo>
                  <a:pt x="0" y="554"/>
                </a:moveTo>
                <a:lnTo>
                  <a:pt x="24" y="563"/>
                </a:lnTo>
                <a:lnTo>
                  <a:pt x="10" y="532"/>
                </a:lnTo>
                <a:lnTo>
                  <a:pt x="37" y="549"/>
                </a:lnTo>
                <a:lnTo>
                  <a:pt x="9" y="488"/>
                </a:lnTo>
                <a:lnTo>
                  <a:pt x="27" y="395"/>
                </a:lnTo>
                <a:lnTo>
                  <a:pt x="35" y="420"/>
                </a:lnTo>
                <a:lnTo>
                  <a:pt x="122" y="348"/>
                </a:lnTo>
                <a:lnTo>
                  <a:pt x="268" y="313"/>
                </a:lnTo>
                <a:lnTo>
                  <a:pt x="318" y="258"/>
                </a:lnTo>
                <a:lnTo>
                  <a:pt x="317" y="224"/>
                </a:lnTo>
                <a:lnTo>
                  <a:pt x="336" y="198"/>
                </a:lnTo>
                <a:lnTo>
                  <a:pt x="358" y="240"/>
                </a:lnTo>
                <a:lnTo>
                  <a:pt x="358" y="195"/>
                </a:lnTo>
                <a:lnTo>
                  <a:pt x="391" y="204"/>
                </a:lnTo>
                <a:lnTo>
                  <a:pt x="393" y="170"/>
                </a:lnTo>
                <a:lnTo>
                  <a:pt x="445" y="119"/>
                </a:lnTo>
                <a:lnTo>
                  <a:pt x="501" y="121"/>
                </a:lnTo>
                <a:lnTo>
                  <a:pt x="512" y="173"/>
                </a:lnTo>
                <a:lnTo>
                  <a:pt x="534" y="143"/>
                </a:lnTo>
                <a:lnTo>
                  <a:pt x="576" y="160"/>
                </a:lnTo>
                <a:lnTo>
                  <a:pt x="560" y="126"/>
                </a:lnTo>
                <a:lnTo>
                  <a:pt x="593" y="71"/>
                </a:lnTo>
                <a:lnTo>
                  <a:pt x="675" y="50"/>
                </a:lnTo>
                <a:lnTo>
                  <a:pt x="654" y="14"/>
                </a:lnTo>
                <a:lnTo>
                  <a:pt x="813" y="59"/>
                </a:lnTo>
                <a:lnTo>
                  <a:pt x="779" y="152"/>
                </a:lnTo>
                <a:lnTo>
                  <a:pt x="937" y="248"/>
                </a:lnTo>
                <a:lnTo>
                  <a:pt x="976" y="211"/>
                </a:lnTo>
                <a:lnTo>
                  <a:pt x="993" y="49"/>
                </a:lnTo>
                <a:lnTo>
                  <a:pt x="1031" y="0"/>
                </a:lnTo>
                <a:lnTo>
                  <a:pt x="1064" y="124"/>
                </a:lnTo>
                <a:lnTo>
                  <a:pt x="1119" y="152"/>
                </a:lnTo>
                <a:lnTo>
                  <a:pt x="1155" y="295"/>
                </a:lnTo>
                <a:lnTo>
                  <a:pt x="1240" y="340"/>
                </a:lnTo>
                <a:lnTo>
                  <a:pt x="1271" y="420"/>
                </a:lnTo>
                <a:lnTo>
                  <a:pt x="1303" y="415"/>
                </a:lnTo>
                <a:lnTo>
                  <a:pt x="1310" y="458"/>
                </a:lnTo>
                <a:lnTo>
                  <a:pt x="1380" y="519"/>
                </a:lnTo>
                <a:lnTo>
                  <a:pt x="1403" y="630"/>
                </a:lnTo>
                <a:lnTo>
                  <a:pt x="1387" y="738"/>
                </a:lnTo>
                <a:lnTo>
                  <a:pt x="1325" y="831"/>
                </a:lnTo>
                <a:lnTo>
                  <a:pt x="1281" y="987"/>
                </a:lnTo>
                <a:lnTo>
                  <a:pt x="1201" y="1004"/>
                </a:lnTo>
                <a:lnTo>
                  <a:pt x="1153" y="1034"/>
                </a:lnTo>
                <a:lnTo>
                  <a:pt x="1156" y="1052"/>
                </a:lnTo>
                <a:lnTo>
                  <a:pt x="1106" y="999"/>
                </a:lnTo>
                <a:lnTo>
                  <a:pt x="1052" y="1037"/>
                </a:lnTo>
                <a:lnTo>
                  <a:pt x="986" y="1020"/>
                </a:lnTo>
                <a:lnTo>
                  <a:pt x="933" y="982"/>
                </a:lnTo>
                <a:lnTo>
                  <a:pt x="909" y="902"/>
                </a:lnTo>
                <a:lnTo>
                  <a:pt x="868" y="911"/>
                </a:lnTo>
                <a:lnTo>
                  <a:pt x="867" y="859"/>
                </a:lnTo>
                <a:lnTo>
                  <a:pt x="854" y="893"/>
                </a:lnTo>
                <a:lnTo>
                  <a:pt x="826" y="894"/>
                </a:lnTo>
                <a:lnTo>
                  <a:pt x="856" y="791"/>
                </a:lnTo>
                <a:lnTo>
                  <a:pt x="794" y="889"/>
                </a:lnTo>
                <a:lnTo>
                  <a:pt x="766" y="869"/>
                </a:lnTo>
                <a:lnTo>
                  <a:pt x="734" y="793"/>
                </a:lnTo>
                <a:lnTo>
                  <a:pt x="631" y="750"/>
                </a:lnTo>
                <a:lnTo>
                  <a:pt x="444" y="783"/>
                </a:lnTo>
                <a:lnTo>
                  <a:pt x="367" y="839"/>
                </a:lnTo>
                <a:lnTo>
                  <a:pt x="238" y="843"/>
                </a:lnTo>
                <a:lnTo>
                  <a:pt x="165" y="892"/>
                </a:lnTo>
                <a:lnTo>
                  <a:pt x="68" y="858"/>
                </a:lnTo>
                <a:lnTo>
                  <a:pt x="89" y="756"/>
                </a:lnTo>
                <a:lnTo>
                  <a:pt x="0" y="554"/>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95" name="Freeform 94"/>
          <p:cNvSpPr>
            <a:spLocks noChangeAspect="1"/>
          </p:cNvSpPr>
          <p:nvPr/>
        </p:nvSpPr>
        <p:spPr bwMode="gray">
          <a:xfrm>
            <a:off x="9494661" y="5922524"/>
            <a:ext cx="94126" cy="93001"/>
          </a:xfrm>
          <a:custGeom>
            <a:avLst/>
            <a:gdLst/>
            <a:ahLst/>
            <a:cxnLst>
              <a:cxn ang="0">
                <a:pos x="0" y="20"/>
              </a:cxn>
              <a:cxn ang="0">
                <a:pos x="2" y="0"/>
              </a:cxn>
              <a:cxn ang="0">
                <a:pos x="63" y="17"/>
              </a:cxn>
              <a:cxn ang="0">
                <a:pos x="110" y="3"/>
              </a:cxn>
              <a:cxn ang="0">
                <a:pos x="122" y="32"/>
              </a:cxn>
              <a:cxn ang="0">
                <a:pos x="122" y="67"/>
              </a:cxn>
              <a:cxn ang="0">
                <a:pos x="75" y="119"/>
              </a:cxn>
              <a:cxn ang="0">
                <a:pos x="45" y="116"/>
              </a:cxn>
              <a:cxn ang="0">
                <a:pos x="0" y="20"/>
              </a:cxn>
            </a:cxnLst>
            <a:rect l="0" t="0" r="r" b="b"/>
            <a:pathLst>
              <a:path w="122" h="119">
                <a:moveTo>
                  <a:pt x="0" y="20"/>
                </a:moveTo>
                <a:lnTo>
                  <a:pt x="2" y="0"/>
                </a:lnTo>
                <a:lnTo>
                  <a:pt x="63" y="17"/>
                </a:lnTo>
                <a:lnTo>
                  <a:pt x="110" y="3"/>
                </a:lnTo>
                <a:lnTo>
                  <a:pt x="122" y="32"/>
                </a:lnTo>
                <a:lnTo>
                  <a:pt x="122" y="67"/>
                </a:lnTo>
                <a:lnTo>
                  <a:pt x="75" y="119"/>
                </a:lnTo>
                <a:lnTo>
                  <a:pt x="45" y="116"/>
                </a:lnTo>
                <a:lnTo>
                  <a:pt x="0" y="2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96" name="Freeform 95"/>
          <p:cNvSpPr>
            <a:spLocks noChangeAspect="1"/>
          </p:cNvSpPr>
          <p:nvPr/>
        </p:nvSpPr>
        <p:spPr bwMode="gray">
          <a:xfrm>
            <a:off x="5943350" y="3278890"/>
            <a:ext cx="201980" cy="80946"/>
          </a:xfrm>
          <a:custGeom>
            <a:avLst/>
            <a:gdLst/>
            <a:ahLst/>
            <a:cxnLst>
              <a:cxn ang="0">
                <a:pos x="0" y="58"/>
              </a:cxn>
              <a:cxn ang="0">
                <a:pos x="3" y="63"/>
              </a:cxn>
              <a:cxn ang="0">
                <a:pos x="5" y="81"/>
              </a:cxn>
              <a:cxn ang="0">
                <a:pos x="34" y="85"/>
              </a:cxn>
              <a:cxn ang="0">
                <a:pos x="88" y="75"/>
              </a:cxn>
              <a:cxn ang="0">
                <a:pos x="146" y="102"/>
              </a:cxn>
              <a:cxn ang="0">
                <a:pos x="230" y="83"/>
              </a:cxn>
              <a:cxn ang="0">
                <a:pos x="265" y="32"/>
              </a:cxn>
              <a:cxn ang="0">
                <a:pos x="250" y="0"/>
              </a:cxn>
              <a:cxn ang="0">
                <a:pos x="148" y="3"/>
              </a:cxn>
              <a:cxn ang="0">
                <a:pos x="116" y="56"/>
              </a:cxn>
              <a:cxn ang="0">
                <a:pos x="0" y="58"/>
              </a:cxn>
            </a:cxnLst>
            <a:rect l="0" t="0" r="r" b="b"/>
            <a:pathLst>
              <a:path w="265" h="102">
                <a:moveTo>
                  <a:pt x="0" y="58"/>
                </a:moveTo>
                <a:lnTo>
                  <a:pt x="3" y="63"/>
                </a:lnTo>
                <a:lnTo>
                  <a:pt x="5" y="81"/>
                </a:lnTo>
                <a:lnTo>
                  <a:pt x="34" y="85"/>
                </a:lnTo>
                <a:lnTo>
                  <a:pt x="88" y="75"/>
                </a:lnTo>
                <a:lnTo>
                  <a:pt x="146" y="102"/>
                </a:lnTo>
                <a:lnTo>
                  <a:pt x="230" y="83"/>
                </a:lnTo>
                <a:lnTo>
                  <a:pt x="265" y="32"/>
                </a:lnTo>
                <a:lnTo>
                  <a:pt x="250" y="0"/>
                </a:lnTo>
                <a:lnTo>
                  <a:pt x="148" y="3"/>
                </a:lnTo>
                <a:lnTo>
                  <a:pt x="116" y="56"/>
                </a:lnTo>
                <a:lnTo>
                  <a:pt x="0" y="58"/>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97" name="Freeform 96"/>
          <p:cNvSpPr>
            <a:spLocks noChangeAspect="1"/>
          </p:cNvSpPr>
          <p:nvPr/>
        </p:nvSpPr>
        <p:spPr bwMode="gray">
          <a:xfrm>
            <a:off x="8000404" y="3990174"/>
            <a:ext cx="125502" cy="163613"/>
          </a:xfrm>
          <a:custGeom>
            <a:avLst/>
            <a:gdLst/>
            <a:ahLst/>
            <a:cxnLst>
              <a:cxn ang="0">
                <a:pos x="0" y="61"/>
              </a:cxn>
              <a:cxn ang="0">
                <a:pos x="23" y="83"/>
              </a:cxn>
              <a:cxn ang="0">
                <a:pos x="37" y="179"/>
              </a:cxn>
              <a:cxn ang="0">
                <a:pos x="78" y="173"/>
              </a:cxn>
              <a:cxn ang="0">
                <a:pos x="102" y="131"/>
              </a:cxn>
              <a:cxn ang="0">
                <a:pos x="132" y="140"/>
              </a:cxn>
              <a:cxn ang="0">
                <a:pos x="152" y="206"/>
              </a:cxn>
              <a:cxn ang="0">
                <a:pos x="166" y="169"/>
              </a:cxn>
              <a:cxn ang="0">
                <a:pos x="148" y="102"/>
              </a:cxn>
              <a:cxn ang="0">
                <a:pos x="132" y="127"/>
              </a:cxn>
              <a:cxn ang="0">
                <a:pos x="110" y="94"/>
              </a:cxn>
              <a:cxn ang="0">
                <a:pos x="150" y="53"/>
              </a:cxn>
              <a:cxn ang="0">
                <a:pos x="72" y="47"/>
              </a:cxn>
              <a:cxn ang="0">
                <a:pos x="22" y="0"/>
              </a:cxn>
              <a:cxn ang="0">
                <a:pos x="6" y="26"/>
              </a:cxn>
              <a:cxn ang="0">
                <a:pos x="24" y="47"/>
              </a:cxn>
              <a:cxn ang="0">
                <a:pos x="0" y="61"/>
              </a:cxn>
            </a:cxnLst>
            <a:rect l="0" t="0" r="r" b="b"/>
            <a:pathLst>
              <a:path w="166" h="206">
                <a:moveTo>
                  <a:pt x="0" y="61"/>
                </a:moveTo>
                <a:lnTo>
                  <a:pt x="23" y="83"/>
                </a:lnTo>
                <a:lnTo>
                  <a:pt x="37" y="179"/>
                </a:lnTo>
                <a:lnTo>
                  <a:pt x="78" y="173"/>
                </a:lnTo>
                <a:lnTo>
                  <a:pt x="102" y="131"/>
                </a:lnTo>
                <a:lnTo>
                  <a:pt x="132" y="140"/>
                </a:lnTo>
                <a:lnTo>
                  <a:pt x="152" y="206"/>
                </a:lnTo>
                <a:lnTo>
                  <a:pt x="166" y="169"/>
                </a:lnTo>
                <a:lnTo>
                  <a:pt x="148" y="102"/>
                </a:lnTo>
                <a:lnTo>
                  <a:pt x="132" y="127"/>
                </a:lnTo>
                <a:lnTo>
                  <a:pt x="110" y="94"/>
                </a:lnTo>
                <a:lnTo>
                  <a:pt x="150" y="53"/>
                </a:lnTo>
                <a:lnTo>
                  <a:pt x="72" y="47"/>
                </a:lnTo>
                <a:lnTo>
                  <a:pt x="22" y="0"/>
                </a:lnTo>
                <a:lnTo>
                  <a:pt x="6" y="26"/>
                </a:lnTo>
                <a:lnTo>
                  <a:pt x="24" y="47"/>
                </a:lnTo>
                <a:lnTo>
                  <a:pt x="0" y="6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98" name="Freeform 97"/>
          <p:cNvSpPr>
            <a:spLocks noChangeAspect="1"/>
          </p:cNvSpPr>
          <p:nvPr/>
        </p:nvSpPr>
        <p:spPr bwMode="gray">
          <a:xfrm>
            <a:off x="5774704" y="3184167"/>
            <a:ext cx="84322" cy="63724"/>
          </a:xfrm>
          <a:custGeom>
            <a:avLst/>
            <a:gdLst/>
            <a:ahLst/>
            <a:cxnLst>
              <a:cxn ang="0">
                <a:pos x="0" y="15"/>
              </a:cxn>
              <a:cxn ang="0">
                <a:pos x="26" y="4"/>
              </a:cxn>
              <a:cxn ang="0">
                <a:pos x="76" y="0"/>
              </a:cxn>
              <a:cxn ang="0">
                <a:pos x="110" y="33"/>
              </a:cxn>
              <a:cxn ang="0">
                <a:pos x="112" y="58"/>
              </a:cxn>
              <a:cxn ang="0">
                <a:pos x="99" y="81"/>
              </a:cxn>
              <a:cxn ang="0">
                <a:pos x="0" y="15"/>
              </a:cxn>
            </a:cxnLst>
            <a:rect l="0" t="0" r="r" b="b"/>
            <a:pathLst>
              <a:path w="112" h="81">
                <a:moveTo>
                  <a:pt x="0" y="15"/>
                </a:moveTo>
                <a:lnTo>
                  <a:pt x="26" y="4"/>
                </a:lnTo>
                <a:lnTo>
                  <a:pt x="76" y="0"/>
                </a:lnTo>
                <a:lnTo>
                  <a:pt x="110" y="33"/>
                </a:lnTo>
                <a:lnTo>
                  <a:pt x="112" y="58"/>
                </a:lnTo>
                <a:lnTo>
                  <a:pt x="99" y="81"/>
                </a:lnTo>
                <a:lnTo>
                  <a:pt x="0" y="1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99" name="Freeform 98"/>
          <p:cNvSpPr>
            <a:spLocks noChangeAspect="1"/>
          </p:cNvSpPr>
          <p:nvPr/>
        </p:nvSpPr>
        <p:spPr bwMode="gray">
          <a:xfrm>
            <a:off x="8029820" y="3938507"/>
            <a:ext cx="78439" cy="48222"/>
          </a:xfrm>
          <a:custGeom>
            <a:avLst/>
            <a:gdLst/>
            <a:ahLst/>
            <a:cxnLst>
              <a:cxn ang="0">
                <a:pos x="0" y="36"/>
              </a:cxn>
              <a:cxn ang="0">
                <a:pos x="13" y="59"/>
              </a:cxn>
              <a:cxn ang="0">
                <a:pos x="105" y="49"/>
              </a:cxn>
              <a:cxn ang="0">
                <a:pos x="99" y="17"/>
              </a:cxn>
              <a:cxn ang="0">
                <a:pos x="34" y="0"/>
              </a:cxn>
              <a:cxn ang="0">
                <a:pos x="0" y="36"/>
              </a:cxn>
            </a:cxnLst>
            <a:rect l="0" t="0" r="r" b="b"/>
            <a:pathLst>
              <a:path w="105" h="59">
                <a:moveTo>
                  <a:pt x="0" y="36"/>
                </a:moveTo>
                <a:lnTo>
                  <a:pt x="13" y="59"/>
                </a:lnTo>
                <a:lnTo>
                  <a:pt x="105" y="49"/>
                </a:lnTo>
                <a:lnTo>
                  <a:pt x="99" y="17"/>
                </a:lnTo>
                <a:lnTo>
                  <a:pt x="34" y="0"/>
                </a:lnTo>
                <a:lnTo>
                  <a:pt x="0" y="3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00" name="Freeform 99"/>
          <p:cNvSpPr>
            <a:spLocks noChangeAspect="1"/>
          </p:cNvSpPr>
          <p:nvPr/>
        </p:nvSpPr>
        <p:spPr bwMode="gray">
          <a:xfrm>
            <a:off x="3868645" y="4999405"/>
            <a:ext cx="313755" cy="377171"/>
          </a:xfrm>
          <a:custGeom>
            <a:avLst/>
            <a:gdLst/>
            <a:ahLst/>
            <a:cxnLst>
              <a:cxn ang="0">
                <a:pos x="0" y="48"/>
              </a:cxn>
              <a:cxn ang="0">
                <a:pos x="30" y="98"/>
              </a:cxn>
              <a:cxn ang="0">
                <a:pos x="9" y="204"/>
              </a:cxn>
              <a:cxn ang="0">
                <a:pos x="30" y="217"/>
              </a:cxn>
              <a:cxn ang="0">
                <a:pos x="20" y="232"/>
              </a:cxn>
              <a:cxn ang="0">
                <a:pos x="2" y="276"/>
              </a:cxn>
              <a:cxn ang="0">
                <a:pos x="38" y="339"/>
              </a:cxn>
              <a:cxn ang="0">
                <a:pos x="60" y="467"/>
              </a:cxn>
              <a:cxn ang="0">
                <a:pos x="84" y="471"/>
              </a:cxn>
              <a:cxn ang="0">
                <a:pos x="121" y="431"/>
              </a:cxn>
              <a:cxn ang="0">
                <a:pos x="186" y="464"/>
              </a:cxn>
              <a:cxn ang="0">
                <a:pos x="189" y="440"/>
              </a:cxn>
              <a:cxn ang="0">
                <a:pos x="245" y="449"/>
              </a:cxn>
              <a:cxn ang="0">
                <a:pos x="266" y="356"/>
              </a:cxn>
              <a:cxn ang="0">
                <a:pos x="368" y="339"/>
              </a:cxn>
              <a:cxn ang="0">
                <a:pos x="402" y="371"/>
              </a:cxn>
              <a:cxn ang="0">
                <a:pos x="415" y="298"/>
              </a:cxn>
              <a:cxn ang="0">
                <a:pos x="392" y="237"/>
              </a:cxn>
              <a:cxn ang="0">
                <a:pos x="334" y="234"/>
              </a:cxn>
              <a:cxn ang="0">
                <a:pos x="309" y="141"/>
              </a:cxn>
              <a:cxn ang="0">
                <a:pos x="155" y="80"/>
              </a:cxn>
              <a:cxn ang="0">
                <a:pos x="146" y="0"/>
              </a:cxn>
              <a:cxn ang="0">
                <a:pos x="42" y="50"/>
              </a:cxn>
              <a:cxn ang="0">
                <a:pos x="0" y="48"/>
              </a:cxn>
            </a:cxnLst>
            <a:rect l="0" t="0" r="r" b="b"/>
            <a:pathLst>
              <a:path w="415" h="471">
                <a:moveTo>
                  <a:pt x="0" y="48"/>
                </a:moveTo>
                <a:lnTo>
                  <a:pt x="30" y="98"/>
                </a:lnTo>
                <a:lnTo>
                  <a:pt x="9" y="204"/>
                </a:lnTo>
                <a:lnTo>
                  <a:pt x="30" y="217"/>
                </a:lnTo>
                <a:lnTo>
                  <a:pt x="20" y="232"/>
                </a:lnTo>
                <a:lnTo>
                  <a:pt x="2" y="276"/>
                </a:lnTo>
                <a:lnTo>
                  <a:pt x="38" y="339"/>
                </a:lnTo>
                <a:lnTo>
                  <a:pt x="60" y="467"/>
                </a:lnTo>
                <a:lnTo>
                  <a:pt x="84" y="471"/>
                </a:lnTo>
                <a:lnTo>
                  <a:pt x="121" y="431"/>
                </a:lnTo>
                <a:lnTo>
                  <a:pt x="186" y="464"/>
                </a:lnTo>
                <a:lnTo>
                  <a:pt x="189" y="440"/>
                </a:lnTo>
                <a:lnTo>
                  <a:pt x="245" y="449"/>
                </a:lnTo>
                <a:lnTo>
                  <a:pt x="266" y="356"/>
                </a:lnTo>
                <a:lnTo>
                  <a:pt x="368" y="339"/>
                </a:lnTo>
                <a:lnTo>
                  <a:pt x="402" y="371"/>
                </a:lnTo>
                <a:lnTo>
                  <a:pt x="415" y="298"/>
                </a:lnTo>
                <a:lnTo>
                  <a:pt x="392" y="237"/>
                </a:lnTo>
                <a:lnTo>
                  <a:pt x="334" y="234"/>
                </a:lnTo>
                <a:lnTo>
                  <a:pt x="309" y="141"/>
                </a:lnTo>
                <a:lnTo>
                  <a:pt x="155" y="80"/>
                </a:lnTo>
                <a:lnTo>
                  <a:pt x="146" y="0"/>
                </a:lnTo>
                <a:lnTo>
                  <a:pt x="42" y="50"/>
                </a:lnTo>
                <a:lnTo>
                  <a:pt x="0" y="4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01" name="Freeform 100"/>
          <p:cNvSpPr>
            <a:spLocks noChangeAspect="1"/>
          </p:cNvSpPr>
          <p:nvPr/>
        </p:nvSpPr>
        <p:spPr bwMode="gray">
          <a:xfrm>
            <a:off x="3762754" y="4594678"/>
            <a:ext cx="1017743" cy="1105676"/>
          </a:xfrm>
          <a:custGeom>
            <a:avLst/>
            <a:gdLst/>
            <a:ahLst/>
            <a:cxnLst>
              <a:cxn ang="0">
                <a:pos x="30" y="502"/>
              </a:cxn>
              <a:cxn ang="0">
                <a:pos x="114" y="499"/>
              </a:cxn>
              <a:cxn ang="0">
                <a:pos x="145" y="557"/>
              </a:cxn>
              <a:cxn ang="0">
                <a:pos x="291" y="509"/>
              </a:cxn>
              <a:cxn ang="0">
                <a:pos x="454" y="650"/>
              </a:cxn>
              <a:cxn ang="0">
                <a:pos x="537" y="746"/>
              </a:cxn>
              <a:cxn ang="0">
                <a:pos x="547" y="880"/>
              </a:cxn>
              <a:cxn ang="0">
                <a:pos x="628" y="962"/>
              </a:cxn>
              <a:cxn ang="0">
                <a:pos x="673" y="1018"/>
              </a:cxn>
              <a:cxn ang="0">
                <a:pos x="695" y="1081"/>
              </a:cxn>
              <a:cxn ang="0">
                <a:pos x="564" y="1251"/>
              </a:cxn>
              <a:cxn ang="0">
                <a:pos x="695" y="1316"/>
              </a:cxn>
              <a:cxn ang="0">
                <a:pos x="707" y="1384"/>
              </a:cxn>
              <a:cxn ang="0">
                <a:pos x="883" y="1074"/>
              </a:cxn>
              <a:cxn ang="0">
                <a:pos x="1099" y="980"/>
              </a:cxn>
              <a:cxn ang="0">
                <a:pos x="1201" y="789"/>
              </a:cxn>
              <a:cxn ang="0">
                <a:pos x="1342" y="488"/>
              </a:cxn>
              <a:cxn ang="0">
                <a:pos x="1333" y="360"/>
              </a:cxn>
              <a:cxn ang="0">
                <a:pos x="1192" y="285"/>
              </a:cxn>
              <a:cxn ang="0">
                <a:pos x="1006" y="230"/>
              </a:cxn>
              <a:cxn ang="0">
                <a:pos x="898" y="202"/>
              </a:cxn>
              <a:cxn ang="0">
                <a:pos x="850" y="241"/>
              </a:cxn>
              <a:cxn ang="0">
                <a:pos x="808" y="239"/>
              </a:cxn>
              <a:cxn ang="0">
                <a:pos x="833" y="125"/>
              </a:cxn>
              <a:cxn ang="0">
                <a:pos x="724" y="107"/>
              </a:cxn>
              <a:cxn ang="0">
                <a:pos x="603" y="112"/>
              </a:cxn>
              <a:cxn ang="0">
                <a:pos x="486" y="91"/>
              </a:cxn>
              <a:cxn ang="0">
                <a:pos x="461" y="0"/>
              </a:cxn>
              <a:cxn ang="0">
                <a:pos x="316" y="30"/>
              </a:cxn>
              <a:cxn ang="0">
                <a:pos x="366" y="103"/>
              </a:cxn>
              <a:cxn ang="0">
                <a:pos x="242" y="134"/>
              </a:cxn>
              <a:cxn ang="0">
                <a:pos x="140" y="123"/>
              </a:cxn>
              <a:cxn ang="0">
                <a:pos x="132" y="161"/>
              </a:cxn>
              <a:cxn ang="0">
                <a:pos x="136" y="322"/>
              </a:cxn>
              <a:cxn ang="0">
                <a:pos x="0" y="438"/>
              </a:cxn>
            </a:cxnLst>
            <a:rect l="0" t="0" r="r" b="b"/>
            <a:pathLst>
              <a:path w="1354" h="1384">
                <a:moveTo>
                  <a:pt x="0" y="438"/>
                </a:moveTo>
                <a:lnTo>
                  <a:pt x="30" y="502"/>
                </a:lnTo>
                <a:lnTo>
                  <a:pt x="77" y="524"/>
                </a:lnTo>
                <a:lnTo>
                  <a:pt x="114" y="499"/>
                </a:lnTo>
                <a:lnTo>
                  <a:pt x="114" y="557"/>
                </a:lnTo>
                <a:lnTo>
                  <a:pt x="145" y="557"/>
                </a:lnTo>
                <a:lnTo>
                  <a:pt x="187" y="559"/>
                </a:lnTo>
                <a:lnTo>
                  <a:pt x="291" y="509"/>
                </a:lnTo>
                <a:lnTo>
                  <a:pt x="300" y="589"/>
                </a:lnTo>
                <a:lnTo>
                  <a:pt x="454" y="650"/>
                </a:lnTo>
                <a:lnTo>
                  <a:pt x="479" y="743"/>
                </a:lnTo>
                <a:lnTo>
                  <a:pt x="537" y="746"/>
                </a:lnTo>
                <a:lnTo>
                  <a:pt x="560" y="807"/>
                </a:lnTo>
                <a:lnTo>
                  <a:pt x="547" y="880"/>
                </a:lnTo>
                <a:lnTo>
                  <a:pt x="556" y="949"/>
                </a:lnTo>
                <a:lnTo>
                  <a:pt x="628" y="962"/>
                </a:lnTo>
                <a:lnTo>
                  <a:pt x="638" y="1009"/>
                </a:lnTo>
                <a:lnTo>
                  <a:pt x="673" y="1018"/>
                </a:lnTo>
                <a:lnTo>
                  <a:pt x="667" y="1080"/>
                </a:lnTo>
                <a:lnTo>
                  <a:pt x="695" y="1081"/>
                </a:lnTo>
                <a:lnTo>
                  <a:pt x="700" y="1134"/>
                </a:lnTo>
                <a:lnTo>
                  <a:pt x="564" y="1251"/>
                </a:lnTo>
                <a:lnTo>
                  <a:pt x="590" y="1244"/>
                </a:lnTo>
                <a:lnTo>
                  <a:pt x="695" y="1316"/>
                </a:lnTo>
                <a:lnTo>
                  <a:pt x="716" y="1347"/>
                </a:lnTo>
                <a:lnTo>
                  <a:pt x="707" y="1384"/>
                </a:lnTo>
                <a:lnTo>
                  <a:pt x="874" y="1178"/>
                </a:lnTo>
                <a:lnTo>
                  <a:pt x="883" y="1074"/>
                </a:lnTo>
                <a:lnTo>
                  <a:pt x="1017" y="980"/>
                </a:lnTo>
                <a:lnTo>
                  <a:pt x="1099" y="980"/>
                </a:lnTo>
                <a:lnTo>
                  <a:pt x="1133" y="947"/>
                </a:lnTo>
                <a:lnTo>
                  <a:pt x="1201" y="789"/>
                </a:lnTo>
                <a:lnTo>
                  <a:pt x="1210" y="635"/>
                </a:lnTo>
                <a:lnTo>
                  <a:pt x="1342" y="488"/>
                </a:lnTo>
                <a:lnTo>
                  <a:pt x="1354" y="423"/>
                </a:lnTo>
                <a:lnTo>
                  <a:pt x="1333" y="360"/>
                </a:lnTo>
                <a:lnTo>
                  <a:pt x="1280" y="351"/>
                </a:lnTo>
                <a:lnTo>
                  <a:pt x="1192" y="285"/>
                </a:lnTo>
                <a:lnTo>
                  <a:pt x="1022" y="271"/>
                </a:lnTo>
                <a:lnTo>
                  <a:pt x="1006" y="230"/>
                </a:lnTo>
                <a:lnTo>
                  <a:pt x="929" y="201"/>
                </a:lnTo>
                <a:lnTo>
                  <a:pt x="898" y="202"/>
                </a:lnTo>
                <a:lnTo>
                  <a:pt x="852" y="262"/>
                </a:lnTo>
                <a:lnTo>
                  <a:pt x="850" y="241"/>
                </a:lnTo>
                <a:lnTo>
                  <a:pt x="777" y="251"/>
                </a:lnTo>
                <a:lnTo>
                  <a:pt x="808" y="239"/>
                </a:lnTo>
                <a:lnTo>
                  <a:pt x="779" y="192"/>
                </a:lnTo>
                <a:lnTo>
                  <a:pt x="833" y="125"/>
                </a:lnTo>
                <a:lnTo>
                  <a:pt x="776" y="39"/>
                </a:lnTo>
                <a:lnTo>
                  <a:pt x="724" y="107"/>
                </a:lnTo>
                <a:lnTo>
                  <a:pt x="675" y="102"/>
                </a:lnTo>
                <a:lnTo>
                  <a:pt x="603" y="112"/>
                </a:lnTo>
                <a:lnTo>
                  <a:pt x="504" y="126"/>
                </a:lnTo>
                <a:lnTo>
                  <a:pt x="486" y="91"/>
                </a:lnTo>
                <a:lnTo>
                  <a:pt x="493" y="25"/>
                </a:lnTo>
                <a:lnTo>
                  <a:pt x="461" y="0"/>
                </a:lnTo>
                <a:lnTo>
                  <a:pt x="376" y="42"/>
                </a:lnTo>
                <a:lnTo>
                  <a:pt x="316" y="30"/>
                </a:lnTo>
                <a:lnTo>
                  <a:pt x="333" y="95"/>
                </a:lnTo>
                <a:lnTo>
                  <a:pt x="366" y="103"/>
                </a:lnTo>
                <a:lnTo>
                  <a:pt x="283" y="151"/>
                </a:lnTo>
                <a:lnTo>
                  <a:pt x="242" y="134"/>
                </a:lnTo>
                <a:lnTo>
                  <a:pt x="223" y="109"/>
                </a:lnTo>
                <a:lnTo>
                  <a:pt x="140" y="123"/>
                </a:lnTo>
                <a:lnTo>
                  <a:pt x="165" y="158"/>
                </a:lnTo>
                <a:lnTo>
                  <a:pt x="132" y="161"/>
                </a:lnTo>
                <a:lnTo>
                  <a:pt x="152" y="222"/>
                </a:lnTo>
                <a:lnTo>
                  <a:pt x="136" y="322"/>
                </a:lnTo>
                <a:lnTo>
                  <a:pt x="48" y="357"/>
                </a:lnTo>
                <a:lnTo>
                  <a:pt x="0" y="438"/>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02" name="Freeform 101"/>
          <p:cNvSpPr>
            <a:spLocks noChangeAspect="1"/>
          </p:cNvSpPr>
          <p:nvPr/>
        </p:nvSpPr>
        <p:spPr bwMode="gray">
          <a:xfrm>
            <a:off x="3354871" y="4220955"/>
            <a:ext cx="23532" cy="74056"/>
          </a:xfrm>
          <a:custGeom>
            <a:avLst/>
            <a:gdLst/>
            <a:ahLst/>
            <a:cxnLst>
              <a:cxn ang="0">
                <a:pos x="0" y="20"/>
              </a:cxn>
              <a:cxn ang="0">
                <a:pos x="11" y="92"/>
              </a:cxn>
              <a:cxn ang="0">
                <a:pos x="28" y="0"/>
              </a:cxn>
              <a:cxn ang="0">
                <a:pos x="0" y="20"/>
              </a:cxn>
            </a:cxnLst>
            <a:rect l="0" t="0" r="r" b="b"/>
            <a:pathLst>
              <a:path w="28" h="92">
                <a:moveTo>
                  <a:pt x="0" y="20"/>
                </a:moveTo>
                <a:lnTo>
                  <a:pt x="11" y="92"/>
                </a:lnTo>
                <a:lnTo>
                  <a:pt x="28" y="0"/>
                </a:lnTo>
                <a:lnTo>
                  <a:pt x="0" y="2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03" name="Freeform 102"/>
          <p:cNvSpPr>
            <a:spLocks noChangeAspect="1"/>
          </p:cNvSpPr>
          <p:nvPr/>
        </p:nvSpPr>
        <p:spPr bwMode="gray">
          <a:xfrm>
            <a:off x="6284558" y="3437336"/>
            <a:ext cx="164721" cy="98168"/>
          </a:xfrm>
          <a:custGeom>
            <a:avLst/>
            <a:gdLst/>
            <a:ahLst/>
            <a:cxnLst>
              <a:cxn ang="0">
                <a:pos x="0" y="84"/>
              </a:cxn>
              <a:cxn ang="0">
                <a:pos x="12" y="0"/>
              </a:cxn>
              <a:cxn ang="0">
                <a:pos x="216" y="19"/>
              </a:cxn>
              <a:cxn ang="0">
                <a:pos x="178" y="70"/>
              </a:cxn>
              <a:cxn ang="0">
                <a:pos x="194" y="97"/>
              </a:cxn>
              <a:cxn ang="0">
                <a:pos x="139" y="101"/>
              </a:cxn>
              <a:cxn ang="0">
                <a:pos x="106" y="122"/>
              </a:cxn>
              <a:cxn ang="0">
                <a:pos x="21" y="120"/>
              </a:cxn>
              <a:cxn ang="0">
                <a:pos x="0" y="84"/>
              </a:cxn>
            </a:cxnLst>
            <a:rect l="0" t="0" r="r" b="b"/>
            <a:pathLst>
              <a:path w="216" h="122">
                <a:moveTo>
                  <a:pt x="0" y="84"/>
                </a:moveTo>
                <a:lnTo>
                  <a:pt x="12" y="0"/>
                </a:lnTo>
                <a:lnTo>
                  <a:pt x="216" y="19"/>
                </a:lnTo>
                <a:lnTo>
                  <a:pt x="178" y="70"/>
                </a:lnTo>
                <a:lnTo>
                  <a:pt x="194" y="97"/>
                </a:lnTo>
                <a:lnTo>
                  <a:pt x="139" y="101"/>
                </a:lnTo>
                <a:lnTo>
                  <a:pt x="106" y="122"/>
                </a:lnTo>
                <a:lnTo>
                  <a:pt x="21" y="120"/>
                </a:lnTo>
                <a:lnTo>
                  <a:pt x="0" y="8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04" name="Freeform 103"/>
          <p:cNvSpPr>
            <a:spLocks noChangeAspect="1"/>
          </p:cNvSpPr>
          <p:nvPr/>
        </p:nvSpPr>
        <p:spPr bwMode="gray">
          <a:xfrm>
            <a:off x="8118062" y="3943675"/>
            <a:ext cx="235316" cy="514949"/>
          </a:xfrm>
          <a:custGeom>
            <a:avLst/>
            <a:gdLst/>
            <a:ahLst/>
            <a:cxnLst>
              <a:cxn ang="0">
                <a:pos x="0" y="265"/>
              </a:cxn>
              <a:cxn ang="0">
                <a:pos x="14" y="228"/>
              </a:cxn>
              <a:cxn ang="0">
                <a:pos x="105" y="60"/>
              </a:cxn>
              <a:cxn ang="0">
                <a:pos x="166" y="37"/>
              </a:cxn>
              <a:cxn ang="0">
                <a:pos x="181" y="0"/>
              </a:cxn>
              <a:cxn ang="0">
                <a:pos x="224" y="21"/>
              </a:cxn>
              <a:cxn ang="0">
                <a:pos x="225" y="54"/>
              </a:cxn>
              <a:cxn ang="0">
                <a:pos x="187" y="157"/>
              </a:cxn>
              <a:cxn ang="0">
                <a:pos x="227" y="148"/>
              </a:cxn>
              <a:cxn ang="0">
                <a:pos x="247" y="219"/>
              </a:cxn>
              <a:cxn ang="0">
                <a:pos x="313" y="238"/>
              </a:cxn>
              <a:cxn ang="0">
                <a:pos x="280" y="271"/>
              </a:cxn>
              <a:cxn ang="0">
                <a:pos x="206" y="314"/>
              </a:cxn>
              <a:cxn ang="0">
                <a:pos x="187" y="355"/>
              </a:cxn>
              <a:cxn ang="0">
                <a:pos x="227" y="433"/>
              </a:cxn>
              <a:cxn ang="0">
                <a:pos x="211" y="479"/>
              </a:cxn>
              <a:cxn ang="0">
                <a:pos x="260" y="581"/>
              </a:cxn>
              <a:cxn ang="0">
                <a:pos x="225" y="644"/>
              </a:cxn>
              <a:cxn ang="0">
                <a:pos x="189" y="424"/>
              </a:cxn>
              <a:cxn ang="0">
                <a:pos x="159" y="389"/>
              </a:cxn>
              <a:cxn ang="0">
                <a:pos x="109" y="448"/>
              </a:cxn>
              <a:cxn ang="0">
                <a:pos x="71" y="436"/>
              </a:cxn>
              <a:cxn ang="0">
                <a:pos x="77" y="356"/>
              </a:cxn>
              <a:cxn ang="0">
                <a:pos x="0" y="265"/>
              </a:cxn>
            </a:cxnLst>
            <a:rect l="0" t="0" r="r" b="b"/>
            <a:pathLst>
              <a:path w="313" h="644">
                <a:moveTo>
                  <a:pt x="0" y="265"/>
                </a:moveTo>
                <a:lnTo>
                  <a:pt x="14" y="228"/>
                </a:lnTo>
                <a:lnTo>
                  <a:pt x="105" y="60"/>
                </a:lnTo>
                <a:lnTo>
                  <a:pt x="166" y="37"/>
                </a:lnTo>
                <a:lnTo>
                  <a:pt x="181" y="0"/>
                </a:lnTo>
                <a:lnTo>
                  <a:pt x="224" y="21"/>
                </a:lnTo>
                <a:lnTo>
                  <a:pt x="225" y="54"/>
                </a:lnTo>
                <a:lnTo>
                  <a:pt x="187" y="157"/>
                </a:lnTo>
                <a:lnTo>
                  <a:pt x="227" y="148"/>
                </a:lnTo>
                <a:lnTo>
                  <a:pt x="247" y="219"/>
                </a:lnTo>
                <a:lnTo>
                  <a:pt x="313" y="238"/>
                </a:lnTo>
                <a:lnTo>
                  <a:pt x="280" y="271"/>
                </a:lnTo>
                <a:lnTo>
                  <a:pt x="206" y="314"/>
                </a:lnTo>
                <a:lnTo>
                  <a:pt x="187" y="355"/>
                </a:lnTo>
                <a:lnTo>
                  <a:pt x="227" y="433"/>
                </a:lnTo>
                <a:lnTo>
                  <a:pt x="211" y="479"/>
                </a:lnTo>
                <a:lnTo>
                  <a:pt x="260" y="581"/>
                </a:lnTo>
                <a:lnTo>
                  <a:pt x="225" y="644"/>
                </a:lnTo>
                <a:lnTo>
                  <a:pt x="189" y="424"/>
                </a:lnTo>
                <a:lnTo>
                  <a:pt x="159" y="389"/>
                </a:lnTo>
                <a:lnTo>
                  <a:pt x="109" y="448"/>
                </a:lnTo>
                <a:lnTo>
                  <a:pt x="71" y="436"/>
                </a:lnTo>
                <a:lnTo>
                  <a:pt x="77" y="356"/>
                </a:lnTo>
                <a:lnTo>
                  <a:pt x="0" y="26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05" name="Freeform 104"/>
          <p:cNvSpPr>
            <a:spLocks noChangeAspect="1"/>
          </p:cNvSpPr>
          <p:nvPr/>
        </p:nvSpPr>
        <p:spPr bwMode="gray">
          <a:xfrm>
            <a:off x="8386714" y="4331179"/>
            <a:ext cx="131386" cy="117113"/>
          </a:xfrm>
          <a:custGeom>
            <a:avLst/>
            <a:gdLst/>
            <a:ahLst/>
            <a:cxnLst>
              <a:cxn ang="0">
                <a:pos x="0" y="30"/>
              </a:cxn>
              <a:cxn ang="0">
                <a:pos x="13" y="104"/>
              </a:cxn>
              <a:cxn ang="0">
                <a:pos x="36" y="143"/>
              </a:cxn>
              <a:cxn ang="0">
                <a:pos x="70" y="149"/>
              </a:cxn>
              <a:cxn ang="0">
                <a:pos x="174" y="79"/>
              </a:cxn>
              <a:cxn ang="0">
                <a:pos x="170" y="0"/>
              </a:cxn>
              <a:cxn ang="0">
                <a:pos x="91" y="12"/>
              </a:cxn>
              <a:cxn ang="0">
                <a:pos x="24" y="9"/>
              </a:cxn>
              <a:cxn ang="0">
                <a:pos x="0" y="30"/>
              </a:cxn>
            </a:cxnLst>
            <a:rect l="0" t="0" r="r" b="b"/>
            <a:pathLst>
              <a:path w="174" h="149">
                <a:moveTo>
                  <a:pt x="0" y="30"/>
                </a:moveTo>
                <a:lnTo>
                  <a:pt x="13" y="104"/>
                </a:lnTo>
                <a:lnTo>
                  <a:pt x="36" y="143"/>
                </a:lnTo>
                <a:lnTo>
                  <a:pt x="70" y="149"/>
                </a:lnTo>
                <a:lnTo>
                  <a:pt x="174" y="79"/>
                </a:lnTo>
                <a:lnTo>
                  <a:pt x="170" y="0"/>
                </a:lnTo>
                <a:lnTo>
                  <a:pt x="91" y="12"/>
                </a:lnTo>
                <a:lnTo>
                  <a:pt x="24" y="9"/>
                </a:lnTo>
                <a:lnTo>
                  <a:pt x="0" y="3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06" name="Freeform 105"/>
          <p:cNvSpPr>
            <a:spLocks noChangeAspect="1"/>
          </p:cNvSpPr>
          <p:nvPr/>
        </p:nvSpPr>
        <p:spPr bwMode="gray">
          <a:xfrm>
            <a:off x="1997882" y="2309270"/>
            <a:ext cx="2239426" cy="1209010"/>
          </a:xfrm>
          <a:custGeom>
            <a:avLst/>
            <a:gdLst/>
            <a:ahLst/>
            <a:cxnLst>
              <a:cxn ang="0">
                <a:pos x="222" y="181"/>
              </a:cxn>
              <a:cxn ang="0">
                <a:pos x="344" y="157"/>
              </a:cxn>
              <a:cxn ang="0">
                <a:pos x="527" y="163"/>
              </a:cxn>
              <a:cxn ang="0">
                <a:pos x="812" y="186"/>
              </a:cxn>
              <a:cxn ang="0">
                <a:pos x="915" y="255"/>
              </a:cxn>
              <a:cxn ang="0">
                <a:pos x="1170" y="295"/>
              </a:cxn>
              <a:cxn ang="0">
                <a:pos x="1119" y="222"/>
              </a:cxn>
              <a:cxn ang="0">
                <a:pos x="1342" y="260"/>
              </a:cxn>
              <a:cxn ang="0">
                <a:pos x="1520" y="242"/>
              </a:cxn>
              <a:cxn ang="0">
                <a:pos x="1539" y="240"/>
              </a:cxn>
              <a:cxn ang="0">
                <a:pos x="1578" y="238"/>
              </a:cxn>
              <a:cxn ang="0">
                <a:pos x="1644" y="154"/>
              </a:cxn>
              <a:cxn ang="0">
                <a:pos x="1590" y="0"/>
              </a:cxn>
              <a:cxn ang="0">
                <a:pos x="1687" y="112"/>
              </a:cxn>
              <a:cxn ang="0">
                <a:pos x="1723" y="163"/>
              </a:cxn>
              <a:cxn ang="0">
                <a:pos x="1846" y="231"/>
              </a:cxn>
              <a:cxn ang="0">
                <a:pos x="1920" y="206"/>
              </a:cxn>
              <a:cxn ang="0">
                <a:pos x="2069" y="178"/>
              </a:cxn>
              <a:cxn ang="0">
                <a:pos x="2068" y="298"/>
              </a:cxn>
              <a:cxn ang="0">
                <a:pos x="1891" y="329"/>
              </a:cxn>
              <a:cxn ang="0">
                <a:pos x="1806" y="398"/>
              </a:cxn>
              <a:cxn ang="0">
                <a:pos x="1749" y="502"/>
              </a:cxn>
              <a:cxn ang="0">
                <a:pos x="1687" y="541"/>
              </a:cxn>
              <a:cxn ang="0">
                <a:pos x="1611" y="613"/>
              </a:cxn>
              <a:cxn ang="0">
                <a:pos x="1678" y="839"/>
              </a:cxn>
              <a:cxn ang="0">
                <a:pos x="1920" y="941"/>
              </a:cxn>
              <a:cxn ang="0">
                <a:pos x="2066" y="1062"/>
              </a:cxn>
              <a:cxn ang="0">
                <a:pos x="2127" y="1118"/>
              </a:cxn>
              <a:cxn ang="0">
                <a:pos x="2250" y="870"/>
              </a:cxn>
              <a:cxn ang="0">
                <a:pos x="2219" y="705"/>
              </a:cxn>
              <a:cxn ang="0">
                <a:pos x="2208" y="604"/>
              </a:cxn>
              <a:cxn ang="0">
                <a:pos x="2331" y="554"/>
              </a:cxn>
              <a:cxn ang="0">
                <a:pos x="2485" y="680"/>
              </a:cxn>
              <a:cxn ang="0">
                <a:pos x="2437" y="763"/>
              </a:cxn>
              <a:cxn ang="0">
                <a:pos x="2538" y="756"/>
              </a:cxn>
              <a:cxn ang="0">
                <a:pos x="2632" y="711"/>
              </a:cxn>
              <a:cxn ang="0">
                <a:pos x="2664" y="739"/>
              </a:cxn>
              <a:cxn ang="0">
                <a:pos x="2725" y="766"/>
              </a:cxn>
              <a:cxn ang="0">
                <a:pos x="2732" y="815"/>
              </a:cxn>
              <a:cxn ang="0">
                <a:pos x="2743" y="875"/>
              </a:cxn>
              <a:cxn ang="0">
                <a:pos x="2903" y="953"/>
              </a:cxn>
              <a:cxn ang="0">
                <a:pos x="2910" y="1008"/>
              </a:cxn>
              <a:cxn ang="0">
                <a:pos x="2963" y="1064"/>
              </a:cxn>
              <a:cxn ang="0">
                <a:pos x="2430" y="1305"/>
              </a:cxn>
              <a:cxn ang="0">
                <a:pos x="2588" y="1251"/>
              </a:cxn>
              <a:cxn ang="0">
                <a:pos x="2769" y="1360"/>
              </a:cxn>
              <a:cxn ang="0">
                <a:pos x="2775" y="1372"/>
              </a:cxn>
              <a:cxn ang="0">
                <a:pos x="2700" y="1368"/>
              </a:cxn>
              <a:cxn ang="0">
                <a:pos x="2544" y="1353"/>
              </a:cxn>
              <a:cxn ang="0">
                <a:pos x="2266" y="1404"/>
              </a:cxn>
              <a:cxn ang="0">
                <a:pos x="2159" y="1474"/>
              </a:cxn>
              <a:cxn ang="0">
                <a:pos x="2034" y="1465"/>
              </a:cxn>
              <a:cxn ang="0">
                <a:pos x="2129" y="1390"/>
              </a:cxn>
              <a:cxn ang="0">
                <a:pos x="1946" y="1255"/>
              </a:cxn>
              <a:cxn ang="0">
                <a:pos x="1870" y="1242"/>
              </a:cxn>
              <a:cxn ang="0">
                <a:pos x="1592" y="1190"/>
              </a:cxn>
              <a:cxn ang="0">
                <a:pos x="569" y="1166"/>
              </a:cxn>
              <a:cxn ang="0">
                <a:pos x="452" y="1055"/>
              </a:cxn>
              <a:cxn ang="0">
                <a:pos x="380" y="882"/>
              </a:cxn>
              <a:cxn ang="0">
                <a:pos x="103" y="719"/>
              </a:cxn>
            </a:cxnLst>
            <a:rect l="0" t="0" r="r" b="b"/>
            <a:pathLst>
              <a:path w="2963" h="1511">
                <a:moveTo>
                  <a:pt x="0" y="671"/>
                </a:moveTo>
                <a:lnTo>
                  <a:pt x="0" y="140"/>
                </a:lnTo>
                <a:lnTo>
                  <a:pt x="236" y="211"/>
                </a:lnTo>
                <a:lnTo>
                  <a:pt x="222" y="181"/>
                </a:lnTo>
                <a:lnTo>
                  <a:pt x="247" y="164"/>
                </a:lnTo>
                <a:lnTo>
                  <a:pt x="391" y="107"/>
                </a:lnTo>
                <a:lnTo>
                  <a:pt x="280" y="178"/>
                </a:lnTo>
                <a:lnTo>
                  <a:pt x="344" y="157"/>
                </a:lnTo>
                <a:lnTo>
                  <a:pt x="344" y="172"/>
                </a:lnTo>
                <a:lnTo>
                  <a:pt x="465" y="109"/>
                </a:lnTo>
                <a:lnTo>
                  <a:pt x="449" y="88"/>
                </a:lnTo>
                <a:lnTo>
                  <a:pt x="527" y="163"/>
                </a:lnTo>
                <a:lnTo>
                  <a:pt x="577" y="119"/>
                </a:lnTo>
                <a:lnTo>
                  <a:pt x="572" y="163"/>
                </a:lnTo>
                <a:lnTo>
                  <a:pt x="636" y="131"/>
                </a:lnTo>
                <a:lnTo>
                  <a:pt x="812" y="186"/>
                </a:lnTo>
                <a:lnTo>
                  <a:pt x="892" y="185"/>
                </a:lnTo>
                <a:lnTo>
                  <a:pt x="937" y="216"/>
                </a:lnTo>
                <a:lnTo>
                  <a:pt x="883" y="242"/>
                </a:lnTo>
                <a:lnTo>
                  <a:pt x="915" y="255"/>
                </a:lnTo>
                <a:lnTo>
                  <a:pt x="1073" y="240"/>
                </a:lnTo>
                <a:lnTo>
                  <a:pt x="1143" y="284"/>
                </a:lnTo>
                <a:lnTo>
                  <a:pt x="1152" y="315"/>
                </a:lnTo>
                <a:lnTo>
                  <a:pt x="1170" y="295"/>
                </a:lnTo>
                <a:lnTo>
                  <a:pt x="1143" y="255"/>
                </a:lnTo>
                <a:lnTo>
                  <a:pt x="1217" y="205"/>
                </a:lnTo>
                <a:lnTo>
                  <a:pt x="1145" y="236"/>
                </a:lnTo>
                <a:lnTo>
                  <a:pt x="1119" y="222"/>
                </a:lnTo>
                <a:lnTo>
                  <a:pt x="1208" y="183"/>
                </a:lnTo>
                <a:lnTo>
                  <a:pt x="1257" y="238"/>
                </a:lnTo>
                <a:lnTo>
                  <a:pt x="1309" y="236"/>
                </a:lnTo>
                <a:lnTo>
                  <a:pt x="1342" y="260"/>
                </a:lnTo>
                <a:lnTo>
                  <a:pt x="1480" y="255"/>
                </a:lnTo>
                <a:lnTo>
                  <a:pt x="1476" y="238"/>
                </a:lnTo>
                <a:lnTo>
                  <a:pt x="1514" y="268"/>
                </a:lnTo>
                <a:lnTo>
                  <a:pt x="1520" y="242"/>
                </a:lnTo>
                <a:lnTo>
                  <a:pt x="1491" y="251"/>
                </a:lnTo>
                <a:lnTo>
                  <a:pt x="1468" y="220"/>
                </a:lnTo>
                <a:lnTo>
                  <a:pt x="1519" y="216"/>
                </a:lnTo>
                <a:lnTo>
                  <a:pt x="1539" y="240"/>
                </a:lnTo>
                <a:lnTo>
                  <a:pt x="1559" y="233"/>
                </a:lnTo>
                <a:lnTo>
                  <a:pt x="1551" y="271"/>
                </a:lnTo>
                <a:lnTo>
                  <a:pt x="1587" y="290"/>
                </a:lnTo>
                <a:lnTo>
                  <a:pt x="1578" y="238"/>
                </a:lnTo>
                <a:lnTo>
                  <a:pt x="1647" y="207"/>
                </a:lnTo>
                <a:lnTo>
                  <a:pt x="1629" y="181"/>
                </a:lnTo>
                <a:lnTo>
                  <a:pt x="1609" y="200"/>
                </a:lnTo>
                <a:lnTo>
                  <a:pt x="1644" y="154"/>
                </a:lnTo>
                <a:lnTo>
                  <a:pt x="1543" y="121"/>
                </a:lnTo>
                <a:lnTo>
                  <a:pt x="1553" y="44"/>
                </a:lnTo>
                <a:lnTo>
                  <a:pt x="1578" y="46"/>
                </a:lnTo>
                <a:lnTo>
                  <a:pt x="1590" y="0"/>
                </a:lnTo>
                <a:lnTo>
                  <a:pt x="1666" y="44"/>
                </a:lnTo>
                <a:lnTo>
                  <a:pt x="1667" y="72"/>
                </a:lnTo>
                <a:lnTo>
                  <a:pt x="1718" y="113"/>
                </a:lnTo>
                <a:lnTo>
                  <a:pt x="1687" y="112"/>
                </a:lnTo>
                <a:lnTo>
                  <a:pt x="1700" y="126"/>
                </a:lnTo>
                <a:lnTo>
                  <a:pt x="1680" y="143"/>
                </a:lnTo>
                <a:lnTo>
                  <a:pt x="1742" y="154"/>
                </a:lnTo>
                <a:lnTo>
                  <a:pt x="1723" y="163"/>
                </a:lnTo>
                <a:lnTo>
                  <a:pt x="1759" y="229"/>
                </a:lnTo>
                <a:lnTo>
                  <a:pt x="1790" y="170"/>
                </a:lnTo>
                <a:lnTo>
                  <a:pt x="1834" y="194"/>
                </a:lnTo>
                <a:lnTo>
                  <a:pt x="1846" y="231"/>
                </a:lnTo>
                <a:lnTo>
                  <a:pt x="1825" y="242"/>
                </a:lnTo>
                <a:lnTo>
                  <a:pt x="1865" y="290"/>
                </a:lnTo>
                <a:lnTo>
                  <a:pt x="1890" y="279"/>
                </a:lnTo>
                <a:lnTo>
                  <a:pt x="1920" y="206"/>
                </a:lnTo>
                <a:lnTo>
                  <a:pt x="1956" y="198"/>
                </a:lnTo>
                <a:lnTo>
                  <a:pt x="1929" y="136"/>
                </a:lnTo>
                <a:lnTo>
                  <a:pt x="2028" y="141"/>
                </a:lnTo>
                <a:lnTo>
                  <a:pt x="2069" y="178"/>
                </a:lnTo>
                <a:lnTo>
                  <a:pt x="2053" y="196"/>
                </a:lnTo>
                <a:lnTo>
                  <a:pt x="2072" y="206"/>
                </a:lnTo>
                <a:lnTo>
                  <a:pt x="2029" y="217"/>
                </a:lnTo>
                <a:lnTo>
                  <a:pt x="2068" y="298"/>
                </a:lnTo>
                <a:lnTo>
                  <a:pt x="2003" y="340"/>
                </a:lnTo>
                <a:lnTo>
                  <a:pt x="1980" y="321"/>
                </a:lnTo>
                <a:lnTo>
                  <a:pt x="1991" y="349"/>
                </a:lnTo>
                <a:lnTo>
                  <a:pt x="1891" y="329"/>
                </a:lnTo>
                <a:lnTo>
                  <a:pt x="1910" y="356"/>
                </a:lnTo>
                <a:lnTo>
                  <a:pt x="1870" y="395"/>
                </a:lnTo>
                <a:lnTo>
                  <a:pt x="1768" y="365"/>
                </a:lnTo>
                <a:lnTo>
                  <a:pt x="1806" y="398"/>
                </a:lnTo>
                <a:lnTo>
                  <a:pt x="1879" y="405"/>
                </a:lnTo>
                <a:lnTo>
                  <a:pt x="1828" y="470"/>
                </a:lnTo>
                <a:lnTo>
                  <a:pt x="1775" y="466"/>
                </a:lnTo>
                <a:lnTo>
                  <a:pt x="1749" y="502"/>
                </a:lnTo>
                <a:lnTo>
                  <a:pt x="1653" y="471"/>
                </a:lnTo>
                <a:lnTo>
                  <a:pt x="1742" y="502"/>
                </a:lnTo>
                <a:lnTo>
                  <a:pt x="1751" y="529"/>
                </a:lnTo>
                <a:lnTo>
                  <a:pt x="1687" y="541"/>
                </a:lnTo>
                <a:lnTo>
                  <a:pt x="1700" y="547"/>
                </a:lnTo>
                <a:lnTo>
                  <a:pt x="1682" y="549"/>
                </a:lnTo>
                <a:lnTo>
                  <a:pt x="1682" y="576"/>
                </a:lnTo>
                <a:lnTo>
                  <a:pt x="1611" y="613"/>
                </a:lnTo>
                <a:lnTo>
                  <a:pt x="1596" y="734"/>
                </a:lnTo>
                <a:lnTo>
                  <a:pt x="1623" y="762"/>
                </a:lnTo>
                <a:lnTo>
                  <a:pt x="1661" y="746"/>
                </a:lnTo>
                <a:lnTo>
                  <a:pt x="1678" y="839"/>
                </a:lnTo>
                <a:lnTo>
                  <a:pt x="1733" y="821"/>
                </a:lnTo>
                <a:lnTo>
                  <a:pt x="1798" y="847"/>
                </a:lnTo>
                <a:lnTo>
                  <a:pt x="1930" y="914"/>
                </a:lnTo>
                <a:lnTo>
                  <a:pt x="1920" y="941"/>
                </a:lnTo>
                <a:lnTo>
                  <a:pt x="1935" y="920"/>
                </a:lnTo>
                <a:lnTo>
                  <a:pt x="2035" y="926"/>
                </a:lnTo>
                <a:lnTo>
                  <a:pt x="2035" y="1028"/>
                </a:lnTo>
                <a:lnTo>
                  <a:pt x="2066" y="1062"/>
                </a:lnTo>
                <a:lnTo>
                  <a:pt x="2044" y="1069"/>
                </a:lnTo>
                <a:lnTo>
                  <a:pt x="2094" y="1088"/>
                </a:lnTo>
                <a:lnTo>
                  <a:pt x="2079" y="1119"/>
                </a:lnTo>
                <a:lnTo>
                  <a:pt x="2127" y="1118"/>
                </a:lnTo>
                <a:lnTo>
                  <a:pt x="2192" y="1063"/>
                </a:lnTo>
                <a:lnTo>
                  <a:pt x="2164" y="1051"/>
                </a:lnTo>
                <a:lnTo>
                  <a:pt x="2127" y="954"/>
                </a:lnTo>
                <a:lnTo>
                  <a:pt x="2250" y="870"/>
                </a:lnTo>
                <a:lnTo>
                  <a:pt x="2232" y="870"/>
                </a:lnTo>
                <a:lnTo>
                  <a:pt x="2205" y="771"/>
                </a:lnTo>
                <a:lnTo>
                  <a:pt x="2161" y="746"/>
                </a:lnTo>
                <a:lnTo>
                  <a:pt x="2219" y="705"/>
                </a:lnTo>
                <a:lnTo>
                  <a:pt x="2198" y="683"/>
                </a:lnTo>
                <a:lnTo>
                  <a:pt x="2208" y="647"/>
                </a:lnTo>
                <a:lnTo>
                  <a:pt x="2182" y="641"/>
                </a:lnTo>
                <a:lnTo>
                  <a:pt x="2208" y="604"/>
                </a:lnTo>
                <a:lnTo>
                  <a:pt x="2179" y="581"/>
                </a:lnTo>
                <a:lnTo>
                  <a:pt x="2195" y="551"/>
                </a:lnTo>
                <a:lnTo>
                  <a:pt x="2289" y="571"/>
                </a:lnTo>
                <a:lnTo>
                  <a:pt x="2331" y="554"/>
                </a:lnTo>
                <a:lnTo>
                  <a:pt x="2411" y="604"/>
                </a:lnTo>
                <a:lnTo>
                  <a:pt x="2411" y="626"/>
                </a:lnTo>
                <a:lnTo>
                  <a:pt x="2479" y="630"/>
                </a:lnTo>
                <a:lnTo>
                  <a:pt x="2485" y="680"/>
                </a:lnTo>
                <a:lnTo>
                  <a:pt x="2424" y="682"/>
                </a:lnTo>
                <a:lnTo>
                  <a:pt x="2477" y="690"/>
                </a:lnTo>
                <a:lnTo>
                  <a:pt x="2494" y="721"/>
                </a:lnTo>
                <a:lnTo>
                  <a:pt x="2437" y="763"/>
                </a:lnTo>
                <a:lnTo>
                  <a:pt x="2519" y="741"/>
                </a:lnTo>
                <a:lnTo>
                  <a:pt x="2523" y="779"/>
                </a:lnTo>
                <a:lnTo>
                  <a:pt x="2488" y="795"/>
                </a:lnTo>
                <a:lnTo>
                  <a:pt x="2538" y="756"/>
                </a:lnTo>
                <a:lnTo>
                  <a:pt x="2544" y="781"/>
                </a:lnTo>
                <a:lnTo>
                  <a:pt x="2590" y="743"/>
                </a:lnTo>
                <a:lnTo>
                  <a:pt x="2599" y="763"/>
                </a:lnTo>
                <a:lnTo>
                  <a:pt x="2632" y="711"/>
                </a:lnTo>
                <a:lnTo>
                  <a:pt x="2621" y="700"/>
                </a:lnTo>
                <a:lnTo>
                  <a:pt x="2658" y="671"/>
                </a:lnTo>
                <a:lnTo>
                  <a:pt x="2699" y="726"/>
                </a:lnTo>
                <a:lnTo>
                  <a:pt x="2664" y="739"/>
                </a:lnTo>
                <a:lnTo>
                  <a:pt x="2702" y="732"/>
                </a:lnTo>
                <a:lnTo>
                  <a:pt x="2716" y="755"/>
                </a:lnTo>
                <a:lnTo>
                  <a:pt x="2691" y="762"/>
                </a:lnTo>
                <a:lnTo>
                  <a:pt x="2725" y="766"/>
                </a:lnTo>
                <a:lnTo>
                  <a:pt x="2702" y="783"/>
                </a:lnTo>
                <a:lnTo>
                  <a:pt x="2726" y="779"/>
                </a:lnTo>
                <a:lnTo>
                  <a:pt x="2744" y="804"/>
                </a:lnTo>
                <a:lnTo>
                  <a:pt x="2732" y="815"/>
                </a:lnTo>
                <a:lnTo>
                  <a:pt x="2766" y="834"/>
                </a:lnTo>
                <a:lnTo>
                  <a:pt x="2713" y="855"/>
                </a:lnTo>
                <a:lnTo>
                  <a:pt x="2752" y="855"/>
                </a:lnTo>
                <a:lnTo>
                  <a:pt x="2743" y="875"/>
                </a:lnTo>
                <a:lnTo>
                  <a:pt x="2802" y="893"/>
                </a:lnTo>
                <a:lnTo>
                  <a:pt x="2824" y="940"/>
                </a:lnTo>
                <a:lnTo>
                  <a:pt x="2845" y="922"/>
                </a:lnTo>
                <a:lnTo>
                  <a:pt x="2903" y="953"/>
                </a:lnTo>
                <a:lnTo>
                  <a:pt x="2776" y="993"/>
                </a:lnTo>
                <a:lnTo>
                  <a:pt x="2802" y="1014"/>
                </a:lnTo>
                <a:lnTo>
                  <a:pt x="2910" y="970"/>
                </a:lnTo>
                <a:lnTo>
                  <a:pt x="2910" y="1008"/>
                </a:lnTo>
                <a:lnTo>
                  <a:pt x="2959" y="1001"/>
                </a:lnTo>
                <a:lnTo>
                  <a:pt x="2963" y="1019"/>
                </a:lnTo>
                <a:lnTo>
                  <a:pt x="2941" y="1019"/>
                </a:lnTo>
                <a:lnTo>
                  <a:pt x="2963" y="1064"/>
                </a:lnTo>
                <a:lnTo>
                  <a:pt x="2814" y="1154"/>
                </a:lnTo>
                <a:lnTo>
                  <a:pt x="2596" y="1154"/>
                </a:lnTo>
                <a:lnTo>
                  <a:pt x="2505" y="1215"/>
                </a:lnTo>
                <a:lnTo>
                  <a:pt x="2430" y="1305"/>
                </a:lnTo>
                <a:lnTo>
                  <a:pt x="2505" y="1237"/>
                </a:lnTo>
                <a:lnTo>
                  <a:pt x="2622" y="1196"/>
                </a:lnTo>
                <a:lnTo>
                  <a:pt x="2664" y="1228"/>
                </a:lnTo>
                <a:lnTo>
                  <a:pt x="2588" y="1251"/>
                </a:lnTo>
                <a:lnTo>
                  <a:pt x="2648" y="1265"/>
                </a:lnTo>
                <a:lnTo>
                  <a:pt x="2632" y="1292"/>
                </a:lnTo>
                <a:lnTo>
                  <a:pt x="2678" y="1342"/>
                </a:lnTo>
                <a:lnTo>
                  <a:pt x="2769" y="1360"/>
                </a:lnTo>
                <a:lnTo>
                  <a:pt x="2793" y="1298"/>
                </a:lnTo>
                <a:lnTo>
                  <a:pt x="2793" y="1336"/>
                </a:lnTo>
                <a:lnTo>
                  <a:pt x="2818" y="1332"/>
                </a:lnTo>
                <a:lnTo>
                  <a:pt x="2775" y="1372"/>
                </a:lnTo>
                <a:lnTo>
                  <a:pt x="2667" y="1399"/>
                </a:lnTo>
                <a:lnTo>
                  <a:pt x="2630" y="1446"/>
                </a:lnTo>
                <a:lnTo>
                  <a:pt x="2599" y="1404"/>
                </a:lnTo>
                <a:lnTo>
                  <a:pt x="2700" y="1368"/>
                </a:lnTo>
                <a:lnTo>
                  <a:pt x="2648" y="1369"/>
                </a:lnTo>
                <a:lnTo>
                  <a:pt x="2658" y="1342"/>
                </a:lnTo>
                <a:lnTo>
                  <a:pt x="2570" y="1374"/>
                </a:lnTo>
                <a:lnTo>
                  <a:pt x="2544" y="1353"/>
                </a:lnTo>
                <a:lnTo>
                  <a:pt x="2544" y="1298"/>
                </a:lnTo>
                <a:lnTo>
                  <a:pt x="2486" y="1280"/>
                </a:lnTo>
                <a:lnTo>
                  <a:pt x="2444" y="1370"/>
                </a:lnTo>
                <a:lnTo>
                  <a:pt x="2266" y="1404"/>
                </a:lnTo>
                <a:lnTo>
                  <a:pt x="2145" y="1440"/>
                </a:lnTo>
                <a:lnTo>
                  <a:pt x="2124" y="1457"/>
                </a:lnTo>
                <a:lnTo>
                  <a:pt x="2153" y="1461"/>
                </a:lnTo>
                <a:lnTo>
                  <a:pt x="2159" y="1474"/>
                </a:lnTo>
                <a:lnTo>
                  <a:pt x="2011" y="1511"/>
                </a:lnTo>
                <a:lnTo>
                  <a:pt x="2019" y="1494"/>
                </a:lnTo>
                <a:lnTo>
                  <a:pt x="2029" y="1483"/>
                </a:lnTo>
                <a:lnTo>
                  <a:pt x="2034" y="1465"/>
                </a:lnTo>
                <a:lnTo>
                  <a:pt x="2056" y="1452"/>
                </a:lnTo>
                <a:lnTo>
                  <a:pt x="2061" y="1372"/>
                </a:lnTo>
                <a:lnTo>
                  <a:pt x="2086" y="1399"/>
                </a:lnTo>
                <a:lnTo>
                  <a:pt x="2129" y="1390"/>
                </a:lnTo>
                <a:lnTo>
                  <a:pt x="2091" y="1342"/>
                </a:lnTo>
                <a:lnTo>
                  <a:pt x="1964" y="1319"/>
                </a:lnTo>
                <a:lnTo>
                  <a:pt x="1959" y="1319"/>
                </a:lnTo>
                <a:lnTo>
                  <a:pt x="1946" y="1255"/>
                </a:lnTo>
                <a:lnTo>
                  <a:pt x="1920" y="1259"/>
                </a:lnTo>
                <a:lnTo>
                  <a:pt x="1898" y="1222"/>
                </a:lnTo>
                <a:lnTo>
                  <a:pt x="1870" y="1220"/>
                </a:lnTo>
                <a:lnTo>
                  <a:pt x="1870" y="1242"/>
                </a:lnTo>
                <a:lnTo>
                  <a:pt x="1837" y="1209"/>
                </a:lnTo>
                <a:lnTo>
                  <a:pt x="1777" y="1255"/>
                </a:lnTo>
                <a:lnTo>
                  <a:pt x="1613" y="1222"/>
                </a:lnTo>
                <a:lnTo>
                  <a:pt x="1592" y="1190"/>
                </a:lnTo>
                <a:lnTo>
                  <a:pt x="1590" y="1211"/>
                </a:lnTo>
                <a:lnTo>
                  <a:pt x="635" y="1211"/>
                </a:lnTo>
                <a:lnTo>
                  <a:pt x="620" y="1177"/>
                </a:lnTo>
                <a:lnTo>
                  <a:pt x="569" y="1166"/>
                </a:lnTo>
                <a:lnTo>
                  <a:pt x="571" y="1144"/>
                </a:lnTo>
                <a:lnTo>
                  <a:pt x="465" y="1113"/>
                </a:lnTo>
                <a:lnTo>
                  <a:pt x="477" y="1097"/>
                </a:lnTo>
                <a:lnTo>
                  <a:pt x="452" y="1055"/>
                </a:lnTo>
                <a:lnTo>
                  <a:pt x="426" y="1051"/>
                </a:lnTo>
                <a:lnTo>
                  <a:pt x="367" y="960"/>
                </a:lnTo>
                <a:lnTo>
                  <a:pt x="377" y="932"/>
                </a:lnTo>
                <a:lnTo>
                  <a:pt x="380" y="882"/>
                </a:lnTo>
                <a:lnTo>
                  <a:pt x="314" y="855"/>
                </a:lnTo>
                <a:lnTo>
                  <a:pt x="191" y="695"/>
                </a:lnTo>
                <a:lnTo>
                  <a:pt x="121" y="740"/>
                </a:lnTo>
                <a:lnTo>
                  <a:pt x="103" y="719"/>
                </a:lnTo>
                <a:lnTo>
                  <a:pt x="98" y="715"/>
                </a:lnTo>
                <a:lnTo>
                  <a:pt x="63" y="671"/>
                </a:lnTo>
                <a:lnTo>
                  <a:pt x="0" y="67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07" name="Freeform 106"/>
          <p:cNvSpPr>
            <a:spLocks noChangeAspect="1"/>
          </p:cNvSpPr>
          <p:nvPr/>
        </p:nvSpPr>
        <p:spPr bwMode="gray">
          <a:xfrm>
            <a:off x="2333205" y="3208279"/>
            <a:ext cx="129424" cy="77502"/>
          </a:xfrm>
          <a:custGeom>
            <a:avLst/>
            <a:gdLst/>
            <a:ahLst/>
            <a:cxnLst>
              <a:cxn ang="0">
                <a:pos x="0" y="0"/>
              </a:cxn>
              <a:cxn ang="0">
                <a:pos x="95" y="20"/>
              </a:cxn>
              <a:cxn ang="0">
                <a:pos x="174" y="101"/>
              </a:cxn>
              <a:cxn ang="0">
                <a:pos x="128" y="85"/>
              </a:cxn>
              <a:cxn ang="0">
                <a:pos x="0" y="0"/>
              </a:cxn>
            </a:cxnLst>
            <a:rect l="0" t="0" r="r" b="b"/>
            <a:pathLst>
              <a:path w="174" h="101">
                <a:moveTo>
                  <a:pt x="0" y="0"/>
                </a:moveTo>
                <a:lnTo>
                  <a:pt x="95" y="20"/>
                </a:lnTo>
                <a:lnTo>
                  <a:pt x="174" y="101"/>
                </a:lnTo>
                <a:lnTo>
                  <a:pt x="128" y="85"/>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08" name="Freeform 107"/>
          <p:cNvSpPr>
            <a:spLocks noChangeAspect="1"/>
          </p:cNvSpPr>
          <p:nvPr/>
        </p:nvSpPr>
        <p:spPr bwMode="gray">
          <a:xfrm>
            <a:off x="2395959" y="2169771"/>
            <a:ext cx="272575" cy="180835"/>
          </a:xfrm>
          <a:custGeom>
            <a:avLst/>
            <a:gdLst/>
            <a:ahLst/>
            <a:cxnLst>
              <a:cxn ang="0">
                <a:pos x="0" y="170"/>
              </a:cxn>
              <a:cxn ang="0">
                <a:pos x="15" y="141"/>
              </a:cxn>
              <a:cxn ang="0">
                <a:pos x="67" y="47"/>
              </a:cxn>
              <a:cxn ang="0">
                <a:pos x="42" y="9"/>
              </a:cxn>
              <a:cxn ang="0">
                <a:pos x="155" y="0"/>
              </a:cxn>
              <a:cxn ang="0">
                <a:pos x="232" y="37"/>
              </a:cxn>
              <a:cxn ang="0">
                <a:pos x="283" y="15"/>
              </a:cxn>
              <a:cxn ang="0">
                <a:pos x="362" y="69"/>
              </a:cxn>
              <a:cxn ang="0">
                <a:pos x="195" y="151"/>
              </a:cxn>
              <a:cxn ang="0">
                <a:pos x="181" y="201"/>
              </a:cxn>
              <a:cxn ang="0">
                <a:pos x="99" y="225"/>
              </a:cxn>
              <a:cxn ang="0">
                <a:pos x="62" y="185"/>
              </a:cxn>
              <a:cxn ang="0">
                <a:pos x="0" y="170"/>
              </a:cxn>
            </a:cxnLst>
            <a:rect l="0" t="0" r="r" b="b"/>
            <a:pathLst>
              <a:path w="362" h="225">
                <a:moveTo>
                  <a:pt x="0" y="170"/>
                </a:moveTo>
                <a:lnTo>
                  <a:pt x="15" y="141"/>
                </a:lnTo>
                <a:lnTo>
                  <a:pt x="67" y="47"/>
                </a:lnTo>
                <a:lnTo>
                  <a:pt x="42" y="9"/>
                </a:lnTo>
                <a:lnTo>
                  <a:pt x="155" y="0"/>
                </a:lnTo>
                <a:lnTo>
                  <a:pt x="232" y="37"/>
                </a:lnTo>
                <a:lnTo>
                  <a:pt x="283" y="15"/>
                </a:lnTo>
                <a:lnTo>
                  <a:pt x="362" y="69"/>
                </a:lnTo>
                <a:lnTo>
                  <a:pt x="195" y="151"/>
                </a:lnTo>
                <a:lnTo>
                  <a:pt x="181" y="201"/>
                </a:lnTo>
                <a:lnTo>
                  <a:pt x="99" y="225"/>
                </a:lnTo>
                <a:lnTo>
                  <a:pt x="62" y="185"/>
                </a:lnTo>
                <a:lnTo>
                  <a:pt x="0" y="17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09" name="Freeform 108"/>
          <p:cNvSpPr>
            <a:spLocks noChangeAspect="1"/>
          </p:cNvSpPr>
          <p:nvPr/>
        </p:nvSpPr>
        <p:spPr bwMode="gray">
          <a:xfrm>
            <a:off x="2474396" y="2006159"/>
            <a:ext cx="190215" cy="96445"/>
          </a:xfrm>
          <a:custGeom>
            <a:avLst/>
            <a:gdLst/>
            <a:ahLst/>
            <a:cxnLst>
              <a:cxn ang="0">
                <a:pos x="0" y="96"/>
              </a:cxn>
              <a:cxn ang="0">
                <a:pos x="58" y="115"/>
              </a:cxn>
              <a:cxn ang="0">
                <a:pos x="73" y="95"/>
              </a:cxn>
              <a:cxn ang="0">
                <a:pos x="85" y="127"/>
              </a:cxn>
              <a:cxn ang="0">
                <a:pos x="112" y="113"/>
              </a:cxn>
              <a:cxn ang="0">
                <a:pos x="108" y="84"/>
              </a:cxn>
              <a:cxn ang="0">
                <a:pos x="135" y="101"/>
              </a:cxn>
              <a:cxn ang="0">
                <a:pos x="151" y="55"/>
              </a:cxn>
              <a:cxn ang="0">
                <a:pos x="174" y="52"/>
              </a:cxn>
              <a:cxn ang="0">
                <a:pos x="183" y="94"/>
              </a:cxn>
              <a:cxn ang="0">
                <a:pos x="237" y="62"/>
              </a:cxn>
              <a:cxn ang="0">
                <a:pos x="220" y="26"/>
              </a:cxn>
              <a:cxn ang="0">
                <a:pos x="254" y="18"/>
              </a:cxn>
              <a:cxn ang="0">
                <a:pos x="218" y="0"/>
              </a:cxn>
              <a:cxn ang="0">
                <a:pos x="126" y="18"/>
              </a:cxn>
              <a:cxn ang="0">
                <a:pos x="0" y="96"/>
              </a:cxn>
            </a:cxnLst>
            <a:rect l="0" t="0" r="r" b="b"/>
            <a:pathLst>
              <a:path w="254" h="127">
                <a:moveTo>
                  <a:pt x="0" y="96"/>
                </a:moveTo>
                <a:lnTo>
                  <a:pt x="58" y="115"/>
                </a:lnTo>
                <a:lnTo>
                  <a:pt x="73" y="95"/>
                </a:lnTo>
                <a:lnTo>
                  <a:pt x="85" y="127"/>
                </a:lnTo>
                <a:lnTo>
                  <a:pt x="112" y="113"/>
                </a:lnTo>
                <a:lnTo>
                  <a:pt x="108" y="84"/>
                </a:lnTo>
                <a:lnTo>
                  <a:pt x="135" y="101"/>
                </a:lnTo>
                <a:lnTo>
                  <a:pt x="151" y="55"/>
                </a:lnTo>
                <a:lnTo>
                  <a:pt x="174" y="52"/>
                </a:lnTo>
                <a:lnTo>
                  <a:pt x="183" y="94"/>
                </a:lnTo>
                <a:lnTo>
                  <a:pt x="237" y="62"/>
                </a:lnTo>
                <a:lnTo>
                  <a:pt x="220" y="26"/>
                </a:lnTo>
                <a:lnTo>
                  <a:pt x="254" y="18"/>
                </a:lnTo>
                <a:lnTo>
                  <a:pt x="218" y="0"/>
                </a:lnTo>
                <a:lnTo>
                  <a:pt x="126" y="18"/>
                </a:lnTo>
                <a:lnTo>
                  <a:pt x="0" y="9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10" name="Freeform 109"/>
          <p:cNvSpPr>
            <a:spLocks noChangeAspect="1"/>
          </p:cNvSpPr>
          <p:nvPr/>
        </p:nvSpPr>
        <p:spPr bwMode="gray">
          <a:xfrm>
            <a:off x="2574405" y="2236937"/>
            <a:ext cx="474554" cy="244558"/>
          </a:xfrm>
          <a:custGeom>
            <a:avLst/>
            <a:gdLst/>
            <a:ahLst/>
            <a:cxnLst>
              <a:cxn ang="0">
                <a:pos x="0" y="99"/>
              </a:cxn>
              <a:cxn ang="0">
                <a:pos x="32" y="74"/>
              </a:cxn>
              <a:cxn ang="0">
                <a:pos x="16" y="61"/>
              </a:cxn>
              <a:cxn ang="0">
                <a:pos x="91" y="17"/>
              </a:cxn>
              <a:cxn ang="0">
                <a:pos x="152" y="0"/>
              </a:cxn>
              <a:cxn ang="0">
                <a:pos x="172" y="31"/>
              </a:cxn>
              <a:cxn ang="0">
                <a:pos x="151" y="50"/>
              </a:cxn>
              <a:cxn ang="0">
                <a:pos x="206" y="24"/>
              </a:cxn>
              <a:cxn ang="0">
                <a:pos x="267" y="45"/>
              </a:cxn>
              <a:cxn ang="0">
                <a:pos x="245" y="68"/>
              </a:cxn>
              <a:cxn ang="0">
                <a:pos x="316" y="52"/>
              </a:cxn>
              <a:cxn ang="0">
                <a:pos x="296" y="27"/>
              </a:cxn>
              <a:cxn ang="0">
                <a:pos x="324" y="30"/>
              </a:cxn>
              <a:cxn ang="0">
                <a:pos x="381" y="112"/>
              </a:cxn>
              <a:cxn ang="0">
                <a:pos x="400" y="93"/>
              </a:cxn>
              <a:cxn ang="0">
                <a:pos x="377" y="2"/>
              </a:cxn>
              <a:cxn ang="0">
                <a:pos x="423" y="5"/>
              </a:cxn>
              <a:cxn ang="0">
                <a:pos x="474" y="35"/>
              </a:cxn>
              <a:cxn ang="0">
                <a:pos x="502" y="149"/>
              </a:cxn>
              <a:cxn ang="0">
                <a:pos x="627" y="203"/>
              </a:cxn>
              <a:cxn ang="0">
                <a:pos x="625" y="232"/>
              </a:cxn>
              <a:cxn ang="0">
                <a:pos x="591" y="220"/>
              </a:cxn>
              <a:cxn ang="0">
                <a:pos x="553" y="239"/>
              </a:cxn>
              <a:cxn ang="0">
                <a:pos x="606" y="264"/>
              </a:cxn>
              <a:cxn ang="0">
                <a:pos x="558" y="289"/>
              </a:cxn>
              <a:cxn ang="0">
                <a:pos x="477" y="277"/>
              </a:cxn>
              <a:cxn ang="0">
                <a:pos x="431" y="245"/>
              </a:cxn>
              <a:cxn ang="0">
                <a:pos x="328" y="297"/>
              </a:cxn>
              <a:cxn ang="0">
                <a:pos x="198" y="307"/>
              </a:cxn>
              <a:cxn ang="0">
                <a:pos x="173" y="259"/>
              </a:cxn>
              <a:cxn ang="0">
                <a:pos x="102" y="255"/>
              </a:cxn>
              <a:cxn ang="0">
                <a:pos x="57" y="214"/>
              </a:cxn>
              <a:cxn ang="0">
                <a:pos x="238" y="188"/>
              </a:cxn>
              <a:cxn ang="0">
                <a:pos x="49" y="176"/>
              </a:cxn>
              <a:cxn ang="0">
                <a:pos x="25" y="150"/>
              </a:cxn>
              <a:cxn ang="0">
                <a:pos x="121" y="121"/>
              </a:cxn>
              <a:cxn ang="0">
                <a:pos x="32" y="126"/>
              </a:cxn>
              <a:cxn ang="0">
                <a:pos x="39" y="112"/>
              </a:cxn>
              <a:cxn ang="0">
                <a:pos x="0" y="99"/>
              </a:cxn>
            </a:cxnLst>
            <a:rect l="0" t="0" r="r" b="b"/>
            <a:pathLst>
              <a:path w="627" h="307">
                <a:moveTo>
                  <a:pt x="0" y="99"/>
                </a:moveTo>
                <a:lnTo>
                  <a:pt x="32" y="74"/>
                </a:lnTo>
                <a:lnTo>
                  <a:pt x="16" y="61"/>
                </a:lnTo>
                <a:lnTo>
                  <a:pt x="91" y="17"/>
                </a:lnTo>
                <a:lnTo>
                  <a:pt x="152" y="0"/>
                </a:lnTo>
                <a:lnTo>
                  <a:pt x="172" y="31"/>
                </a:lnTo>
                <a:lnTo>
                  <a:pt x="151" y="50"/>
                </a:lnTo>
                <a:lnTo>
                  <a:pt x="206" y="24"/>
                </a:lnTo>
                <a:lnTo>
                  <a:pt x="267" y="45"/>
                </a:lnTo>
                <a:lnTo>
                  <a:pt x="245" y="68"/>
                </a:lnTo>
                <a:lnTo>
                  <a:pt x="316" y="52"/>
                </a:lnTo>
                <a:lnTo>
                  <a:pt x="296" y="27"/>
                </a:lnTo>
                <a:lnTo>
                  <a:pt x="324" y="30"/>
                </a:lnTo>
                <a:lnTo>
                  <a:pt x="381" y="112"/>
                </a:lnTo>
                <a:lnTo>
                  <a:pt x="400" y="93"/>
                </a:lnTo>
                <a:lnTo>
                  <a:pt x="377" y="2"/>
                </a:lnTo>
                <a:lnTo>
                  <a:pt x="423" y="5"/>
                </a:lnTo>
                <a:lnTo>
                  <a:pt x="474" y="35"/>
                </a:lnTo>
                <a:lnTo>
                  <a:pt x="502" y="149"/>
                </a:lnTo>
                <a:lnTo>
                  <a:pt x="627" y="203"/>
                </a:lnTo>
                <a:lnTo>
                  <a:pt x="625" y="232"/>
                </a:lnTo>
                <a:lnTo>
                  <a:pt x="591" y="220"/>
                </a:lnTo>
                <a:lnTo>
                  <a:pt x="553" y="239"/>
                </a:lnTo>
                <a:lnTo>
                  <a:pt x="606" y="264"/>
                </a:lnTo>
                <a:lnTo>
                  <a:pt x="558" y="289"/>
                </a:lnTo>
                <a:lnTo>
                  <a:pt x="477" y="277"/>
                </a:lnTo>
                <a:lnTo>
                  <a:pt x="431" y="245"/>
                </a:lnTo>
                <a:lnTo>
                  <a:pt x="328" y="297"/>
                </a:lnTo>
                <a:lnTo>
                  <a:pt x="198" y="307"/>
                </a:lnTo>
                <a:lnTo>
                  <a:pt x="173" y="259"/>
                </a:lnTo>
                <a:lnTo>
                  <a:pt x="102" y="255"/>
                </a:lnTo>
                <a:lnTo>
                  <a:pt x="57" y="214"/>
                </a:lnTo>
                <a:lnTo>
                  <a:pt x="238" y="188"/>
                </a:lnTo>
                <a:lnTo>
                  <a:pt x="49" y="176"/>
                </a:lnTo>
                <a:lnTo>
                  <a:pt x="25" y="150"/>
                </a:lnTo>
                <a:lnTo>
                  <a:pt x="121" y="121"/>
                </a:lnTo>
                <a:lnTo>
                  <a:pt x="32" y="126"/>
                </a:lnTo>
                <a:lnTo>
                  <a:pt x="39" y="112"/>
                </a:lnTo>
                <a:lnTo>
                  <a:pt x="0" y="9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11" name="Freeform 110"/>
          <p:cNvSpPr>
            <a:spLocks noChangeAspect="1"/>
          </p:cNvSpPr>
          <p:nvPr/>
        </p:nvSpPr>
        <p:spPr bwMode="gray">
          <a:xfrm>
            <a:off x="2609704" y="2038880"/>
            <a:ext cx="319638" cy="136058"/>
          </a:xfrm>
          <a:custGeom>
            <a:avLst/>
            <a:gdLst/>
            <a:ahLst/>
            <a:cxnLst>
              <a:cxn ang="0">
                <a:pos x="0" y="113"/>
              </a:cxn>
              <a:cxn ang="0">
                <a:pos x="15" y="99"/>
              </a:cxn>
              <a:cxn ang="0">
                <a:pos x="89" y="83"/>
              </a:cxn>
              <a:cxn ang="0">
                <a:pos x="15" y="86"/>
              </a:cxn>
              <a:cxn ang="0">
                <a:pos x="100" y="69"/>
              </a:cxn>
              <a:cxn ang="0">
                <a:pos x="31" y="69"/>
              </a:cxn>
              <a:cxn ang="0">
                <a:pos x="37" y="50"/>
              </a:cxn>
              <a:cxn ang="0">
                <a:pos x="102" y="49"/>
              </a:cxn>
              <a:cxn ang="0">
                <a:pos x="57" y="45"/>
              </a:cxn>
              <a:cxn ang="0">
                <a:pos x="93" y="28"/>
              </a:cxn>
              <a:cxn ang="0">
                <a:pos x="178" y="49"/>
              </a:cxn>
              <a:cxn ang="0">
                <a:pos x="221" y="92"/>
              </a:cxn>
              <a:cxn ang="0">
                <a:pos x="302" y="94"/>
              </a:cxn>
              <a:cxn ang="0">
                <a:pos x="270" y="69"/>
              </a:cxn>
              <a:cxn ang="0">
                <a:pos x="288" y="52"/>
              </a:cxn>
              <a:cxn ang="0">
                <a:pos x="253" y="32"/>
              </a:cxn>
              <a:cxn ang="0">
                <a:pos x="309" y="0"/>
              </a:cxn>
              <a:cxn ang="0">
                <a:pos x="333" y="38"/>
              </a:cxn>
              <a:cxn ang="0">
                <a:pos x="316" y="55"/>
              </a:cxn>
              <a:cxn ang="0">
                <a:pos x="347" y="60"/>
              </a:cxn>
              <a:cxn ang="0">
                <a:pos x="336" y="80"/>
              </a:cxn>
              <a:cxn ang="0">
                <a:pos x="376" y="85"/>
              </a:cxn>
              <a:cxn ang="0">
                <a:pos x="397" y="59"/>
              </a:cxn>
              <a:cxn ang="0">
                <a:pos x="424" y="90"/>
              </a:cxn>
              <a:cxn ang="0">
                <a:pos x="403" y="127"/>
              </a:cxn>
              <a:cxn ang="0">
                <a:pos x="311" y="125"/>
              </a:cxn>
              <a:cxn ang="0">
                <a:pos x="172" y="170"/>
              </a:cxn>
              <a:cxn ang="0">
                <a:pos x="115" y="147"/>
              </a:cxn>
              <a:cxn ang="0">
                <a:pos x="233" y="109"/>
              </a:cxn>
              <a:cxn ang="0">
                <a:pos x="132" y="132"/>
              </a:cxn>
              <a:cxn ang="0">
                <a:pos x="149" y="101"/>
              </a:cxn>
              <a:cxn ang="0">
                <a:pos x="97" y="134"/>
              </a:cxn>
              <a:cxn ang="0">
                <a:pos x="37" y="125"/>
              </a:cxn>
              <a:cxn ang="0">
                <a:pos x="0" y="113"/>
              </a:cxn>
            </a:cxnLst>
            <a:rect l="0" t="0" r="r" b="b"/>
            <a:pathLst>
              <a:path w="424" h="170">
                <a:moveTo>
                  <a:pt x="0" y="113"/>
                </a:moveTo>
                <a:lnTo>
                  <a:pt x="15" y="99"/>
                </a:lnTo>
                <a:lnTo>
                  <a:pt x="89" y="83"/>
                </a:lnTo>
                <a:lnTo>
                  <a:pt x="15" y="86"/>
                </a:lnTo>
                <a:lnTo>
                  <a:pt x="100" y="69"/>
                </a:lnTo>
                <a:lnTo>
                  <a:pt x="31" y="69"/>
                </a:lnTo>
                <a:lnTo>
                  <a:pt x="37" y="50"/>
                </a:lnTo>
                <a:lnTo>
                  <a:pt x="102" y="49"/>
                </a:lnTo>
                <a:lnTo>
                  <a:pt x="57" y="45"/>
                </a:lnTo>
                <a:lnTo>
                  <a:pt x="93" y="28"/>
                </a:lnTo>
                <a:lnTo>
                  <a:pt x="178" y="49"/>
                </a:lnTo>
                <a:lnTo>
                  <a:pt x="221" y="92"/>
                </a:lnTo>
                <a:lnTo>
                  <a:pt x="302" y="94"/>
                </a:lnTo>
                <a:lnTo>
                  <a:pt x="270" y="69"/>
                </a:lnTo>
                <a:lnTo>
                  <a:pt x="288" y="52"/>
                </a:lnTo>
                <a:lnTo>
                  <a:pt x="253" y="32"/>
                </a:lnTo>
                <a:lnTo>
                  <a:pt x="309" y="0"/>
                </a:lnTo>
                <a:lnTo>
                  <a:pt x="333" y="38"/>
                </a:lnTo>
                <a:lnTo>
                  <a:pt x="316" y="55"/>
                </a:lnTo>
                <a:lnTo>
                  <a:pt x="347" y="60"/>
                </a:lnTo>
                <a:lnTo>
                  <a:pt x="336" y="80"/>
                </a:lnTo>
                <a:lnTo>
                  <a:pt x="376" y="85"/>
                </a:lnTo>
                <a:lnTo>
                  <a:pt x="397" y="59"/>
                </a:lnTo>
                <a:lnTo>
                  <a:pt x="424" y="90"/>
                </a:lnTo>
                <a:lnTo>
                  <a:pt x="403" y="127"/>
                </a:lnTo>
                <a:lnTo>
                  <a:pt x="311" y="125"/>
                </a:lnTo>
                <a:lnTo>
                  <a:pt x="172" y="170"/>
                </a:lnTo>
                <a:lnTo>
                  <a:pt x="115" y="147"/>
                </a:lnTo>
                <a:lnTo>
                  <a:pt x="233" y="109"/>
                </a:lnTo>
                <a:lnTo>
                  <a:pt x="132" y="132"/>
                </a:lnTo>
                <a:lnTo>
                  <a:pt x="149" y="101"/>
                </a:lnTo>
                <a:lnTo>
                  <a:pt x="97" y="134"/>
                </a:lnTo>
                <a:lnTo>
                  <a:pt x="37" y="125"/>
                </a:lnTo>
                <a:lnTo>
                  <a:pt x="0" y="11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12" name="Freeform 111"/>
          <p:cNvSpPr>
            <a:spLocks noChangeAspect="1"/>
          </p:cNvSpPr>
          <p:nvPr/>
        </p:nvSpPr>
        <p:spPr bwMode="gray">
          <a:xfrm>
            <a:off x="2929341" y="1897655"/>
            <a:ext cx="164721" cy="87836"/>
          </a:xfrm>
          <a:custGeom>
            <a:avLst/>
            <a:gdLst/>
            <a:ahLst/>
            <a:cxnLst>
              <a:cxn ang="0">
                <a:pos x="0" y="0"/>
              </a:cxn>
              <a:cxn ang="0">
                <a:pos x="18" y="38"/>
              </a:cxn>
              <a:cxn ang="0">
                <a:pos x="72" y="38"/>
              </a:cxn>
              <a:cxn ang="0">
                <a:pos x="55" y="46"/>
              </a:cxn>
              <a:cxn ang="0">
                <a:pos x="67" y="59"/>
              </a:cxn>
              <a:cxn ang="0">
                <a:pos x="21" y="65"/>
              </a:cxn>
              <a:cxn ang="0">
                <a:pos x="98" y="79"/>
              </a:cxn>
              <a:cxn ang="0">
                <a:pos x="220" y="106"/>
              </a:cxn>
              <a:cxn ang="0">
                <a:pos x="202" y="45"/>
              </a:cxn>
              <a:cxn ang="0">
                <a:pos x="113" y="8"/>
              </a:cxn>
              <a:cxn ang="0">
                <a:pos x="84" y="24"/>
              </a:cxn>
              <a:cxn ang="0">
                <a:pos x="76" y="0"/>
              </a:cxn>
              <a:cxn ang="0">
                <a:pos x="0" y="0"/>
              </a:cxn>
            </a:cxnLst>
            <a:rect l="0" t="0" r="r" b="b"/>
            <a:pathLst>
              <a:path w="220" h="106">
                <a:moveTo>
                  <a:pt x="0" y="0"/>
                </a:moveTo>
                <a:lnTo>
                  <a:pt x="18" y="38"/>
                </a:lnTo>
                <a:lnTo>
                  <a:pt x="72" y="38"/>
                </a:lnTo>
                <a:lnTo>
                  <a:pt x="55" y="46"/>
                </a:lnTo>
                <a:lnTo>
                  <a:pt x="67" y="59"/>
                </a:lnTo>
                <a:lnTo>
                  <a:pt x="21" y="65"/>
                </a:lnTo>
                <a:lnTo>
                  <a:pt x="98" y="79"/>
                </a:lnTo>
                <a:lnTo>
                  <a:pt x="220" y="106"/>
                </a:lnTo>
                <a:lnTo>
                  <a:pt x="202" y="45"/>
                </a:lnTo>
                <a:lnTo>
                  <a:pt x="113" y="8"/>
                </a:lnTo>
                <a:lnTo>
                  <a:pt x="84" y="24"/>
                </a:lnTo>
                <a:lnTo>
                  <a:pt x="76" y="0"/>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13" name="Freeform 112"/>
          <p:cNvSpPr>
            <a:spLocks noChangeAspect="1"/>
          </p:cNvSpPr>
          <p:nvPr/>
        </p:nvSpPr>
        <p:spPr bwMode="gray">
          <a:xfrm>
            <a:off x="3007780" y="2061267"/>
            <a:ext cx="131386" cy="80946"/>
          </a:xfrm>
          <a:custGeom>
            <a:avLst/>
            <a:gdLst/>
            <a:ahLst/>
            <a:cxnLst>
              <a:cxn ang="0">
                <a:pos x="0" y="69"/>
              </a:cxn>
              <a:cxn ang="0">
                <a:pos x="20" y="44"/>
              </a:cxn>
              <a:cxn ang="0">
                <a:pos x="54" y="49"/>
              </a:cxn>
              <a:cxn ang="0">
                <a:pos x="11" y="23"/>
              </a:cxn>
              <a:cxn ang="0">
                <a:pos x="21" y="7"/>
              </a:cxn>
              <a:cxn ang="0">
                <a:pos x="92" y="41"/>
              </a:cxn>
              <a:cxn ang="0">
                <a:pos x="52" y="5"/>
              </a:cxn>
              <a:cxn ang="0">
                <a:pos x="158" y="0"/>
              </a:cxn>
              <a:cxn ang="0">
                <a:pos x="177" y="79"/>
              </a:cxn>
              <a:cxn ang="0">
                <a:pos x="156" y="66"/>
              </a:cxn>
              <a:cxn ang="0">
                <a:pos x="153" y="107"/>
              </a:cxn>
              <a:cxn ang="0">
                <a:pos x="68" y="102"/>
              </a:cxn>
              <a:cxn ang="0">
                <a:pos x="85" y="91"/>
              </a:cxn>
              <a:cxn ang="0">
                <a:pos x="63" y="76"/>
              </a:cxn>
              <a:cxn ang="0">
                <a:pos x="124" y="55"/>
              </a:cxn>
              <a:cxn ang="0">
                <a:pos x="0" y="69"/>
              </a:cxn>
            </a:cxnLst>
            <a:rect l="0" t="0" r="r" b="b"/>
            <a:pathLst>
              <a:path w="177" h="107">
                <a:moveTo>
                  <a:pt x="0" y="69"/>
                </a:moveTo>
                <a:lnTo>
                  <a:pt x="20" y="44"/>
                </a:lnTo>
                <a:lnTo>
                  <a:pt x="54" y="49"/>
                </a:lnTo>
                <a:lnTo>
                  <a:pt x="11" y="23"/>
                </a:lnTo>
                <a:lnTo>
                  <a:pt x="21" y="7"/>
                </a:lnTo>
                <a:lnTo>
                  <a:pt x="92" y="41"/>
                </a:lnTo>
                <a:lnTo>
                  <a:pt x="52" y="5"/>
                </a:lnTo>
                <a:lnTo>
                  <a:pt x="158" y="0"/>
                </a:lnTo>
                <a:lnTo>
                  <a:pt x="177" y="79"/>
                </a:lnTo>
                <a:lnTo>
                  <a:pt x="156" y="66"/>
                </a:lnTo>
                <a:lnTo>
                  <a:pt x="153" y="107"/>
                </a:lnTo>
                <a:lnTo>
                  <a:pt x="68" y="102"/>
                </a:lnTo>
                <a:lnTo>
                  <a:pt x="85" y="91"/>
                </a:lnTo>
                <a:lnTo>
                  <a:pt x="63" y="76"/>
                </a:lnTo>
                <a:lnTo>
                  <a:pt x="124" y="55"/>
                </a:lnTo>
                <a:lnTo>
                  <a:pt x="0" y="6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14" name="Freeform 113"/>
          <p:cNvSpPr>
            <a:spLocks noChangeAspect="1"/>
          </p:cNvSpPr>
          <p:nvPr/>
        </p:nvSpPr>
        <p:spPr bwMode="gray">
          <a:xfrm>
            <a:off x="3011700" y="2207658"/>
            <a:ext cx="152956" cy="132612"/>
          </a:xfrm>
          <a:custGeom>
            <a:avLst/>
            <a:gdLst/>
            <a:ahLst/>
            <a:cxnLst>
              <a:cxn ang="0">
                <a:pos x="0" y="85"/>
              </a:cxn>
              <a:cxn ang="0">
                <a:pos x="10" y="63"/>
              </a:cxn>
              <a:cxn ang="0">
                <a:pos x="79" y="76"/>
              </a:cxn>
              <a:cxn ang="0">
                <a:pos x="69" y="49"/>
              </a:cxn>
              <a:cxn ang="0">
                <a:pos x="87" y="51"/>
              </a:cxn>
              <a:cxn ang="0">
                <a:pos x="42" y="36"/>
              </a:cxn>
              <a:cxn ang="0">
                <a:pos x="63" y="28"/>
              </a:cxn>
              <a:cxn ang="0">
                <a:pos x="43" y="15"/>
              </a:cxn>
              <a:cxn ang="0">
                <a:pos x="174" y="0"/>
              </a:cxn>
              <a:cxn ang="0">
                <a:pos x="179" y="37"/>
              </a:cxn>
              <a:cxn ang="0">
                <a:pos x="139" y="68"/>
              </a:cxn>
              <a:cxn ang="0">
                <a:pos x="199" y="76"/>
              </a:cxn>
              <a:cxn ang="0">
                <a:pos x="206" y="136"/>
              </a:cxn>
              <a:cxn ang="0">
                <a:pos x="118" y="169"/>
              </a:cxn>
              <a:cxn ang="0">
                <a:pos x="79" y="121"/>
              </a:cxn>
              <a:cxn ang="0">
                <a:pos x="0" y="85"/>
              </a:cxn>
            </a:cxnLst>
            <a:rect l="0" t="0" r="r" b="b"/>
            <a:pathLst>
              <a:path w="206" h="169">
                <a:moveTo>
                  <a:pt x="0" y="85"/>
                </a:moveTo>
                <a:lnTo>
                  <a:pt x="10" y="63"/>
                </a:lnTo>
                <a:lnTo>
                  <a:pt x="79" y="76"/>
                </a:lnTo>
                <a:lnTo>
                  <a:pt x="69" y="49"/>
                </a:lnTo>
                <a:lnTo>
                  <a:pt x="87" y="51"/>
                </a:lnTo>
                <a:lnTo>
                  <a:pt x="42" y="36"/>
                </a:lnTo>
                <a:lnTo>
                  <a:pt x="63" y="28"/>
                </a:lnTo>
                <a:lnTo>
                  <a:pt x="43" y="15"/>
                </a:lnTo>
                <a:lnTo>
                  <a:pt x="174" y="0"/>
                </a:lnTo>
                <a:lnTo>
                  <a:pt x="179" y="37"/>
                </a:lnTo>
                <a:lnTo>
                  <a:pt x="139" y="68"/>
                </a:lnTo>
                <a:lnTo>
                  <a:pt x="199" y="76"/>
                </a:lnTo>
                <a:lnTo>
                  <a:pt x="206" y="136"/>
                </a:lnTo>
                <a:lnTo>
                  <a:pt x="118" y="169"/>
                </a:lnTo>
                <a:lnTo>
                  <a:pt x="79" y="121"/>
                </a:lnTo>
                <a:lnTo>
                  <a:pt x="0" y="8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15" name="Freeform 114"/>
          <p:cNvSpPr>
            <a:spLocks noChangeAspect="1"/>
          </p:cNvSpPr>
          <p:nvPr/>
        </p:nvSpPr>
        <p:spPr bwMode="gray">
          <a:xfrm>
            <a:off x="3119554" y="1923491"/>
            <a:ext cx="94126" cy="67168"/>
          </a:xfrm>
          <a:custGeom>
            <a:avLst/>
            <a:gdLst/>
            <a:ahLst/>
            <a:cxnLst>
              <a:cxn ang="0">
                <a:pos x="0" y="0"/>
              </a:cxn>
              <a:cxn ang="0">
                <a:pos x="14" y="51"/>
              </a:cxn>
              <a:cxn ang="0">
                <a:pos x="52" y="54"/>
              </a:cxn>
              <a:cxn ang="0">
                <a:pos x="19" y="61"/>
              </a:cxn>
              <a:cxn ang="0">
                <a:pos x="35" y="86"/>
              </a:cxn>
              <a:cxn ang="0">
                <a:pos x="112" y="71"/>
              </a:cxn>
              <a:cxn ang="0">
                <a:pos x="124" y="43"/>
              </a:cxn>
              <a:cxn ang="0">
                <a:pos x="0" y="0"/>
              </a:cxn>
            </a:cxnLst>
            <a:rect l="0" t="0" r="r" b="b"/>
            <a:pathLst>
              <a:path w="124" h="86">
                <a:moveTo>
                  <a:pt x="0" y="0"/>
                </a:moveTo>
                <a:lnTo>
                  <a:pt x="14" y="51"/>
                </a:lnTo>
                <a:lnTo>
                  <a:pt x="52" y="54"/>
                </a:lnTo>
                <a:lnTo>
                  <a:pt x="19" y="61"/>
                </a:lnTo>
                <a:lnTo>
                  <a:pt x="35" y="86"/>
                </a:lnTo>
                <a:lnTo>
                  <a:pt x="112" y="71"/>
                </a:lnTo>
                <a:lnTo>
                  <a:pt x="124" y="43"/>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16" name="Freeform 115"/>
          <p:cNvSpPr>
            <a:spLocks noChangeAspect="1"/>
          </p:cNvSpPr>
          <p:nvPr/>
        </p:nvSpPr>
        <p:spPr bwMode="gray">
          <a:xfrm>
            <a:off x="3152891" y="2025104"/>
            <a:ext cx="454945" cy="149835"/>
          </a:xfrm>
          <a:custGeom>
            <a:avLst/>
            <a:gdLst/>
            <a:ahLst/>
            <a:cxnLst>
              <a:cxn ang="0">
                <a:pos x="0" y="30"/>
              </a:cxn>
              <a:cxn ang="0">
                <a:pos x="36" y="0"/>
              </a:cxn>
              <a:cxn ang="0">
                <a:pos x="90" y="16"/>
              </a:cxn>
              <a:cxn ang="0">
                <a:pos x="126" y="30"/>
              </a:cxn>
              <a:cxn ang="0">
                <a:pos x="115" y="51"/>
              </a:cxn>
              <a:cxn ang="0">
                <a:pos x="183" y="33"/>
              </a:cxn>
              <a:cxn ang="0">
                <a:pos x="227" y="51"/>
              </a:cxn>
              <a:cxn ang="0">
                <a:pos x="189" y="51"/>
              </a:cxn>
              <a:cxn ang="0">
                <a:pos x="265" y="66"/>
              </a:cxn>
              <a:cxn ang="0">
                <a:pos x="183" y="72"/>
              </a:cxn>
              <a:cxn ang="0">
                <a:pos x="227" y="84"/>
              </a:cxn>
              <a:cxn ang="0">
                <a:pos x="194" y="100"/>
              </a:cxn>
              <a:cxn ang="0">
                <a:pos x="236" y="87"/>
              </a:cxn>
              <a:cxn ang="0">
                <a:pos x="272" y="125"/>
              </a:cxn>
              <a:cxn ang="0">
                <a:pos x="281" y="108"/>
              </a:cxn>
              <a:cxn ang="0">
                <a:pos x="391" y="125"/>
              </a:cxn>
              <a:cxn ang="0">
                <a:pos x="505" y="89"/>
              </a:cxn>
              <a:cxn ang="0">
                <a:pos x="598" y="131"/>
              </a:cxn>
              <a:cxn ang="0">
                <a:pos x="568" y="150"/>
              </a:cxn>
              <a:cxn ang="0">
                <a:pos x="578" y="182"/>
              </a:cxn>
              <a:cxn ang="0">
                <a:pos x="524" y="188"/>
              </a:cxn>
              <a:cxn ang="0">
                <a:pos x="463" y="159"/>
              </a:cxn>
              <a:cxn ang="0">
                <a:pos x="463" y="182"/>
              </a:cxn>
              <a:cxn ang="0">
                <a:pos x="430" y="186"/>
              </a:cxn>
              <a:cxn ang="0">
                <a:pos x="296" y="188"/>
              </a:cxn>
              <a:cxn ang="0">
                <a:pos x="281" y="163"/>
              </a:cxn>
              <a:cxn ang="0">
                <a:pos x="248" y="186"/>
              </a:cxn>
              <a:cxn ang="0">
                <a:pos x="208" y="163"/>
              </a:cxn>
              <a:cxn ang="0">
                <a:pos x="180" y="178"/>
              </a:cxn>
              <a:cxn ang="0">
                <a:pos x="128" y="56"/>
              </a:cxn>
              <a:cxn ang="0">
                <a:pos x="67" y="67"/>
              </a:cxn>
              <a:cxn ang="0">
                <a:pos x="0" y="30"/>
              </a:cxn>
            </a:cxnLst>
            <a:rect l="0" t="0" r="r" b="b"/>
            <a:pathLst>
              <a:path w="598" h="188">
                <a:moveTo>
                  <a:pt x="0" y="30"/>
                </a:moveTo>
                <a:lnTo>
                  <a:pt x="36" y="0"/>
                </a:lnTo>
                <a:lnTo>
                  <a:pt x="90" y="16"/>
                </a:lnTo>
                <a:lnTo>
                  <a:pt x="126" y="30"/>
                </a:lnTo>
                <a:lnTo>
                  <a:pt x="115" y="51"/>
                </a:lnTo>
                <a:lnTo>
                  <a:pt x="183" y="33"/>
                </a:lnTo>
                <a:lnTo>
                  <a:pt x="227" y="51"/>
                </a:lnTo>
                <a:lnTo>
                  <a:pt x="189" y="51"/>
                </a:lnTo>
                <a:lnTo>
                  <a:pt x="265" y="66"/>
                </a:lnTo>
                <a:lnTo>
                  <a:pt x="183" y="72"/>
                </a:lnTo>
                <a:lnTo>
                  <a:pt x="227" y="84"/>
                </a:lnTo>
                <a:lnTo>
                  <a:pt x="194" y="100"/>
                </a:lnTo>
                <a:lnTo>
                  <a:pt x="236" y="87"/>
                </a:lnTo>
                <a:lnTo>
                  <a:pt x="272" y="125"/>
                </a:lnTo>
                <a:lnTo>
                  <a:pt x="281" y="108"/>
                </a:lnTo>
                <a:lnTo>
                  <a:pt x="391" y="125"/>
                </a:lnTo>
                <a:lnTo>
                  <a:pt x="505" y="89"/>
                </a:lnTo>
                <a:lnTo>
                  <a:pt x="598" y="131"/>
                </a:lnTo>
                <a:lnTo>
                  <a:pt x="568" y="150"/>
                </a:lnTo>
                <a:lnTo>
                  <a:pt x="578" y="182"/>
                </a:lnTo>
                <a:lnTo>
                  <a:pt x="524" y="188"/>
                </a:lnTo>
                <a:lnTo>
                  <a:pt x="463" y="159"/>
                </a:lnTo>
                <a:lnTo>
                  <a:pt x="463" y="182"/>
                </a:lnTo>
                <a:lnTo>
                  <a:pt x="430" y="186"/>
                </a:lnTo>
                <a:lnTo>
                  <a:pt x="296" y="188"/>
                </a:lnTo>
                <a:lnTo>
                  <a:pt x="281" y="163"/>
                </a:lnTo>
                <a:lnTo>
                  <a:pt x="248" y="186"/>
                </a:lnTo>
                <a:lnTo>
                  <a:pt x="208" y="163"/>
                </a:lnTo>
                <a:lnTo>
                  <a:pt x="180" y="178"/>
                </a:lnTo>
                <a:lnTo>
                  <a:pt x="128" y="56"/>
                </a:lnTo>
                <a:lnTo>
                  <a:pt x="67" y="67"/>
                </a:lnTo>
                <a:lnTo>
                  <a:pt x="0" y="3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17" name="Freeform 116"/>
          <p:cNvSpPr>
            <a:spLocks noChangeAspect="1"/>
          </p:cNvSpPr>
          <p:nvPr/>
        </p:nvSpPr>
        <p:spPr bwMode="gray">
          <a:xfrm>
            <a:off x="3170543" y="1768490"/>
            <a:ext cx="296107" cy="199780"/>
          </a:xfrm>
          <a:custGeom>
            <a:avLst/>
            <a:gdLst/>
            <a:ahLst/>
            <a:cxnLst>
              <a:cxn ang="0">
                <a:pos x="0" y="78"/>
              </a:cxn>
              <a:cxn ang="0">
                <a:pos x="94" y="65"/>
              </a:cxn>
              <a:cxn ang="0">
                <a:pos x="44" y="31"/>
              </a:cxn>
              <a:cxn ang="0">
                <a:pos x="127" y="15"/>
              </a:cxn>
              <a:cxn ang="0">
                <a:pos x="61" y="0"/>
              </a:cxn>
              <a:cxn ang="0">
                <a:pos x="165" y="18"/>
              </a:cxn>
              <a:cxn ang="0">
                <a:pos x="196" y="66"/>
              </a:cxn>
              <a:cxn ang="0">
                <a:pos x="250" y="67"/>
              </a:cxn>
              <a:cxn ang="0">
                <a:pos x="270" y="100"/>
              </a:cxn>
              <a:cxn ang="0">
                <a:pos x="274" y="77"/>
              </a:cxn>
              <a:cxn ang="0">
                <a:pos x="302" y="78"/>
              </a:cxn>
              <a:cxn ang="0">
                <a:pos x="290" y="100"/>
              </a:cxn>
              <a:cxn ang="0">
                <a:pos x="321" y="116"/>
              </a:cxn>
              <a:cxn ang="0">
                <a:pos x="302" y="138"/>
              </a:cxn>
              <a:cxn ang="0">
                <a:pos x="363" y="136"/>
              </a:cxn>
              <a:cxn ang="0">
                <a:pos x="390" y="169"/>
              </a:cxn>
              <a:cxn ang="0">
                <a:pos x="316" y="180"/>
              </a:cxn>
              <a:cxn ang="0">
                <a:pos x="296" y="210"/>
              </a:cxn>
              <a:cxn ang="0">
                <a:pos x="281" y="179"/>
              </a:cxn>
              <a:cxn ang="0">
                <a:pos x="262" y="251"/>
              </a:cxn>
              <a:cxn ang="0">
                <a:pos x="214" y="213"/>
              </a:cxn>
              <a:cxn ang="0">
                <a:pos x="239" y="252"/>
              </a:cxn>
              <a:cxn ang="0">
                <a:pos x="147" y="246"/>
              </a:cxn>
              <a:cxn ang="0">
                <a:pos x="119" y="226"/>
              </a:cxn>
              <a:cxn ang="0">
                <a:pos x="162" y="223"/>
              </a:cxn>
              <a:cxn ang="0">
                <a:pos x="116" y="217"/>
              </a:cxn>
              <a:cxn ang="0">
                <a:pos x="103" y="204"/>
              </a:cxn>
              <a:cxn ang="0">
                <a:pos x="127" y="203"/>
              </a:cxn>
              <a:cxn ang="0">
                <a:pos x="88" y="187"/>
              </a:cxn>
              <a:cxn ang="0">
                <a:pos x="212" y="164"/>
              </a:cxn>
              <a:cxn ang="0">
                <a:pos x="61" y="169"/>
              </a:cxn>
              <a:cxn ang="0">
                <a:pos x="34" y="144"/>
              </a:cxn>
              <a:cxn ang="0">
                <a:pos x="88" y="133"/>
              </a:cxn>
              <a:cxn ang="0">
                <a:pos x="6" y="116"/>
              </a:cxn>
              <a:cxn ang="0">
                <a:pos x="25" y="115"/>
              </a:cxn>
              <a:cxn ang="0">
                <a:pos x="1" y="98"/>
              </a:cxn>
              <a:cxn ang="0">
                <a:pos x="94" y="98"/>
              </a:cxn>
              <a:cxn ang="0">
                <a:pos x="0" y="78"/>
              </a:cxn>
            </a:cxnLst>
            <a:rect l="0" t="0" r="r" b="b"/>
            <a:pathLst>
              <a:path w="390" h="252">
                <a:moveTo>
                  <a:pt x="0" y="78"/>
                </a:moveTo>
                <a:lnTo>
                  <a:pt x="94" y="65"/>
                </a:lnTo>
                <a:lnTo>
                  <a:pt x="44" y="31"/>
                </a:lnTo>
                <a:lnTo>
                  <a:pt x="127" y="15"/>
                </a:lnTo>
                <a:lnTo>
                  <a:pt x="61" y="0"/>
                </a:lnTo>
                <a:lnTo>
                  <a:pt x="165" y="18"/>
                </a:lnTo>
                <a:lnTo>
                  <a:pt x="196" y="66"/>
                </a:lnTo>
                <a:lnTo>
                  <a:pt x="250" y="67"/>
                </a:lnTo>
                <a:lnTo>
                  <a:pt x="270" y="100"/>
                </a:lnTo>
                <a:lnTo>
                  <a:pt x="274" y="77"/>
                </a:lnTo>
                <a:lnTo>
                  <a:pt x="302" y="78"/>
                </a:lnTo>
                <a:lnTo>
                  <a:pt x="290" y="100"/>
                </a:lnTo>
                <a:lnTo>
                  <a:pt x="321" y="116"/>
                </a:lnTo>
                <a:lnTo>
                  <a:pt x="302" y="138"/>
                </a:lnTo>
                <a:lnTo>
                  <a:pt x="363" y="136"/>
                </a:lnTo>
                <a:lnTo>
                  <a:pt x="390" y="169"/>
                </a:lnTo>
                <a:lnTo>
                  <a:pt x="316" y="180"/>
                </a:lnTo>
                <a:lnTo>
                  <a:pt x="296" y="210"/>
                </a:lnTo>
                <a:lnTo>
                  <a:pt x="281" y="179"/>
                </a:lnTo>
                <a:lnTo>
                  <a:pt x="262" y="251"/>
                </a:lnTo>
                <a:lnTo>
                  <a:pt x="214" y="213"/>
                </a:lnTo>
                <a:lnTo>
                  <a:pt x="239" y="252"/>
                </a:lnTo>
                <a:lnTo>
                  <a:pt x="147" y="246"/>
                </a:lnTo>
                <a:lnTo>
                  <a:pt x="119" y="226"/>
                </a:lnTo>
                <a:lnTo>
                  <a:pt x="162" y="223"/>
                </a:lnTo>
                <a:lnTo>
                  <a:pt x="116" y="217"/>
                </a:lnTo>
                <a:lnTo>
                  <a:pt x="103" y="204"/>
                </a:lnTo>
                <a:lnTo>
                  <a:pt x="127" y="203"/>
                </a:lnTo>
                <a:lnTo>
                  <a:pt x="88" y="187"/>
                </a:lnTo>
                <a:lnTo>
                  <a:pt x="212" y="164"/>
                </a:lnTo>
                <a:lnTo>
                  <a:pt x="61" y="169"/>
                </a:lnTo>
                <a:lnTo>
                  <a:pt x="34" y="144"/>
                </a:lnTo>
                <a:lnTo>
                  <a:pt x="88" y="133"/>
                </a:lnTo>
                <a:lnTo>
                  <a:pt x="6" y="116"/>
                </a:lnTo>
                <a:lnTo>
                  <a:pt x="25" y="115"/>
                </a:lnTo>
                <a:lnTo>
                  <a:pt x="1" y="98"/>
                </a:lnTo>
                <a:lnTo>
                  <a:pt x="94" y="98"/>
                </a:lnTo>
                <a:lnTo>
                  <a:pt x="0" y="7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18" name="Freeform 117"/>
          <p:cNvSpPr>
            <a:spLocks noChangeAspect="1"/>
          </p:cNvSpPr>
          <p:nvPr/>
        </p:nvSpPr>
        <p:spPr bwMode="gray">
          <a:xfrm>
            <a:off x="3170540" y="2114660"/>
            <a:ext cx="72556" cy="51667"/>
          </a:xfrm>
          <a:custGeom>
            <a:avLst/>
            <a:gdLst/>
            <a:ahLst/>
            <a:cxnLst>
              <a:cxn ang="0">
                <a:pos x="0" y="44"/>
              </a:cxn>
              <a:cxn ang="0">
                <a:pos x="16" y="0"/>
              </a:cxn>
              <a:cxn ang="0">
                <a:pos x="77" y="13"/>
              </a:cxn>
              <a:cxn ang="0">
                <a:pos x="94" y="65"/>
              </a:cxn>
              <a:cxn ang="0">
                <a:pos x="0" y="44"/>
              </a:cxn>
            </a:cxnLst>
            <a:rect l="0" t="0" r="r" b="b"/>
            <a:pathLst>
              <a:path w="94" h="65">
                <a:moveTo>
                  <a:pt x="0" y="44"/>
                </a:moveTo>
                <a:lnTo>
                  <a:pt x="16" y="0"/>
                </a:lnTo>
                <a:lnTo>
                  <a:pt x="77" y="13"/>
                </a:lnTo>
                <a:lnTo>
                  <a:pt x="94" y="65"/>
                </a:lnTo>
                <a:lnTo>
                  <a:pt x="0" y="4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19" name="Freeform 118"/>
          <p:cNvSpPr>
            <a:spLocks noChangeAspect="1"/>
          </p:cNvSpPr>
          <p:nvPr/>
        </p:nvSpPr>
        <p:spPr bwMode="gray">
          <a:xfrm>
            <a:off x="3172501" y="1990656"/>
            <a:ext cx="78439" cy="17222"/>
          </a:xfrm>
          <a:custGeom>
            <a:avLst/>
            <a:gdLst/>
            <a:ahLst/>
            <a:cxnLst>
              <a:cxn ang="0">
                <a:pos x="0" y="8"/>
              </a:cxn>
              <a:cxn ang="0">
                <a:pos x="25" y="22"/>
              </a:cxn>
              <a:cxn ang="0">
                <a:pos x="107" y="8"/>
              </a:cxn>
              <a:cxn ang="0">
                <a:pos x="29" y="0"/>
              </a:cxn>
              <a:cxn ang="0">
                <a:pos x="0" y="8"/>
              </a:cxn>
            </a:cxnLst>
            <a:rect l="0" t="0" r="r" b="b"/>
            <a:pathLst>
              <a:path w="107" h="22">
                <a:moveTo>
                  <a:pt x="0" y="8"/>
                </a:moveTo>
                <a:lnTo>
                  <a:pt x="25" y="22"/>
                </a:lnTo>
                <a:lnTo>
                  <a:pt x="107" y="8"/>
                </a:lnTo>
                <a:lnTo>
                  <a:pt x="29" y="0"/>
                </a:lnTo>
                <a:lnTo>
                  <a:pt x="0" y="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20" name="Freeform 119"/>
          <p:cNvSpPr>
            <a:spLocks noChangeAspect="1"/>
          </p:cNvSpPr>
          <p:nvPr/>
        </p:nvSpPr>
        <p:spPr bwMode="gray">
          <a:xfrm>
            <a:off x="3186231" y="2197325"/>
            <a:ext cx="139229" cy="108502"/>
          </a:xfrm>
          <a:custGeom>
            <a:avLst/>
            <a:gdLst/>
            <a:ahLst/>
            <a:cxnLst>
              <a:cxn ang="0">
                <a:pos x="0" y="21"/>
              </a:cxn>
              <a:cxn ang="0">
                <a:pos x="5" y="84"/>
              </a:cxn>
              <a:cxn ang="0">
                <a:pos x="24" y="95"/>
              </a:cxn>
              <a:cxn ang="0">
                <a:pos x="17" y="131"/>
              </a:cxn>
              <a:cxn ang="0">
                <a:pos x="46" y="133"/>
              </a:cxn>
              <a:cxn ang="0">
                <a:pos x="76" y="104"/>
              </a:cxn>
              <a:cxn ang="0">
                <a:pos x="46" y="84"/>
              </a:cxn>
              <a:cxn ang="0">
                <a:pos x="122" y="84"/>
              </a:cxn>
              <a:cxn ang="0">
                <a:pos x="186" y="8"/>
              </a:cxn>
              <a:cxn ang="0">
                <a:pos x="14" y="0"/>
              </a:cxn>
              <a:cxn ang="0">
                <a:pos x="38" y="24"/>
              </a:cxn>
              <a:cxn ang="0">
                <a:pos x="0" y="21"/>
              </a:cxn>
            </a:cxnLst>
            <a:rect l="0" t="0" r="r" b="b"/>
            <a:pathLst>
              <a:path w="186" h="133">
                <a:moveTo>
                  <a:pt x="0" y="21"/>
                </a:moveTo>
                <a:lnTo>
                  <a:pt x="5" y="84"/>
                </a:lnTo>
                <a:lnTo>
                  <a:pt x="24" y="95"/>
                </a:lnTo>
                <a:lnTo>
                  <a:pt x="17" y="131"/>
                </a:lnTo>
                <a:lnTo>
                  <a:pt x="46" y="133"/>
                </a:lnTo>
                <a:lnTo>
                  <a:pt x="76" y="104"/>
                </a:lnTo>
                <a:lnTo>
                  <a:pt x="46" y="84"/>
                </a:lnTo>
                <a:lnTo>
                  <a:pt x="122" y="84"/>
                </a:lnTo>
                <a:lnTo>
                  <a:pt x="186" y="8"/>
                </a:lnTo>
                <a:lnTo>
                  <a:pt x="14" y="0"/>
                </a:lnTo>
                <a:lnTo>
                  <a:pt x="38" y="24"/>
                </a:lnTo>
                <a:lnTo>
                  <a:pt x="0" y="2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21" name="Freeform 120"/>
          <p:cNvSpPr>
            <a:spLocks noChangeAspect="1"/>
          </p:cNvSpPr>
          <p:nvPr/>
        </p:nvSpPr>
        <p:spPr bwMode="gray">
          <a:xfrm>
            <a:off x="3280355" y="1649656"/>
            <a:ext cx="809881" cy="432282"/>
          </a:xfrm>
          <a:custGeom>
            <a:avLst/>
            <a:gdLst/>
            <a:ahLst/>
            <a:cxnLst>
              <a:cxn ang="0">
                <a:pos x="60" y="148"/>
              </a:cxn>
              <a:cxn ang="0">
                <a:pos x="114" y="157"/>
              </a:cxn>
              <a:cxn ang="0">
                <a:pos x="260" y="153"/>
              </a:cxn>
              <a:cxn ang="0">
                <a:pos x="232" y="173"/>
              </a:cxn>
              <a:cxn ang="0">
                <a:pos x="198" y="212"/>
              </a:cxn>
              <a:cxn ang="0">
                <a:pos x="292" y="213"/>
              </a:cxn>
              <a:cxn ang="0">
                <a:pos x="412" y="161"/>
              </a:cxn>
              <a:cxn ang="0">
                <a:pos x="572" y="179"/>
              </a:cxn>
              <a:cxn ang="0">
                <a:pos x="415" y="281"/>
              </a:cxn>
              <a:cxn ang="0">
                <a:pos x="191" y="229"/>
              </a:cxn>
              <a:cxn ang="0">
                <a:pos x="190" y="272"/>
              </a:cxn>
              <a:cxn ang="0">
                <a:pos x="362" y="336"/>
              </a:cxn>
              <a:cxn ang="0">
                <a:pos x="236" y="339"/>
              </a:cxn>
              <a:cxn ang="0">
                <a:pos x="212" y="384"/>
              </a:cxn>
              <a:cxn ang="0">
                <a:pos x="256" y="365"/>
              </a:cxn>
              <a:cxn ang="0">
                <a:pos x="216" y="412"/>
              </a:cxn>
              <a:cxn ang="0">
                <a:pos x="249" y="444"/>
              </a:cxn>
              <a:cxn ang="0">
                <a:pos x="260" y="461"/>
              </a:cxn>
              <a:cxn ang="0">
                <a:pos x="181" y="470"/>
              </a:cxn>
              <a:cxn ang="0">
                <a:pos x="116" y="497"/>
              </a:cxn>
              <a:cxn ang="0">
                <a:pos x="226" y="538"/>
              </a:cxn>
              <a:cxn ang="0">
                <a:pos x="297" y="522"/>
              </a:cxn>
              <a:cxn ang="0">
                <a:pos x="336" y="521"/>
              </a:cxn>
              <a:cxn ang="0">
                <a:pos x="379" y="543"/>
              </a:cxn>
              <a:cxn ang="0">
                <a:pos x="445" y="497"/>
              </a:cxn>
              <a:cxn ang="0">
                <a:pos x="478" y="460"/>
              </a:cxn>
              <a:cxn ang="0">
                <a:pos x="555" y="412"/>
              </a:cxn>
              <a:cxn ang="0">
                <a:pos x="588" y="391"/>
              </a:cxn>
              <a:cxn ang="0">
                <a:pos x="594" y="347"/>
              </a:cxn>
              <a:cxn ang="0">
                <a:pos x="490" y="323"/>
              </a:cxn>
              <a:cxn ang="0">
                <a:pos x="489" y="312"/>
              </a:cxn>
              <a:cxn ang="0">
                <a:pos x="702" y="281"/>
              </a:cxn>
              <a:cxn ang="0">
                <a:pos x="751" y="246"/>
              </a:cxn>
              <a:cxn ang="0">
                <a:pos x="954" y="139"/>
              </a:cxn>
              <a:cxn ang="0">
                <a:pos x="799" y="137"/>
              </a:cxn>
              <a:cxn ang="0">
                <a:pos x="1066" y="82"/>
              </a:cxn>
              <a:cxn ang="0">
                <a:pos x="982" y="22"/>
              </a:cxn>
              <a:cxn ang="0">
                <a:pos x="635" y="0"/>
              </a:cxn>
              <a:cxn ang="0">
                <a:pos x="588" y="10"/>
              </a:cxn>
              <a:cxn ang="0">
                <a:pos x="530" y="60"/>
              </a:cxn>
              <a:cxn ang="0">
                <a:pos x="411" y="34"/>
              </a:cxn>
              <a:cxn ang="0">
                <a:pos x="313" y="38"/>
              </a:cxn>
              <a:cxn ang="0">
                <a:pos x="373" y="95"/>
              </a:cxn>
              <a:cxn ang="0">
                <a:pos x="230" y="97"/>
              </a:cxn>
            </a:cxnLst>
            <a:rect l="0" t="0" r="r" b="b"/>
            <a:pathLst>
              <a:path w="1066" h="543">
                <a:moveTo>
                  <a:pt x="0" y="128"/>
                </a:moveTo>
                <a:lnTo>
                  <a:pt x="93" y="128"/>
                </a:lnTo>
                <a:lnTo>
                  <a:pt x="60" y="148"/>
                </a:lnTo>
                <a:lnTo>
                  <a:pt x="192" y="133"/>
                </a:lnTo>
                <a:lnTo>
                  <a:pt x="77" y="148"/>
                </a:lnTo>
                <a:lnTo>
                  <a:pt x="114" y="157"/>
                </a:lnTo>
                <a:lnTo>
                  <a:pt x="75" y="159"/>
                </a:lnTo>
                <a:lnTo>
                  <a:pt x="90" y="174"/>
                </a:lnTo>
                <a:lnTo>
                  <a:pt x="260" y="153"/>
                </a:lnTo>
                <a:lnTo>
                  <a:pt x="93" y="185"/>
                </a:lnTo>
                <a:lnTo>
                  <a:pt x="166" y="212"/>
                </a:lnTo>
                <a:lnTo>
                  <a:pt x="232" y="173"/>
                </a:lnTo>
                <a:lnTo>
                  <a:pt x="344" y="166"/>
                </a:lnTo>
                <a:lnTo>
                  <a:pt x="226" y="181"/>
                </a:lnTo>
                <a:lnTo>
                  <a:pt x="198" y="212"/>
                </a:lnTo>
                <a:lnTo>
                  <a:pt x="268" y="215"/>
                </a:lnTo>
                <a:lnTo>
                  <a:pt x="344" y="184"/>
                </a:lnTo>
                <a:lnTo>
                  <a:pt x="292" y="213"/>
                </a:lnTo>
                <a:lnTo>
                  <a:pt x="344" y="213"/>
                </a:lnTo>
                <a:lnTo>
                  <a:pt x="422" y="191"/>
                </a:lnTo>
                <a:lnTo>
                  <a:pt x="412" y="161"/>
                </a:lnTo>
                <a:lnTo>
                  <a:pt x="499" y="137"/>
                </a:lnTo>
                <a:lnTo>
                  <a:pt x="437" y="188"/>
                </a:lnTo>
                <a:lnTo>
                  <a:pt x="572" y="179"/>
                </a:lnTo>
                <a:lnTo>
                  <a:pt x="297" y="229"/>
                </a:lnTo>
                <a:lnTo>
                  <a:pt x="361" y="281"/>
                </a:lnTo>
                <a:lnTo>
                  <a:pt x="415" y="281"/>
                </a:lnTo>
                <a:lnTo>
                  <a:pt x="386" y="292"/>
                </a:lnTo>
                <a:lnTo>
                  <a:pt x="280" y="237"/>
                </a:lnTo>
                <a:lnTo>
                  <a:pt x="191" y="229"/>
                </a:lnTo>
                <a:lnTo>
                  <a:pt x="187" y="251"/>
                </a:lnTo>
                <a:lnTo>
                  <a:pt x="229" y="263"/>
                </a:lnTo>
                <a:lnTo>
                  <a:pt x="190" y="272"/>
                </a:lnTo>
                <a:lnTo>
                  <a:pt x="297" y="329"/>
                </a:lnTo>
                <a:lnTo>
                  <a:pt x="253" y="333"/>
                </a:lnTo>
                <a:lnTo>
                  <a:pt x="362" y="336"/>
                </a:lnTo>
                <a:lnTo>
                  <a:pt x="301" y="350"/>
                </a:lnTo>
                <a:lnTo>
                  <a:pt x="334" y="369"/>
                </a:lnTo>
                <a:lnTo>
                  <a:pt x="236" y="339"/>
                </a:lnTo>
                <a:lnTo>
                  <a:pt x="179" y="351"/>
                </a:lnTo>
                <a:lnTo>
                  <a:pt x="157" y="400"/>
                </a:lnTo>
                <a:lnTo>
                  <a:pt x="212" y="384"/>
                </a:lnTo>
                <a:lnTo>
                  <a:pt x="203" y="401"/>
                </a:lnTo>
                <a:lnTo>
                  <a:pt x="224" y="401"/>
                </a:lnTo>
                <a:lnTo>
                  <a:pt x="256" y="365"/>
                </a:lnTo>
                <a:lnTo>
                  <a:pt x="245" y="394"/>
                </a:lnTo>
                <a:lnTo>
                  <a:pt x="276" y="399"/>
                </a:lnTo>
                <a:lnTo>
                  <a:pt x="216" y="412"/>
                </a:lnTo>
                <a:lnTo>
                  <a:pt x="253" y="413"/>
                </a:lnTo>
                <a:lnTo>
                  <a:pt x="224" y="424"/>
                </a:lnTo>
                <a:lnTo>
                  <a:pt x="249" y="444"/>
                </a:lnTo>
                <a:lnTo>
                  <a:pt x="292" y="444"/>
                </a:lnTo>
                <a:lnTo>
                  <a:pt x="334" y="405"/>
                </a:lnTo>
                <a:lnTo>
                  <a:pt x="260" y="461"/>
                </a:lnTo>
                <a:lnTo>
                  <a:pt x="190" y="420"/>
                </a:lnTo>
                <a:lnTo>
                  <a:pt x="127" y="427"/>
                </a:lnTo>
                <a:lnTo>
                  <a:pt x="181" y="470"/>
                </a:lnTo>
                <a:lnTo>
                  <a:pt x="90" y="494"/>
                </a:lnTo>
                <a:lnTo>
                  <a:pt x="99" y="526"/>
                </a:lnTo>
                <a:lnTo>
                  <a:pt x="116" y="497"/>
                </a:lnTo>
                <a:lnTo>
                  <a:pt x="119" y="526"/>
                </a:lnTo>
                <a:lnTo>
                  <a:pt x="182" y="512"/>
                </a:lnTo>
                <a:lnTo>
                  <a:pt x="226" y="538"/>
                </a:lnTo>
                <a:lnTo>
                  <a:pt x="258" y="537"/>
                </a:lnTo>
                <a:lnTo>
                  <a:pt x="235" y="515"/>
                </a:lnTo>
                <a:lnTo>
                  <a:pt x="297" y="522"/>
                </a:lnTo>
                <a:lnTo>
                  <a:pt x="292" y="503"/>
                </a:lnTo>
                <a:lnTo>
                  <a:pt x="320" y="526"/>
                </a:lnTo>
                <a:lnTo>
                  <a:pt x="336" y="521"/>
                </a:lnTo>
                <a:lnTo>
                  <a:pt x="328" y="505"/>
                </a:lnTo>
                <a:lnTo>
                  <a:pt x="378" y="521"/>
                </a:lnTo>
                <a:lnTo>
                  <a:pt x="379" y="543"/>
                </a:lnTo>
                <a:lnTo>
                  <a:pt x="470" y="521"/>
                </a:lnTo>
                <a:lnTo>
                  <a:pt x="487" y="489"/>
                </a:lnTo>
                <a:lnTo>
                  <a:pt x="445" y="497"/>
                </a:lnTo>
                <a:lnTo>
                  <a:pt x="445" y="468"/>
                </a:lnTo>
                <a:lnTo>
                  <a:pt x="344" y="467"/>
                </a:lnTo>
                <a:lnTo>
                  <a:pt x="478" y="460"/>
                </a:lnTo>
                <a:lnTo>
                  <a:pt x="498" y="438"/>
                </a:lnTo>
                <a:lnTo>
                  <a:pt x="478" y="411"/>
                </a:lnTo>
                <a:lnTo>
                  <a:pt x="555" y="412"/>
                </a:lnTo>
                <a:lnTo>
                  <a:pt x="571" y="401"/>
                </a:lnTo>
                <a:lnTo>
                  <a:pt x="519" y="394"/>
                </a:lnTo>
                <a:lnTo>
                  <a:pt x="588" y="391"/>
                </a:lnTo>
                <a:lnTo>
                  <a:pt x="542" y="373"/>
                </a:lnTo>
                <a:lnTo>
                  <a:pt x="598" y="361"/>
                </a:lnTo>
                <a:lnTo>
                  <a:pt x="594" y="347"/>
                </a:lnTo>
                <a:lnTo>
                  <a:pt x="492" y="339"/>
                </a:lnTo>
                <a:lnTo>
                  <a:pt x="550" y="327"/>
                </a:lnTo>
                <a:lnTo>
                  <a:pt x="490" y="323"/>
                </a:lnTo>
                <a:lnTo>
                  <a:pt x="598" y="333"/>
                </a:lnTo>
                <a:lnTo>
                  <a:pt x="602" y="318"/>
                </a:lnTo>
                <a:lnTo>
                  <a:pt x="489" y="312"/>
                </a:lnTo>
                <a:lnTo>
                  <a:pt x="636" y="292"/>
                </a:lnTo>
                <a:lnTo>
                  <a:pt x="597" y="274"/>
                </a:lnTo>
                <a:lnTo>
                  <a:pt x="702" y="281"/>
                </a:lnTo>
                <a:lnTo>
                  <a:pt x="735" y="251"/>
                </a:lnTo>
                <a:lnTo>
                  <a:pt x="682" y="248"/>
                </a:lnTo>
                <a:lnTo>
                  <a:pt x="751" y="246"/>
                </a:lnTo>
                <a:lnTo>
                  <a:pt x="742" y="224"/>
                </a:lnTo>
                <a:lnTo>
                  <a:pt x="775" y="229"/>
                </a:lnTo>
                <a:lnTo>
                  <a:pt x="954" y="139"/>
                </a:lnTo>
                <a:lnTo>
                  <a:pt x="756" y="171"/>
                </a:lnTo>
                <a:lnTo>
                  <a:pt x="866" y="133"/>
                </a:lnTo>
                <a:lnTo>
                  <a:pt x="799" y="137"/>
                </a:lnTo>
                <a:lnTo>
                  <a:pt x="784" y="120"/>
                </a:lnTo>
                <a:lnTo>
                  <a:pt x="907" y="128"/>
                </a:lnTo>
                <a:lnTo>
                  <a:pt x="1066" y="82"/>
                </a:lnTo>
                <a:lnTo>
                  <a:pt x="1065" y="60"/>
                </a:lnTo>
                <a:lnTo>
                  <a:pt x="998" y="60"/>
                </a:lnTo>
                <a:lnTo>
                  <a:pt x="982" y="22"/>
                </a:lnTo>
                <a:lnTo>
                  <a:pt x="799" y="39"/>
                </a:lnTo>
                <a:lnTo>
                  <a:pt x="878" y="14"/>
                </a:lnTo>
                <a:lnTo>
                  <a:pt x="635" y="0"/>
                </a:lnTo>
                <a:lnTo>
                  <a:pt x="615" y="18"/>
                </a:lnTo>
                <a:lnTo>
                  <a:pt x="632" y="28"/>
                </a:lnTo>
                <a:lnTo>
                  <a:pt x="588" y="10"/>
                </a:lnTo>
                <a:lnTo>
                  <a:pt x="479" y="11"/>
                </a:lnTo>
                <a:lnTo>
                  <a:pt x="556" y="48"/>
                </a:lnTo>
                <a:lnTo>
                  <a:pt x="530" y="60"/>
                </a:lnTo>
                <a:lnTo>
                  <a:pt x="490" y="21"/>
                </a:lnTo>
                <a:lnTo>
                  <a:pt x="390" y="17"/>
                </a:lnTo>
                <a:lnTo>
                  <a:pt x="411" y="34"/>
                </a:lnTo>
                <a:lnTo>
                  <a:pt x="335" y="28"/>
                </a:lnTo>
                <a:lnTo>
                  <a:pt x="372" y="54"/>
                </a:lnTo>
                <a:lnTo>
                  <a:pt x="313" y="38"/>
                </a:lnTo>
                <a:lnTo>
                  <a:pt x="331" y="54"/>
                </a:lnTo>
                <a:lnTo>
                  <a:pt x="296" y="60"/>
                </a:lnTo>
                <a:lnTo>
                  <a:pt x="373" y="95"/>
                </a:lnTo>
                <a:lnTo>
                  <a:pt x="207" y="55"/>
                </a:lnTo>
                <a:lnTo>
                  <a:pt x="165" y="84"/>
                </a:lnTo>
                <a:lnTo>
                  <a:pt x="230" y="97"/>
                </a:lnTo>
                <a:lnTo>
                  <a:pt x="119" y="87"/>
                </a:lnTo>
                <a:lnTo>
                  <a:pt x="0" y="12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22" name="Freeform 121"/>
          <p:cNvSpPr>
            <a:spLocks noChangeAspect="1"/>
          </p:cNvSpPr>
          <p:nvPr/>
        </p:nvSpPr>
        <p:spPr bwMode="gray">
          <a:xfrm>
            <a:off x="3333299" y="2211105"/>
            <a:ext cx="753012" cy="563172"/>
          </a:xfrm>
          <a:custGeom>
            <a:avLst/>
            <a:gdLst/>
            <a:ahLst/>
            <a:cxnLst>
              <a:cxn ang="0">
                <a:pos x="8" y="82"/>
              </a:cxn>
              <a:cxn ang="0">
                <a:pos x="119" y="0"/>
              </a:cxn>
              <a:cxn ang="0">
                <a:pos x="115" y="82"/>
              </a:cxn>
              <a:cxn ang="0">
                <a:pos x="176" y="167"/>
              </a:cxn>
              <a:cxn ang="0">
                <a:pos x="179" y="182"/>
              </a:cxn>
              <a:cxn ang="0">
                <a:pos x="142" y="122"/>
              </a:cxn>
              <a:cxn ang="0">
                <a:pos x="151" y="63"/>
              </a:cxn>
              <a:cxn ang="0">
                <a:pos x="157" y="55"/>
              </a:cxn>
              <a:cxn ang="0">
                <a:pos x="175" y="34"/>
              </a:cxn>
              <a:cxn ang="0">
                <a:pos x="255" y="10"/>
              </a:cxn>
              <a:cxn ang="0">
                <a:pos x="297" y="41"/>
              </a:cxn>
              <a:cxn ang="0">
                <a:pos x="316" y="125"/>
              </a:cxn>
              <a:cxn ang="0">
                <a:pos x="378" y="106"/>
              </a:cxn>
              <a:cxn ang="0">
                <a:pos x="515" y="92"/>
              </a:cxn>
              <a:cxn ang="0">
                <a:pos x="525" y="144"/>
              </a:cxn>
              <a:cxn ang="0">
                <a:pos x="558" y="156"/>
              </a:cxn>
              <a:cxn ang="0">
                <a:pos x="611" y="142"/>
              </a:cxn>
              <a:cxn ang="0">
                <a:pos x="658" y="176"/>
              </a:cxn>
              <a:cxn ang="0">
                <a:pos x="675" y="182"/>
              </a:cxn>
              <a:cxn ang="0">
                <a:pos x="702" y="194"/>
              </a:cxn>
              <a:cxn ang="0">
                <a:pos x="751" y="211"/>
              </a:cxn>
              <a:cxn ang="0">
                <a:pos x="745" y="235"/>
              </a:cxn>
              <a:cxn ang="0">
                <a:pos x="763" y="229"/>
              </a:cxn>
              <a:cxn ang="0">
                <a:pos x="738" y="274"/>
              </a:cxn>
              <a:cxn ang="0">
                <a:pos x="749" y="296"/>
              </a:cxn>
              <a:cxn ang="0">
                <a:pos x="755" y="330"/>
              </a:cxn>
              <a:cxn ang="0">
                <a:pos x="878" y="364"/>
              </a:cxn>
              <a:cxn ang="0">
                <a:pos x="940" y="411"/>
              </a:cxn>
              <a:cxn ang="0">
                <a:pos x="997" y="444"/>
              </a:cxn>
              <a:cxn ang="0">
                <a:pos x="958" y="466"/>
              </a:cxn>
              <a:cxn ang="0">
                <a:pos x="955" y="507"/>
              </a:cxn>
              <a:cxn ang="0">
                <a:pos x="921" y="546"/>
              </a:cxn>
              <a:cxn ang="0">
                <a:pos x="765" y="463"/>
              </a:cxn>
              <a:cxn ang="0">
                <a:pos x="772" y="507"/>
              </a:cxn>
              <a:cxn ang="0">
                <a:pos x="815" y="551"/>
              </a:cxn>
              <a:cxn ang="0">
                <a:pos x="865" y="588"/>
              </a:cxn>
              <a:cxn ang="0">
                <a:pos x="880" y="672"/>
              </a:cxn>
              <a:cxn ang="0">
                <a:pos x="832" y="707"/>
              </a:cxn>
              <a:cxn ang="0">
                <a:pos x="628" y="619"/>
              </a:cxn>
              <a:cxn ang="0">
                <a:pos x="595" y="597"/>
              </a:cxn>
              <a:cxn ang="0">
                <a:pos x="533" y="546"/>
              </a:cxn>
              <a:cxn ang="0">
                <a:pos x="504" y="559"/>
              </a:cxn>
              <a:cxn ang="0">
                <a:pos x="415" y="559"/>
              </a:cxn>
              <a:cxn ang="0">
                <a:pos x="574" y="516"/>
              </a:cxn>
              <a:cxn ang="0">
                <a:pos x="617" y="411"/>
              </a:cxn>
              <a:cxn ang="0">
                <a:pos x="527" y="320"/>
              </a:cxn>
              <a:cxn ang="0">
                <a:pos x="466" y="329"/>
              </a:cxn>
              <a:cxn ang="0">
                <a:pos x="496" y="291"/>
              </a:cxn>
              <a:cxn ang="0">
                <a:pos x="432" y="233"/>
              </a:cxn>
              <a:cxn ang="0">
                <a:pos x="390" y="254"/>
              </a:cxn>
              <a:cxn ang="0">
                <a:pos x="318" y="262"/>
              </a:cxn>
              <a:cxn ang="0">
                <a:pos x="22" y="182"/>
              </a:cxn>
              <a:cxn ang="0">
                <a:pos x="0" y="158"/>
              </a:cxn>
            </a:cxnLst>
            <a:rect l="0" t="0" r="r" b="b"/>
            <a:pathLst>
              <a:path w="997" h="707">
                <a:moveTo>
                  <a:pt x="0" y="158"/>
                </a:moveTo>
                <a:lnTo>
                  <a:pt x="8" y="82"/>
                </a:lnTo>
                <a:lnTo>
                  <a:pt x="49" y="25"/>
                </a:lnTo>
                <a:lnTo>
                  <a:pt x="119" y="0"/>
                </a:lnTo>
                <a:lnTo>
                  <a:pt x="176" y="10"/>
                </a:lnTo>
                <a:lnTo>
                  <a:pt x="115" y="82"/>
                </a:lnTo>
                <a:lnTo>
                  <a:pt x="131" y="125"/>
                </a:lnTo>
                <a:lnTo>
                  <a:pt x="176" y="167"/>
                </a:lnTo>
                <a:lnTo>
                  <a:pt x="119" y="183"/>
                </a:lnTo>
                <a:lnTo>
                  <a:pt x="179" y="182"/>
                </a:lnTo>
                <a:lnTo>
                  <a:pt x="186" y="144"/>
                </a:lnTo>
                <a:lnTo>
                  <a:pt x="142" y="122"/>
                </a:lnTo>
                <a:lnTo>
                  <a:pt x="179" y="98"/>
                </a:lnTo>
                <a:lnTo>
                  <a:pt x="151" y="63"/>
                </a:lnTo>
                <a:lnTo>
                  <a:pt x="209" y="72"/>
                </a:lnTo>
                <a:lnTo>
                  <a:pt x="157" y="55"/>
                </a:lnTo>
                <a:lnTo>
                  <a:pt x="217" y="59"/>
                </a:lnTo>
                <a:lnTo>
                  <a:pt x="175" y="34"/>
                </a:lnTo>
                <a:lnTo>
                  <a:pt x="224" y="37"/>
                </a:lnTo>
                <a:lnTo>
                  <a:pt x="255" y="10"/>
                </a:lnTo>
                <a:lnTo>
                  <a:pt x="295" y="8"/>
                </a:lnTo>
                <a:lnTo>
                  <a:pt x="297" y="41"/>
                </a:lnTo>
                <a:lnTo>
                  <a:pt x="327" y="55"/>
                </a:lnTo>
                <a:lnTo>
                  <a:pt x="316" y="125"/>
                </a:lnTo>
                <a:lnTo>
                  <a:pt x="355" y="92"/>
                </a:lnTo>
                <a:lnTo>
                  <a:pt x="378" y="106"/>
                </a:lnTo>
                <a:lnTo>
                  <a:pt x="432" y="73"/>
                </a:lnTo>
                <a:lnTo>
                  <a:pt x="515" y="92"/>
                </a:lnTo>
                <a:lnTo>
                  <a:pt x="549" y="125"/>
                </a:lnTo>
                <a:lnTo>
                  <a:pt x="525" y="144"/>
                </a:lnTo>
                <a:lnTo>
                  <a:pt x="574" y="136"/>
                </a:lnTo>
                <a:lnTo>
                  <a:pt x="558" y="156"/>
                </a:lnTo>
                <a:lnTo>
                  <a:pt x="587" y="167"/>
                </a:lnTo>
                <a:lnTo>
                  <a:pt x="611" y="142"/>
                </a:lnTo>
                <a:lnTo>
                  <a:pt x="648" y="155"/>
                </a:lnTo>
                <a:lnTo>
                  <a:pt x="658" y="176"/>
                </a:lnTo>
                <a:lnTo>
                  <a:pt x="626" y="182"/>
                </a:lnTo>
                <a:lnTo>
                  <a:pt x="675" y="182"/>
                </a:lnTo>
                <a:lnTo>
                  <a:pt x="668" y="209"/>
                </a:lnTo>
                <a:lnTo>
                  <a:pt x="702" y="194"/>
                </a:lnTo>
                <a:lnTo>
                  <a:pt x="680" y="217"/>
                </a:lnTo>
                <a:lnTo>
                  <a:pt x="751" y="211"/>
                </a:lnTo>
                <a:lnTo>
                  <a:pt x="712" y="235"/>
                </a:lnTo>
                <a:lnTo>
                  <a:pt x="745" y="235"/>
                </a:lnTo>
                <a:lnTo>
                  <a:pt x="732" y="252"/>
                </a:lnTo>
                <a:lnTo>
                  <a:pt x="763" y="229"/>
                </a:lnTo>
                <a:lnTo>
                  <a:pt x="795" y="253"/>
                </a:lnTo>
                <a:lnTo>
                  <a:pt x="738" y="274"/>
                </a:lnTo>
                <a:lnTo>
                  <a:pt x="821" y="291"/>
                </a:lnTo>
                <a:lnTo>
                  <a:pt x="749" y="296"/>
                </a:lnTo>
                <a:lnTo>
                  <a:pt x="777" y="308"/>
                </a:lnTo>
                <a:lnTo>
                  <a:pt x="755" y="330"/>
                </a:lnTo>
                <a:lnTo>
                  <a:pt x="838" y="372"/>
                </a:lnTo>
                <a:lnTo>
                  <a:pt x="878" y="364"/>
                </a:lnTo>
                <a:lnTo>
                  <a:pt x="898" y="414"/>
                </a:lnTo>
                <a:lnTo>
                  <a:pt x="940" y="411"/>
                </a:lnTo>
                <a:lnTo>
                  <a:pt x="933" y="432"/>
                </a:lnTo>
                <a:lnTo>
                  <a:pt x="997" y="444"/>
                </a:lnTo>
                <a:lnTo>
                  <a:pt x="988" y="471"/>
                </a:lnTo>
                <a:lnTo>
                  <a:pt x="958" y="466"/>
                </a:lnTo>
                <a:lnTo>
                  <a:pt x="971" y="483"/>
                </a:lnTo>
                <a:lnTo>
                  <a:pt x="955" y="507"/>
                </a:lnTo>
                <a:lnTo>
                  <a:pt x="926" y="496"/>
                </a:lnTo>
                <a:lnTo>
                  <a:pt x="921" y="546"/>
                </a:lnTo>
                <a:lnTo>
                  <a:pt x="807" y="454"/>
                </a:lnTo>
                <a:lnTo>
                  <a:pt x="765" y="463"/>
                </a:lnTo>
                <a:lnTo>
                  <a:pt x="795" y="484"/>
                </a:lnTo>
                <a:lnTo>
                  <a:pt x="772" y="507"/>
                </a:lnTo>
                <a:lnTo>
                  <a:pt x="790" y="506"/>
                </a:lnTo>
                <a:lnTo>
                  <a:pt x="815" y="551"/>
                </a:lnTo>
                <a:lnTo>
                  <a:pt x="870" y="562"/>
                </a:lnTo>
                <a:lnTo>
                  <a:pt x="865" y="588"/>
                </a:lnTo>
                <a:lnTo>
                  <a:pt x="896" y="610"/>
                </a:lnTo>
                <a:lnTo>
                  <a:pt x="880" y="672"/>
                </a:lnTo>
                <a:lnTo>
                  <a:pt x="738" y="609"/>
                </a:lnTo>
                <a:lnTo>
                  <a:pt x="832" y="707"/>
                </a:lnTo>
                <a:lnTo>
                  <a:pt x="653" y="652"/>
                </a:lnTo>
                <a:lnTo>
                  <a:pt x="628" y="619"/>
                </a:lnTo>
                <a:lnTo>
                  <a:pt x="652" y="616"/>
                </a:lnTo>
                <a:lnTo>
                  <a:pt x="595" y="597"/>
                </a:lnTo>
                <a:lnTo>
                  <a:pt x="578" y="559"/>
                </a:lnTo>
                <a:lnTo>
                  <a:pt x="533" y="546"/>
                </a:lnTo>
                <a:lnTo>
                  <a:pt x="531" y="572"/>
                </a:lnTo>
                <a:lnTo>
                  <a:pt x="504" y="559"/>
                </a:lnTo>
                <a:lnTo>
                  <a:pt x="465" y="583"/>
                </a:lnTo>
                <a:lnTo>
                  <a:pt x="415" y="559"/>
                </a:lnTo>
                <a:lnTo>
                  <a:pt x="442" y="516"/>
                </a:lnTo>
                <a:lnTo>
                  <a:pt x="574" y="516"/>
                </a:lnTo>
                <a:lnTo>
                  <a:pt x="542" y="473"/>
                </a:lnTo>
                <a:lnTo>
                  <a:pt x="617" y="411"/>
                </a:lnTo>
                <a:lnTo>
                  <a:pt x="564" y="328"/>
                </a:lnTo>
                <a:lnTo>
                  <a:pt x="527" y="320"/>
                </a:lnTo>
                <a:lnTo>
                  <a:pt x="548" y="306"/>
                </a:lnTo>
                <a:lnTo>
                  <a:pt x="466" y="329"/>
                </a:lnTo>
                <a:lnTo>
                  <a:pt x="465" y="304"/>
                </a:lnTo>
                <a:lnTo>
                  <a:pt x="496" y="291"/>
                </a:lnTo>
                <a:lnTo>
                  <a:pt x="433" y="259"/>
                </a:lnTo>
                <a:lnTo>
                  <a:pt x="432" y="233"/>
                </a:lnTo>
                <a:lnTo>
                  <a:pt x="377" y="220"/>
                </a:lnTo>
                <a:lnTo>
                  <a:pt x="390" y="254"/>
                </a:lnTo>
                <a:lnTo>
                  <a:pt x="294" y="242"/>
                </a:lnTo>
                <a:lnTo>
                  <a:pt x="318" y="262"/>
                </a:lnTo>
                <a:lnTo>
                  <a:pt x="66" y="227"/>
                </a:lnTo>
                <a:lnTo>
                  <a:pt x="22" y="182"/>
                </a:lnTo>
                <a:lnTo>
                  <a:pt x="101" y="184"/>
                </a:lnTo>
                <a:lnTo>
                  <a:pt x="0" y="15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23" name="Freeform 122"/>
          <p:cNvSpPr>
            <a:spLocks noChangeAspect="1"/>
          </p:cNvSpPr>
          <p:nvPr/>
        </p:nvSpPr>
        <p:spPr bwMode="gray">
          <a:xfrm>
            <a:off x="3407817" y="2602052"/>
            <a:ext cx="172565" cy="122280"/>
          </a:xfrm>
          <a:custGeom>
            <a:avLst/>
            <a:gdLst/>
            <a:ahLst/>
            <a:cxnLst>
              <a:cxn ang="0">
                <a:pos x="0" y="126"/>
              </a:cxn>
              <a:cxn ang="0">
                <a:pos x="34" y="95"/>
              </a:cxn>
              <a:cxn ang="0">
                <a:pos x="56" y="0"/>
              </a:cxn>
              <a:cxn ang="0">
                <a:pos x="75" y="34"/>
              </a:cxn>
              <a:cxn ang="0">
                <a:pos x="128" y="43"/>
              </a:cxn>
              <a:cxn ang="0">
                <a:pos x="231" y="112"/>
              </a:cxn>
              <a:cxn ang="0">
                <a:pos x="217" y="137"/>
              </a:cxn>
              <a:cxn ang="0">
                <a:pos x="124" y="104"/>
              </a:cxn>
              <a:cxn ang="0">
                <a:pos x="67" y="154"/>
              </a:cxn>
              <a:cxn ang="0">
                <a:pos x="52" y="112"/>
              </a:cxn>
              <a:cxn ang="0">
                <a:pos x="0" y="126"/>
              </a:cxn>
            </a:cxnLst>
            <a:rect l="0" t="0" r="r" b="b"/>
            <a:pathLst>
              <a:path w="231" h="154">
                <a:moveTo>
                  <a:pt x="0" y="126"/>
                </a:moveTo>
                <a:lnTo>
                  <a:pt x="34" y="95"/>
                </a:lnTo>
                <a:lnTo>
                  <a:pt x="56" y="0"/>
                </a:lnTo>
                <a:lnTo>
                  <a:pt x="75" y="34"/>
                </a:lnTo>
                <a:lnTo>
                  <a:pt x="128" y="43"/>
                </a:lnTo>
                <a:lnTo>
                  <a:pt x="231" y="112"/>
                </a:lnTo>
                <a:lnTo>
                  <a:pt x="217" y="137"/>
                </a:lnTo>
                <a:lnTo>
                  <a:pt x="124" y="104"/>
                </a:lnTo>
                <a:lnTo>
                  <a:pt x="67" y="154"/>
                </a:lnTo>
                <a:lnTo>
                  <a:pt x="52" y="112"/>
                </a:lnTo>
                <a:lnTo>
                  <a:pt x="0" y="12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24" name="Freeform 123"/>
          <p:cNvSpPr>
            <a:spLocks noChangeAspect="1"/>
          </p:cNvSpPr>
          <p:nvPr/>
        </p:nvSpPr>
        <p:spPr bwMode="gray">
          <a:xfrm>
            <a:off x="4141218" y="3178999"/>
            <a:ext cx="174527" cy="175668"/>
          </a:xfrm>
          <a:custGeom>
            <a:avLst/>
            <a:gdLst/>
            <a:ahLst/>
            <a:cxnLst>
              <a:cxn ang="0">
                <a:pos x="0" y="174"/>
              </a:cxn>
              <a:cxn ang="0">
                <a:pos x="95" y="11"/>
              </a:cxn>
              <a:cxn ang="0">
                <a:pos x="133" y="0"/>
              </a:cxn>
              <a:cxn ang="0">
                <a:pos x="89" y="87"/>
              </a:cxn>
              <a:cxn ang="0">
                <a:pos x="119" y="68"/>
              </a:cxn>
              <a:cxn ang="0">
                <a:pos x="138" y="104"/>
              </a:cxn>
              <a:cxn ang="0">
                <a:pos x="201" y="104"/>
              </a:cxn>
              <a:cxn ang="0">
                <a:pos x="187" y="139"/>
              </a:cxn>
              <a:cxn ang="0">
                <a:pos x="219" y="136"/>
              </a:cxn>
              <a:cxn ang="0">
                <a:pos x="197" y="172"/>
              </a:cxn>
              <a:cxn ang="0">
                <a:pos x="226" y="151"/>
              </a:cxn>
              <a:cxn ang="0">
                <a:pos x="234" y="185"/>
              </a:cxn>
              <a:cxn ang="0">
                <a:pos x="203" y="223"/>
              </a:cxn>
              <a:cxn ang="0">
                <a:pos x="201" y="196"/>
              </a:cxn>
              <a:cxn ang="0">
                <a:pos x="186" y="210"/>
              </a:cxn>
              <a:cxn ang="0">
                <a:pos x="186" y="167"/>
              </a:cxn>
              <a:cxn ang="0">
                <a:pos x="128" y="210"/>
              </a:cxn>
              <a:cxn ang="0">
                <a:pos x="161" y="181"/>
              </a:cxn>
              <a:cxn ang="0">
                <a:pos x="115" y="185"/>
              </a:cxn>
              <a:cxn ang="0">
                <a:pos x="126" y="168"/>
              </a:cxn>
              <a:cxn ang="0">
                <a:pos x="0" y="174"/>
              </a:cxn>
            </a:cxnLst>
            <a:rect l="0" t="0" r="r" b="b"/>
            <a:pathLst>
              <a:path w="234" h="223">
                <a:moveTo>
                  <a:pt x="0" y="174"/>
                </a:moveTo>
                <a:lnTo>
                  <a:pt x="95" y="11"/>
                </a:lnTo>
                <a:lnTo>
                  <a:pt x="133" y="0"/>
                </a:lnTo>
                <a:lnTo>
                  <a:pt x="89" y="87"/>
                </a:lnTo>
                <a:lnTo>
                  <a:pt x="119" y="68"/>
                </a:lnTo>
                <a:lnTo>
                  <a:pt x="138" y="104"/>
                </a:lnTo>
                <a:lnTo>
                  <a:pt x="201" y="104"/>
                </a:lnTo>
                <a:lnTo>
                  <a:pt x="187" y="139"/>
                </a:lnTo>
                <a:lnTo>
                  <a:pt x="219" y="136"/>
                </a:lnTo>
                <a:lnTo>
                  <a:pt x="197" y="172"/>
                </a:lnTo>
                <a:lnTo>
                  <a:pt x="226" y="151"/>
                </a:lnTo>
                <a:lnTo>
                  <a:pt x="234" y="185"/>
                </a:lnTo>
                <a:lnTo>
                  <a:pt x="203" y="223"/>
                </a:lnTo>
                <a:lnTo>
                  <a:pt x="201" y="196"/>
                </a:lnTo>
                <a:lnTo>
                  <a:pt x="186" y="210"/>
                </a:lnTo>
                <a:lnTo>
                  <a:pt x="186" y="167"/>
                </a:lnTo>
                <a:lnTo>
                  <a:pt x="128" y="210"/>
                </a:lnTo>
                <a:lnTo>
                  <a:pt x="161" y="181"/>
                </a:lnTo>
                <a:lnTo>
                  <a:pt x="115" y="185"/>
                </a:lnTo>
                <a:lnTo>
                  <a:pt x="126" y="168"/>
                </a:lnTo>
                <a:lnTo>
                  <a:pt x="0" y="17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25" name="Freeform 124"/>
          <p:cNvSpPr>
            <a:spLocks noChangeAspect="1"/>
          </p:cNvSpPr>
          <p:nvPr/>
        </p:nvSpPr>
        <p:spPr bwMode="gray">
          <a:xfrm>
            <a:off x="7794504" y="4467234"/>
            <a:ext cx="47063" cy="103335"/>
          </a:xfrm>
          <a:custGeom>
            <a:avLst/>
            <a:gdLst/>
            <a:ahLst/>
            <a:cxnLst>
              <a:cxn ang="0">
                <a:pos x="0" y="0"/>
              </a:cxn>
              <a:cxn ang="0">
                <a:pos x="11" y="130"/>
              </a:cxn>
              <a:cxn ang="0">
                <a:pos x="65" y="107"/>
              </a:cxn>
              <a:cxn ang="0">
                <a:pos x="39" y="31"/>
              </a:cxn>
              <a:cxn ang="0">
                <a:pos x="0" y="0"/>
              </a:cxn>
            </a:cxnLst>
            <a:rect l="0" t="0" r="r" b="b"/>
            <a:pathLst>
              <a:path w="65" h="130">
                <a:moveTo>
                  <a:pt x="0" y="0"/>
                </a:moveTo>
                <a:lnTo>
                  <a:pt x="11" y="130"/>
                </a:lnTo>
                <a:lnTo>
                  <a:pt x="65" y="107"/>
                </a:lnTo>
                <a:lnTo>
                  <a:pt x="39" y="31"/>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26" name="Freeform 125"/>
          <p:cNvSpPr>
            <a:spLocks noChangeAspect="1"/>
          </p:cNvSpPr>
          <p:nvPr/>
        </p:nvSpPr>
        <p:spPr bwMode="gray">
          <a:xfrm>
            <a:off x="3715691" y="5221573"/>
            <a:ext cx="215707" cy="1155622"/>
          </a:xfrm>
          <a:custGeom>
            <a:avLst/>
            <a:gdLst/>
            <a:ahLst/>
            <a:cxnLst>
              <a:cxn ang="0">
                <a:pos x="0" y="1133"/>
              </a:cxn>
              <a:cxn ang="0">
                <a:pos x="22" y="1094"/>
              </a:cxn>
              <a:cxn ang="0">
                <a:pos x="62" y="1122"/>
              </a:cxn>
              <a:cxn ang="0">
                <a:pos x="98" y="1047"/>
              </a:cxn>
              <a:cxn ang="0">
                <a:pos x="85" y="1019"/>
              </a:cxn>
              <a:cxn ang="0">
                <a:pos x="114" y="916"/>
              </a:cxn>
              <a:cxn ang="0">
                <a:pos x="60" y="908"/>
              </a:cxn>
              <a:cxn ang="0">
                <a:pos x="69" y="742"/>
              </a:cxn>
              <a:cxn ang="0">
                <a:pos x="140" y="569"/>
              </a:cxn>
              <a:cxn ang="0">
                <a:pos x="139" y="424"/>
              </a:cxn>
              <a:cxn ang="0">
                <a:pos x="189" y="147"/>
              </a:cxn>
              <a:cxn ang="0">
                <a:pos x="173" y="25"/>
              </a:cxn>
              <a:cxn ang="0">
                <a:pos x="207" y="0"/>
              </a:cxn>
              <a:cxn ang="0">
                <a:pos x="243" y="63"/>
              </a:cxn>
              <a:cxn ang="0">
                <a:pos x="265" y="191"/>
              </a:cxn>
              <a:cxn ang="0">
                <a:pos x="289" y="195"/>
              </a:cxn>
              <a:cxn ang="0">
                <a:pos x="285" y="238"/>
              </a:cxn>
              <a:cxn ang="0">
                <a:pos x="247" y="256"/>
              </a:cxn>
              <a:cxn ang="0">
                <a:pos x="249" y="340"/>
              </a:cxn>
              <a:cxn ang="0">
                <a:pos x="207" y="387"/>
              </a:cxn>
              <a:cxn ang="0">
                <a:pos x="174" y="506"/>
              </a:cxn>
              <a:cxn ang="0">
                <a:pos x="199" y="619"/>
              </a:cxn>
              <a:cxn ang="0">
                <a:pos x="154" y="715"/>
              </a:cxn>
              <a:cxn ang="0">
                <a:pos x="123" y="953"/>
              </a:cxn>
              <a:cxn ang="0">
                <a:pos x="147" y="1040"/>
              </a:cxn>
              <a:cxn ang="0">
                <a:pos x="124" y="1047"/>
              </a:cxn>
              <a:cxn ang="0">
                <a:pos x="136" y="1124"/>
              </a:cxn>
              <a:cxn ang="0">
                <a:pos x="77" y="1286"/>
              </a:cxn>
              <a:cxn ang="0">
                <a:pos x="82" y="1313"/>
              </a:cxn>
              <a:cxn ang="0">
                <a:pos x="112" y="1303"/>
              </a:cxn>
              <a:cxn ang="0">
                <a:pos x="123" y="1365"/>
              </a:cxn>
              <a:cxn ang="0">
                <a:pos x="249" y="1378"/>
              </a:cxn>
              <a:cxn ang="0">
                <a:pos x="164" y="1402"/>
              </a:cxn>
              <a:cxn ang="0">
                <a:pos x="154" y="1450"/>
              </a:cxn>
              <a:cxn ang="0">
                <a:pos x="118" y="1436"/>
              </a:cxn>
              <a:cxn ang="0">
                <a:pos x="158" y="1407"/>
              </a:cxn>
              <a:cxn ang="0">
                <a:pos x="97" y="1393"/>
              </a:cxn>
              <a:cxn ang="0">
                <a:pos x="90" y="1342"/>
              </a:cxn>
              <a:cxn ang="0">
                <a:pos x="74" y="1367"/>
              </a:cxn>
              <a:cxn ang="0">
                <a:pos x="52" y="1319"/>
              </a:cxn>
              <a:cxn ang="0">
                <a:pos x="63" y="1305"/>
              </a:cxn>
              <a:cxn ang="0">
                <a:pos x="36" y="1283"/>
              </a:cxn>
              <a:cxn ang="0">
                <a:pos x="60" y="1256"/>
              </a:cxn>
              <a:cxn ang="0">
                <a:pos x="37" y="1187"/>
              </a:cxn>
              <a:cxn ang="0">
                <a:pos x="81" y="1194"/>
              </a:cxn>
              <a:cxn ang="0">
                <a:pos x="37" y="1157"/>
              </a:cxn>
              <a:cxn ang="0">
                <a:pos x="47" y="1130"/>
              </a:cxn>
              <a:cxn ang="0">
                <a:pos x="0" y="1133"/>
              </a:cxn>
            </a:cxnLst>
            <a:rect l="0" t="0" r="r" b="b"/>
            <a:pathLst>
              <a:path w="289" h="1450">
                <a:moveTo>
                  <a:pt x="0" y="1133"/>
                </a:moveTo>
                <a:lnTo>
                  <a:pt x="22" y="1094"/>
                </a:lnTo>
                <a:lnTo>
                  <a:pt x="62" y="1122"/>
                </a:lnTo>
                <a:lnTo>
                  <a:pt x="98" y="1047"/>
                </a:lnTo>
                <a:lnTo>
                  <a:pt x="85" y="1019"/>
                </a:lnTo>
                <a:lnTo>
                  <a:pt x="114" y="916"/>
                </a:lnTo>
                <a:lnTo>
                  <a:pt x="60" y="908"/>
                </a:lnTo>
                <a:lnTo>
                  <a:pt x="69" y="742"/>
                </a:lnTo>
                <a:lnTo>
                  <a:pt x="140" y="569"/>
                </a:lnTo>
                <a:lnTo>
                  <a:pt x="139" y="424"/>
                </a:lnTo>
                <a:lnTo>
                  <a:pt x="189" y="147"/>
                </a:lnTo>
                <a:lnTo>
                  <a:pt x="173" y="25"/>
                </a:lnTo>
                <a:lnTo>
                  <a:pt x="207" y="0"/>
                </a:lnTo>
                <a:lnTo>
                  <a:pt x="243" y="63"/>
                </a:lnTo>
                <a:lnTo>
                  <a:pt x="265" y="191"/>
                </a:lnTo>
                <a:lnTo>
                  <a:pt x="289" y="195"/>
                </a:lnTo>
                <a:lnTo>
                  <a:pt x="285" y="238"/>
                </a:lnTo>
                <a:lnTo>
                  <a:pt x="247" y="256"/>
                </a:lnTo>
                <a:lnTo>
                  <a:pt x="249" y="340"/>
                </a:lnTo>
                <a:lnTo>
                  <a:pt x="207" y="387"/>
                </a:lnTo>
                <a:lnTo>
                  <a:pt x="174" y="506"/>
                </a:lnTo>
                <a:lnTo>
                  <a:pt x="199" y="619"/>
                </a:lnTo>
                <a:lnTo>
                  <a:pt x="154" y="715"/>
                </a:lnTo>
                <a:lnTo>
                  <a:pt x="123" y="953"/>
                </a:lnTo>
                <a:lnTo>
                  <a:pt x="147" y="1040"/>
                </a:lnTo>
                <a:lnTo>
                  <a:pt x="124" y="1047"/>
                </a:lnTo>
                <a:lnTo>
                  <a:pt x="136" y="1124"/>
                </a:lnTo>
                <a:lnTo>
                  <a:pt x="77" y="1286"/>
                </a:lnTo>
                <a:lnTo>
                  <a:pt x="82" y="1313"/>
                </a:lnTo>
                <a:lnTo>
                  <a:pt x="112" y="1303"/>
                </a:lnTo>
                <a:lnTo>
                  <a:pt x="123" y="1365"/>
                </a:lnTo>
                <a:lnTo>
                  <a:pt x="249" y="1378"/>
                </a:lnTo>
                <a:lnTo>
                  <a:pt x="164" y="1402"/>
                </a:lnTo>
                <a:lnTo>
                  <a:pt x="154" y="1450"/>
                </a:lnTo>
                <a:lnTo>
                  <a:pt x="118" y="1436"/>
                </a:lnTo>
                <a:lnTo>
                  <a:pt x="158" y="1407"/>
                </a:lnTo>
                <a:lnTo>
                  <a:pt x="97" y="1393"/>
                </a:lnTo>
                <a:lnTo>
                  <a:pt x="90" y="1342"/>
                </a:lnTo>
                <a:lnTo>
                  <a:pt x="74" y="1367"/>
                </a:lnTo>
                <a:lnTo>
                  <a:pt x="52" y="1319"/>
                </a:lnTo>
                <a:lnTo>
                  <a:pt x="63" y="1305"/>
                </a:lnTo>
                <a:lnTo>
                  <a:pt x="36" y="1283"/>
                </a:lnTo>
                <a:lnTo>
                  <a:pt x="60" y="1256"/>
                </a:lnTo>
                <a:lnTo>
                  <a:pt x="37" y="1187"/>
                </a:lnTo>
                <a:lnTo>
                  <a:pt x="81" y="1194"/>
                </a:lnTo>
                <a:lnTo>
                  <a:pt x="37" y="1157"/>
                </a:lnTo>
                <a:lnTo>
                  <a:pt x="47" y="1130"/>
                </a:lnTo>
                <a:lnTo>
                  <a:pt x="0" y="113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27" name="Freeform 126"/>
          <p:cNvSpPr>
            <a:spLocks noChangeAspect="1"/>
          </p:cNvSpPr>
          <p:nvPr/>
        </p:nvSpPr>
        <p:spPr bwMode="gray">
          <a:xfrm>
            <a:off x="3727455" y="6191192"/>
            <a:ext cx="15688" cy="44778"/>
          </a:xfrm>
          <a:custGeom>
            <a:avLst/>
            <a:gdLst/>
            <a:ahLst/>
            <a:cxnLst>
              <a:cxn ang="0">
                <a:pos x="0" y="25"/>
              </a:cxn>
              <a:cxn ang="0">
                <a:pos x="9" y="0"/>
              </a:cxn>
              <a:cxn ang="0">
                <a:pos x="22" y="53"/>
              </a:cxn>
              <a:cxn ang="0">
                <a:pos x="0" y="25"/>
              </a:cxn>
            </a:cxnLst>
            <a:rect l="0" t="0" r="r" b="b"/>
            <a:pathLst>
              <a:path w="22" h="53">
                <a:moveTo>
                  <a:pt x="0" y="25"/>
                </a:moveTo>
                <a:lnTo>
                  <a:pt x="9" y="0"/>
                </a:lnTo>
                <a:lnTo>
                  <a:pt x="22" y="53"/>
                </a:lnTo>
                <a:lnTo>
                  <a:pt x="0" y="2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28" name="Freeform 127"/>
          <p:cNvSpPr>
            <a:spLocks noChangeAspect="1"/>
          </p:cNvSpPr>
          <p:nvPr/>
        </p:nvSpPr>
        <p:spPr bwMode="gray">
          <a:xfrm>
            <a:off x="3743142" y="5955245"/>
            <a:ext cx="19610" cy="53390"/>
          </a:xfrm>
          <a:custGeom>
            <a:avLst/>
            <a:gdLst/>
            <a:ahLst/>
            <a:cxnLst>
              <a:cxn ang="0">
                <a:pos x="0" y="59"/>
              </a:cxn>
              <a:cxn ang="0">
                <a:pos x="20" y="0"/>
              </a:cxn>
              <a:cxn ang="0">
                <a:pos x="20" y="70"/>
              </a:cxn>
              <a:cxn ang="0">
                <a:pos x="0" y="59"/>
              </a:cxn>
            </a:cxnLst>
            <a:rect l="0" t="0" r="r" b="b"/>
            <a:pathLst>
              <a:path w="20" h="70">
                <a:moveTo>
                  <a:pt x="0" y="59"/>
                </a:moveTo>
                <a:lnTo>
                  <a:pt x="20" y="0"/>
                </a:lnTo>
                <a:lnTo>
                  <a:pt x="20" y="70"/>
                </a:lnTo>
                <a:lnTo>
                  <a:pt x="0" y="5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29" name="Freeform 128"/>
          <p:cNvSpPr>
            <a:spLocks noChangeAspect="1"/>
          </p:cNvSpPr>
          <p:nvPr/>
        </p:nvSpPr>
        <p:spPr bwMode="gray">
          <a:xfrm>
            <a:off x="3762754" y="6365139"/>
            <a:ext cx="37259" cy="22390"/>
          </a:xfrm>
          <a:custGeom>
            <a:avLst/>
            <a:gdLst/>
            <a:ahLst/>
            <a:cxnLst>
              <a:cxn ang="0">
                <a:pos x="0" y="0"/>
              </a:cxn>
              <a:cxn ang="0">
                <a:pos x="44" y="7"/>
              </a:cxn>
              <a:cxn ang="0">
                <a:pos x="46" y="29"/>
              </a:cxn>
              <a:cxn ang="0">
                <a:pos x="0" y="0"/>
              </a:cxn>
            </a:cxnLst>
            <a:rect l="0" t="0" r="r" b="b"/>
            <a:pathLst>
              <a:path w="46" h="29">
                <a:moveTo>
                  <a:pt x="0" y="0"/>
                </a:moveTo>
                <a:lnTo>
                  <a:pt x="44" y="7"/>
                </a:lnTo>
                <a:lnTo>
                  <a:pt x="46" y="29"/>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30" name="Freeform 129"/>
          <p:cNvSpPr>
            <a:spLocks noChangeAspect="1"/>
          </p:cNvSpPr>
          <p:nvPr/>
        </p:nvSpPr>
        <p:spPr bwMode="gray">
          <a:xfrm>
            <a:off x="3768635" y="6308306"/>
            <a:ext cx="56869" cy="56834"/>
          </a:xfrm>
          <a:custGeom>
            <a:avLst/>
            <a:gdLst/>
            <a:ahLst/>
            <a:cxnLst>
              <a:cxn ang="0">
                <a:pos x="0" y="11"/>
              </a:cxn>
              <a:cxn ang="0">
                <a:pos x="18" y="0"/>
              </a:cxn>
              <a:cxn ang="0">
                <a:pos x="17" y="31"/>
              </a:cxn>
              <a:cxn ang="0">
                <a:pos x="68" y="43"/>
              </a:cxn>
              <a:cxn ang="0">
                <a:pos x="35" y="69"/>
              </a:cxn>
              <a:cxn ang="0">
                <a:pos x="0" y="11"/>
              </a:cxn>
            </a:cxnLst>
            <a:rect l="0" t="0" r="r" b="b"/>
            <a:pathLst>
              <a:path w="68" h="69">
                <a:moveTo>
                  <a:pt x="0" y="11"/>
                </a:moveTo>
                <a:lnTo>
                  <a:pt x="18" y="0"/>
                </a:lnTo>
                <a:lnTo>
                  <a:pt x="17" y="31"/>
                </a:lnTo>
                <a:lnTo>
                  <a:pt x="68" y="43"/>
                </a:lnTo>
                <a:lnTo>
                  <a:pt x="35" y="69"/>
                </a:lnTo>
                <a:lnTo>
                  <a:pt x="0" y="1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31" name="Freeform 130"/>
          <p:cNvSpPr>
            <a:spLocks noChangeAspect="1"/>
          </p:cNvSpPr>
          <p:nvPr/>
        </p:nvSpPr>
        <p:spPr bwMode="gray">
          <a:xfrm>
            <a:off x="3807856" y="6382363"/>
            <a:ext cx="29415" cy="13778"/>
          </a:xfrm>
          <a:custGeom>
            <a:avLst/>
            <a:gdLst/>
            <a:ahLst/>
            <a:cxnLst>
              <a:cxn ang="0">
                <a:pos x="0" y="13"/>
              </a:cxn>
              <a:cxn ang="0">
                <a:pos x="9" y="0"/>
              </a:cxn>
              <a:cxn ang="0">
                <a:pos x="38" y="17"/>
              </a:cxn>
              <a:cxn ang="0">
                <a:pos x="0" y="13"/>
              </a:cxn>
            </a:cxnLst>
            <a:rect l="0" t="0" r="r" b="b"/>
            <a:pathLst>
              <a:path w="38" h="17">
                <a:moveTo>
                  <a:pt x="0" y="13"/>
                </a:moveTo>
                <a:lnTo>
                  <a:pt x="9" y="0"/>
                </a:lnTo>
                <a:lnTo>
                  <a:pt x="38" y="17"/>
                </a:lnTo>
                <a:lnTo>
                  <a:pt x="0" y="1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32" name="Freeform 131"/>
          <p:cNvSpPr>
            <a:spLocks noChangeAspect="1"/>
          </p:cNvSpPr>
          <p:nvPr/>
        </p:nvSpPr>
        <p:spPr bwMode="gray">
          <a:xfrm>
            <a:off x="3827464" y="6334140"/>
            <a:ext cx="68635" cy="86111"/>
          </a:xfrm>
          <a:custGeom>
            <a:avLst/>
            <a:gdLst/>
            <a:ahLst/>
            <a:cxnLst>
              <a:cxn ang="0">
                <a:pos x="0" y="87"/>
              </a:cxn>
              <a:cxn ang="0">
                <a:pos x="16" y="71"/>
              </a:cxn>
              <a:cxn ang="0">
                <a:pos x="67" y="81"/>
              </a:cxn>
              <a:cxn ang="0">
                <a:pos x="44" y="54"/>
              </a:cxn>
              <a:cxn ang="0">
                <a:pos x="69" y="37"/>
              </a:cxn>
              <a:cxn ang="0">
                <a:pos x="32" y="32"/>
              </a:cxn>
              <a:cxn ang="0">
                <a:pos x="32" y="6"/>
              </a:cxn>
              <a:cxn ang="0">
                <a:pos x="93" y="0"/>
              </a:cxn>
              <a:cxn ang="0">
                <a:pos x="96" y="106"/>
              </a:cxn>
              <a:cxn ang="0">
                <a:pos x="0" y="87"/>
              </a:cxn>
            </a:cxnLst>
            <a:rect l="0" t="0" r="r" b="b"/>
            <a:pathLst>
              <a:path w="96" h="106">
                <a:moveTo>
                  <a:pt x="0" y="87"/>
                </a:moveTo>
                <a:lnTo>
                  <a:pt x="16" y="71"/>
                </a:lnTo>
                <a:lnTo>
                  <a:pt x="67" y="81"/>
                </a:lnTo>
                <a:lnTo>
                  <a:pt x="44" y="54"/>
                </a:lnTo>
                <a:lnTo>
                  <a:pt x="69" y="37"/>
                </a:lnTo>
                <a:lnTo>
                  <a:pt x="32" y="32"/>
                </a:lnTo>
                <a:lnTo>
                  <a:pt x="32" y="6"/>
                </a:lnTo>
                <a:lnTo>
                  <a:pt x="93" y="0"/>
                </a:lnTo>
                <a:lnTo>
                  <a:pt x="96" y="106"/>
                </a:lnTo>
                <a:lnTo>
                  <a:pt x="0" y="8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33" name="Freeform 132"/>
          <p:cNvSpPr>
            <a:spLocks noChangeAspect="1"/>
          </p:cNvSpPr>
          <p:nvPr/>
        </p:nvSpPr>
        <p:spPr bwMode="gray">
          <a:xfrm>
            <a:off x="3860801" y="6432306"/>
            <a:ext cx="54907" cy="17222"/>
          </a:xfrm>
          <a:custGeom>
            <a:avLst/>
            <a:gdLst/>
            <a:ahLst/>
            <a:cxnLst>
              <a:cxn ang="0">
                <a:pos x="0" y="0"/>
              </a:cxn>
              <a:cxn ang="0">
                <a:pos x="64" y="5"/>
              </a:cxn>
              <a:cxn ang="0">
                <a:pos x="71" y="21"/>
              </a:cxn>
              <a:cxn ang="0">
                <a:pos x="0" y="0"/>
              </a:cxn>
            </a:cxnLst>
            <a:rect l="0" t="0" r="r" b="b"/>
            <a:pathLst>
              <a:path w="71" h="21">
                <a:moveTo>
                  <a:pt x="0" y="0"/>
                </a:moveTo>
                <a:lnTo>
                  <a:pt x="64" y="5"/>
                </a:lnTo>
                <a:lnTo>
                  <a:pt x="71" y="21"/>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34" name="Freeform 133"/>
          <p:cNvSpPr>
            <a:spLocks noChangeAspect="1"/>
          </p:cNvSpPr>
          <p:nvPr/>
        </p:nvSpPr>
        <p:spPr bwMode="gray">
          <a:xfrm>
            <a:off x="3913748" y="6420252"/>
            <a:ext cx="25493" cy="12057"/>
          </a:xfrm>
          <a:custGeom>
            <a:avLst/>
            <a:gdLst/>
            <a:ahLst/>
            <a:cxnLst>
              <a:cxn ang="0">
                <a:pos x="0" y="15"/>
              </a:cxn>
              <a:cxn ang="0">
                <a:pos x="7" y="0"/>
              </a:cxn>
              <a:cxn ang="0">
                <a:pos x="33" y="15"/>
              </a:cxn>
              <a:cxn ang="0">
                <a:pos x="0" y="15"/>
              </a:cxn>
            </a:cxnLst>
            <a:rect l="0" t="0" r="r" b="b"/>
            <a:pathLst>
              <a:path w="33" h="15">
                <a:moveTo>
                  <a:pt x="0" y="15"/>
                </a:moveTo>
                <a:lnTo>
                  <a:pt x="7" y="0"/>
                </a:lnTo>
                <a:lnTo>
                  <a:pt x="33" y="15"/>
                </a:lnTo>
                <a:lnTo>
                  <a:pt x="0" y="1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35" name="Freeform 134"/>
          <p:cNvSpPr>
            <a:spLocks noChangeAspect="1"/>
          </p:cNvSpPr>
          <p:nvPr/>
        </p:nvSpPr>
        <p:spPr bwMode="gray">
          <a:xfrm>
            <a:off x="7629782" y="3104944"/>
            <a:ext cx="1607994" cy="1071232"/>
          </a:xfrm>
          <a:custGeom>
            <a:avLst/>
            <a:gdLst/>
            <a:ahLst/>
            <a:cxnLst>
              <a:cxn ang="0">
                <a:pos x="12" y="585"/>
              </a:cxn>
              <a:cxn ang="0">
                <a:pos x="223" y="503"/>
              </a:cxn>
              <a:cxn ang="0">
                <a:pos x="216" y="387"/>
              </a:cxn>
              <a:cxn ang="0">
                <a:pos x="324" y="285"/>
              </a:cxn>
              <a:cxn ang="0">
                <a:pos x="422" y="235"/>
              </a:cxn>
              <a:cxn ang="0">
                <a:pos x="525" y="253"/>
              </a:cxn>
              <a:cxn ang="0">
                <a:pos x="594" y="369"/>
              </a:cxn>
              <a:cxn ang="0">
                <a:pos x="810" y="475"/>
              </a:cxn>
              <a:cxn ang="0">
                <a:pos x="1080" y="524"/>
              </a:cxn>
              <a:cxn ang="0">
                <a:pos x="1328" y="437"/>
              </a:cxn>
              <a:cxn ang="0">
                <a:pos x="1380" y="389"/>
              </a:cxn>
              <a:cxn ang="0">
                <a:pos x="1590" y="307"/>
              </a:cxn>
              <a:cxn ang="0">
                <a:pos x="1456" y="264"/>
              </a:cxn>
              <a:cxn ang="0">
                <a:pos x="1478" y="163"/>
              </a:cxn>
              <a:cxn ang="0">
                <a:pos x="1581" y="160"/>
              </a:cxn>
              <a:cxn ang="0">
                <a:pos x="1608" y="41"/>
              </a:cxn>
              <a:cxn ang="0">
                <a:pos x="1804" y="27"/>
              </a:cxn>
              <a:cxn ang="0">
                <a:pos x="1974" y="209"/>
              </a:cxn>
              <a:cxn ang="0">
                <a:pos x="2124" y="229"/>
              </a:cxn>
              <a:cxn ang="0">
                <a:pos x="1988" y="395"/>
              </a:cxn>
              <a:cxn ang="0">
                <a:pos x="1974" y="482"/>
              </a:cxn>
              <a:cxn ang="0">
                <a:pos x="1894" y="510"/>
              </a:cxn>
              <a:cxn ang="0">
                <a:pos x="1846" y="526"/>
              </a:cxn>
              <a:cxn ang="0">
                <a:pos x="1656" y="642"/>
              </a:cxn>
              <a:cxn ang="0">
                <a:pos x="1672" y="549"/>
              </a:cxn>
              <a:cxn ang="0">
                <a:pos x="1527" y="650"/>
              </a:cxn>
              <a:cxn ang="0">
                <a:pos x="1635" y="679"/>
              </a:cxn>
              <a:cxn ang="0">
                <a:pos x="1614" y="738"/>
              </a:cxn>
              <a:cxn ang="0">
                <a:pos x="1674" y="915"/>
              </a:cxn>
              <a:cxn ang="0">
                <a:pos x="1674" y="945"/>
              </a:cxn>
              <a:cxn ang="0">
                <a:pos x="1676" y="983"/>
              </a:cxn>
              <a:cxn ang="0">
                <a:pos x="1481" y="1235"/>
              </a:cxn>
              <a:cxn ang="0">
                <a:pos x="1400" y="1255"/>
              </a:cxn>
              <a:cxn ang="0">
                <a:pos x="1361" y="1277"/>
              </a:cxn>
              <a:cxn ang="0">
                <a:pos x="1264" y="1337"/>
              </a:cxn>
              <a:cxn ang="0">
                <a:pos x="1187" y="1290"/>
              </a:cxn>
              <a:cxn ang="0">
                <a:pos x="989" y="1256"/>
              </a:cxn>
              <a:cxn ang="0">
                <a:pos x="971" y="1296"/>
              </a:cxn>
              <a:cxn ang="0">
                <a:pos x="889" y="1268"/>
              </a:cxn>
              <a:cxn ang="0">
                <a:pos x="829" y="1206"/>
              </a:cxn>
              <a:cxn ang="0">
                <a:pos x="866" y="1070"/>
              </a:cxn>
              <a:cxn ang="0">
                <a:pos x="786" y="1035"/>
              </a:cxn>
              <a:cxn ang="0">
                <a:pos x="626" y="1060"/>
              </a:cxn>
              <a:cxn ang="0">
                <a:pos x="527" y="1079"/>
              </a:cxn>
              <a:cxn ang="0">
                <a:pos x="499" y="1059"/>
              </a:cxn>
              <a:cxn ang="0">
                <a:pos x="365" y="1005"/>
              </a:cxn>
              <a:cxn ang="0">
                <a:pos x="183" y="943"/>
              </a:cxn>
              <a:cxn ang="0">
                <a:pos x="204" y="876"/>
              </a:cxn>
              <a:cxn ang="0">
                <a:pos x="230" y="769"/>
              </a:cxn>
              <a:cxn ang="0">
                <a:pos x="138" y="771"/>
              </a:cxn>
              <a:cxn ang="0">
                <a:pos x="35" y="697"/>
              </a:cxn>
              <a:cxn ang="0">
                <a:pos x="0" y="636"/>
              </a:cxn>
            </a:cxnLst>
            <a:rect l="0" t="0" r="r" b="b"/>
            <a:pathLst>
              <a:path w="2124" h="1337">
                <a:moveTo>
                  <a:pt x="0" y="636"/>
                </a:moveTo>
                <a:lnTo>
                  <a:pt x="12" y="585"/>
                </a:lnTo>
                <a:lnTo>
                  <a:pt x="89" y="574"/>
                </a:lnTo>
                <a:lnTo>
                  <a:pt x="223" y="503"/>
                </a:lnTo>
                <a:lnTo>
                  <a:pt x="243" y="449"/>
                </a:lnTo>
                <a:lnTo>
                  <a:pt x="216" y="387"/>
                </a:lnTo>
                <a:lnTo>
                  <a:pt x="300" y="369"/>
                </a:lnTo>
                <a:lnTo>
                  <a:pt x="324" y="285"/>
                </a:lnTo>
                <a:lnTo>
                  <a:pt x="412" y="289"/>
                </a:lnTo>
                <a:lnTo>
                  <a:pt x="422" y="235"/>
                </a:lnTo>
                <a:lnTo>
                  <a:pt x="489" y="206"/>
                </a:lnTo>
                <a:lnTo>
                  <a:pt x="525" y="253"/>
                </a:lnTo>
                <a:lnTo>
                  <a:pt x="573" y="270"/>
                </a:lnTo>
                <a:lnTo>
                  <a:pt x="594" y="369"/>
                </a:lnTo>
                <a:lnTo>
                  <a:pt x="747" y="407"/>
                </a:lnTo>
                <a:lnTo>
                  <a:pt x="810" y="475"/>
                </a:lnTo>
                <a:lnTo>
                  <a:pt x="936" y="471"/>
                </a:lnTo>
                <a:lnTo>
                  <a:pt x="1080" y="524"/>
                </a:lnTo>
                <a:lnTo>
                  <a:pt x="1269" y="475"/>
                </a:lnTo>
                <a:lnTo>
                  <a:pt x="1328" y="437"/>
                </a:lnTo>
                <a:lnTo>
                  <a:pt x="1328" y="383"/>
                </a:lnTo>
                <a:lnTo>
                  <a:pt x="1380" y="389"/>
                </a:lnTo>
                <a:lnTo>
                  <a:pt x="1497" y="312"/>
                </a:lnTo>
                <a:lnTo>
                  <a:pt x="1590" y="307"/>
                </a:lnTo>
                <a:lnTo>
                  <a:pt x="1546" y="248"/>
                </a:lnTo>
                <a:lnTo>
                  <a:pt x="1456" y="264"/>
                </a:lnTo>
                <a:lnTo>
                  <a:pt x="1455" y="199"/>
                </a:lnTo>
                <a:lnTo>
                  <a:pt x="1478" y="163"/>
                </a:lnTo>
                <a:lnTo>
                  <a:pt x="1531" y="184"/>
                </a:lnTo>
                <a:lnTo>
                  <a:pt x="1581" y="160"/>
                </a:lnTo>
                <a:lnTo>
                  <a:pt x="1632" y="72"/>
                </a:lnTo>
                <a:lnTo>
                  <a:pt x="1608" y="41"/>
                </a:lnTo>
                <a:lnTo>
                  <a:pt x="1734" y="0"/>
                </a:lnTo>
                <a:lnTo>
                  <a:pt x="1804" y="27"/>
                </a:lnTo>
                <a:lnTo>
                  <a:pt x="1868" y="176"/>
                </a:lnTo>
                <a:lnTo>
                  <a:pt x="1974" y="209"/>
                </a:lnTo>
                <a:lnTo>
                  <a:pt x="1994" y="263"/>
                </a:lnTo>
                <a:lnTo>
                  <a:pt x="2124" y="229"/>
                </a:lnTo>
                <a:lnTo>
                  <a:pt x="2064" y="373"/>
                </a:lnTo>
                <a:lnTo>
                  <a:pt x="1988" y="395"/>
                </a:lnTo>
                <a:lnTo>
                  <a:pt x="1998" y="449"/>
                </a:lnTo>
                <a:lnTo>
                  <a:pt x="1974" y="482"/>
                </a:lnTo>
                <a:lnTo>
                  <a:pt x="1960" y="471"/>
                </a:lnTo>
                <a:lnTo>
                  <a:pt x="1894" y="510"/>
                </a:lnTo>
                <a:lnTo>
                  <a:pt x="1894" y="533"/>
                </a:lnTo>
                <a:lnTo>
                  <a:pt x="1846" y="526"/>
                </a:lnTo>
                <a:lnTo>
                  <a:pt x="1758" y="591"/>
                </a:lnTo>
                <a:lnTo>
                  <a:pt x="1656" y="642"/>
                </a:lnTo>
                <a:lnTo>
                  <a:pt x="1686" y="574"/>
                </a:lnTo>
                <a:lnTo>
                  <a:pt x="1672" y="549"/>
                </a:lnTo>
                <a:lnTo>
                  <a:pt x="1531" y="628"/>
                </a:lnTo>
                <a:lnTo>
                  <a:pt x="1527" y="650"/>
                </a:lnTo>
                <a:lnTo>
                  <a:pt x="1574" y="701"/>
                </a:lnTo>
                <a:lnTo>
                  <a:pt x="1635" y="679"/>
                </a:lnTo>
                <a:lnTo>
                  <a:pt x="1700" y="697"/>
                </a:lnTo>
                <a:lnTo>
                  <a:pt x="1614" y="738"/>
                </a:lnTo>
                <a:lnTo>
                  <a:pt x="1582" y="794"/>
                </a:lnTo>
                <a:lnTo>
                  <a:pt x="1674" y="915"/>
                </a:lnTo>
                <a:lnTo>
                  <a:pt x="1612" y="904"/>
                </a:lnTo>
                <a:lnTo>
                  <a:pt x="1674" y="945"/>
                </a:lnTo>
                <a:lnTo>
                  <a:pt x="1613" y="972"/>
                </a:lnTo>
                <a:lnTo>
                  <a:pt x="1676" y="983"/>
                </a:lnTo>
                <a:lnTo>
                  <a:pt x="1559" y="1178"/>
                </a:lnTo>
                <a:lnTo>
                  <a:pt x="1481" y="1235"/>
                </a:lnTo>
                <a:lnTo>
                  <a:pt x="1405" y="1254"/>
                </a:lnTo>
                <a:lnTo>
                  <a:pt x="1400" y="1255"/>
                </a:lnTo>
                <a:lnTo>
                  <a:pt x="1380" y="1244"/>
                </a:lnTo>
                <a:lnTo>
                  <a:pt x="1361" y="1277"/>
                </a:lnTo>
                <a:lnTo>
                  <a:pt x="1270" y="1296"/>
                </a:lnTo>
                <a:lnTo>
                  <a:pt x="1264" y="1337"/>
                </a:lnTo>
                <a:lnTo>
                  <a:pt x="1248" y="1288"/>
                </a:lnTo>
                <a:lnTo>
                  <a:pt x="1187" y="1290"/>
                </a:lnTo>
                <a:lnTo>
                  <a:pt x="1092" y="1230"/>
                </a:lnTo>
                <a:lnTo>
                  <a:pt x="989" y="1256"/>
                </a:lnTo>
                <a:lnTo>
                  <a:pt x="968" y="1257"/>
                </a:lnTo>
                <a:lnTo>
                  <a:pt x="971" y="1296"/>
                </a:lnTo>
                <a:lnTo>
                  <a:pt x="955" y="1287"/>
                </a:lnTo>
                <a:lnTo>
                  <a:pt x="889" y="1268"/>
                </a:lnTo>
                <a:lnTo>
                  <a:pt x="869" y="1197"/>
                </a:lnTo>
                <a:lnTo>
                  <a:pt x="829" y="1206"/>
                </a:lnTo>
                <a:lnTo>
                  <a:pt x="867" y="1103"/>
                </a:lnTo>
                <a:lnTo>
                  <a:pt x="866" y="1070"/>
                </a:lnTo>
                <a:lnTo>
                  <a:pt x="823" y="1049"/>
                </a:lnTo>
                <a:lnTo>
                  <a:pt x="786" y="1035"/>
                </a:lnTo>
                <a:lnTo>
                  <a:pt x="775" y="998"/>
                </a:lnTo>
                <a:lnTo>
                  <a:pt x="626" y="1060"/>
                </a:lnTo>
                <a:lnTo>
                  <a:pt x="561" y="1043"/>
                </a:lnTo>
                <a:lnTo>
                  <a:pt x="527" y="1079"/>
                </a:lnTo>
                <a:lnTo>
                  <a:pt x="522" y="1053"/>
                </a:lnTo>
                <a:lnTo>
                  <a:pt x="499" y="1059"/>
                </a:lnTo>
                <a:lnTo>
                  <a:pt x="424" y="1059"/>
                </a:lnTo>
                <a:lnTo>
                  <a:pt x="365" y="1005"/>
                </a:lnTo>
                <a:lnTo>
                  <a:pt x="255" y="969"/>
                </a:lnTo>
                <a:lnTo>
                  <a:pt x="183" y="943"/>
                </a:lnTo>
                <a:lnTo>
                  <a:pt x="166" y="883"/>
                </a:lnTo>
                <a:lnTo>
                  <a:pt x="204" y="876"/>
                </a:lnTo>
                <a:lnTo>
                  <a:pt x="181" y="828"/>
                </a:lnTo>
                <a:lnTo>
                  <a:pt x="230" y="769"/>
                </a:lnTo>
                <a:lnTo>
                  <a:pt x="192" y="749"/>
                </a:lnTo>
                <a:lnTo>
                  <a:pt x="138" y="771"/>
                </a:lnTo>
                <a:lnTo>
                  <a:pt x="31" y="706"/>
                </a:lnTo>
                <a:lnTo>
                  <a:pt x="35" y="697"/>
                </a:lnTo>
                <a:lnTo>
                  <a:pt x="36" y="651"/>
                </a:lnTo>
                <a:lnTo>
                  <a:pt x="0" y="636"/>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36" name="Freeform 135"/>
          <p:cNvSpPr>
            <a:spLocks noChangeAspect="1"/>
          </p:cNvSpPr>
          <p:nvPr/>
        </p:nvSpPr>
        <p:spPr bwMode="gray">
          <a:xfrm>
            <a:off x="8549477" y="4183065"/>
            <a:ext cx="56869" cy="48222"/>
          </a:xfrm>
          <a:custGeom>
            <a:avLst/>
            <a:gdLst/>
            <a:ahLst/>
            <a:cxnLst>
              <a:cxn ang="0">
                <a:pos x="0" y="51"/>
              </a:cxn>
              <a:cxn ang="0">
                <a:pos x="24" y="0"/>
              </a:cxn>
              <a:cxn ang="0">
                <a:pos x="75" y="11"/>
              </a:cxn>
              <a:cxn ang="0">
                <a:pos x="34" y="64"/>
              </a:cxn>
              <a:cxn ang="0">
                <a:pos x="0" y="51"/>
              </a:cxn>
            </a:cxnLst>
            <a:rect l="0" t="0" r="r" b="b"/>
            <a:pathLst>
              <a:path w="75" h="64">
                <a:moveTo>
                  <a:pt x="0" y="51"/>
                </a:moveTo>
                <a:lnTo>
                  <a:pt x="24" y="0"/>
                </a:lnTo>
                <a:lnTo>
                  <a:pt x="75" y="11"/>
                </a:lnTo>
                <a:lnTo>
                  <a:pt x="34" y="64"/>
                </a:lnTo>
                <a:lnTo>
                  <a:pt x="0" y="5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37" name="Freeform 136"/>
          <p:cNvSpPr>
            <a:spLocks noChangeAspect="1"/>
          </p:cNvSpPr>
          <p:nvPr/>
        </p:nvSpPr>
        <p:spPr bwMode="gray">
          <a:xfrm>
            <a:off x="8847542" y="4036674"/>
            <a:ext cx="49025" cy="89556"/>
          </a:xfrm>
          <a:custGeom>
            <a:avLst/>
            <a:gdLst/>
            <a:ahLst/>
            <a:cxnLst>
              <a:cxn ang="0">
                <a:pos x="0" y="47"/>
              </a:cxn>
              <a:cxn ang="0">
                <a:pos x="25" y="114"/>
              </a:cxn>
              <a:cxn ang="0">
                <a:pos x="63" y="0"/>
              </a:cxn>
              <a:cxn ang="0">
                <a:pos x="30" y="1"/>
              </a:cxn>
              <a:cxn ang="0">
                <a:pos x="0" y="47"/>
              </a:cxn>
            </a:cxnLst>
            <a:rect l="0" t="0" r="r" b="b"/>
            <a:pathLst>
              <a:path w="63" h="114">
                <a:moveTo>
                  <a:pt x="0" y="47"/>
                </a:moveTo>
                <a:lnTo>
                  <a:pt x="25" y="114"/>
                </a:lnTo>
                <a:lnTo>
                  <a:pt x="63" y="0"/>
                </a:lnTo>
                <a:lnTo>
                  <a:pt x="30" y="1"/>
                </a:lnTo>
                <a:lnTo>
                  <a:pt x="0" y="4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38" name="Freeform 137"/>
          <p:cNvSpPr>
            <a:spLocks noChangeAspect="1"/>
          </p:cNvSpPr>
          <p:nvPr/>
        </p:nvSpPr>
        <p:spPr bwMode="gray">
          <a:xfrm>
            <a:off x="3625484" y="4394903"/>
            <a:ext cx="319638" cy="461559"/>
          </a:xfrm>
          <a:custGeom>
            <a:avLst/>
            <a:gdLst/>
            <a:ahLst/>
            <a:cxnLst>
              <a:cxn ang="0">
                <a:pos x="0" y="381"/>
              </a:cxn>
              <a:cxn ang="0">
                <a:pos x="51" y="422"/>
              </a:cxn>
              <a:cxn ang="0">
                <a:pos x="124" y="433"/>
              </a:cxn>
              <a:cxn ang="0">
                <a:pos x="200" y="510"/>
              </a:cxn>
              <a:cxn ang="0">
                <a:pos x="299" y="517"/>
              </a:cxn>
              <a:cxn ang="0">
                <a:pos x="285" y="557"/>
              </a:cxn>
              <a:cxn ang="0">
                <a:pos x="309" y="572"/>
              </a:cxn>
              <a:cxn ang="0">
                <a:pos x="325" y="472"/>
              </a:cxn>
              <a:cxn ang="0">
                <a:pos x="305" y="411"/>
              </a:cxn>
              <a:cxn ang="0">
                <a:pos x="338" y="408"/>
              </a:cxn>
              <a:cxn ang="0">
                <a:pos x="313" y="373"/>
              </a:cxn>
              <a:cxn ang="0">
                <a:pos x="396" y="359"/>
              </a:cxn>
              <a:cxn ang="0">
                <a:pos x="415" y="384"/>
              </a:cxn>
              <a:cxn ang="0">
                <a:pos x="385" y="334"/>
              </a:cxn>
              <a:cxn ang="0">
                <a:pos x="395" y="214"/>
              </a:cxn>
              <a:cxn ang="0">
                <a:pos x="327" y="217"/>
              </a:cxn>
              <a:cxn ang="0">
                <a:pos x="305" y="189"/>
              </a:cxn>
              <a:cxn ang="0">
                <a:pos x="237" y="181"/>
              </a:cxn>
              <a:cxn ang="0">
                <a:pos x="194" y="112"/>
              </a:cxn>
              <a:cxn ang="0">
                <a:pos x="260" y="20"/>
              </a:cxn>
              <a:cxn ang="0">
                <a:pos x="252" y="0"/>
              </a:cxn>
              <a:cxn ang="0">
                <a:pos x="134" y="49"/>
              </a:cxn>
              <a:cxn ang="0">
                <a:pos x="71" y="153"/>
              </a:cxn>
              <a:cxn ang="0">
                <a:pos x="50" y="128"/>
              </a:cxn>
              <a:cxn ang="0">
                <a:pos x="33" y="178"/>
              </a:cxn>
              <a:cxn ang="0">
                <a:pos x="50" y="292"/>
              </a:cxn>
              <a:cxn ang="0">
                <a:pos x="64" y="292"/>
              </a:cxn>
              <a:cxn ang="0">
                <a:pos x="0" y="381"/>
              </a:cxn>
            </a:cxnLst>
            <a:rect l="0" t="0" r="r" b="b"/>
            <a:pathLst>
              <a:path w="415" h="572">
                <a:moveTo>
                  <a:pt x="0" y="381"/>
                </a:moveTo>
                <a:lnTo>
                  <a:pt x="51" y="422"/>
                </a:lnTo>
                <a:lnTo>
                  <a:pt x="124" y="433"/>
                </a:lnTo>
                <a:lnTo>
                  <a:pt x="200" y="510"/>
                </a:lnTo>
                <a:lnTo>
                  <a:pt x="299" y="517"/>
                </a:lnTo>
                <a:lnTo>
                  <a:pt x="285" y="557"/>
                </a:lnTo>
                <a:lnTo>
                  <a:pt x="309" y="572"/>
                </a:lnTo>
                <a:lnTo>
                  <a:pt x="325" y="472"/>
                </a:lnTo>
                <a:lnTo>
                  <a:pt x="305" y="411"/>
                </a:lnTo>
                <a:lnTo>
                  <a:pt x="338" y="408"/>
                </a:lnTo>
                <a:lnTo>
                  <a:pt x="313" y="373"/>
                </a:lnTo>
                <a:lnTo>
                  <a:pt x="396" y="359"/>
                </a:lnTo>
                <a:lnTo>
                  <a:pt x="415" y="384"/>
                </a:lnTo>
                <a:lnTo>
                  <a:pt x="385" y="334"/>
                </a:lnTo>
                <a:lnTo>
                  <a:pt x="395" y="214"/>
                </a:lnTo>
                <a:lnTo>
                  <a:pt x="327" y="217"/>
                </a:lnTo>
                <a:lnTo>
                  <a:pt x="305" y="189"/>
                </a:lnTo>
                <a:lnTo>
                  <a:pt x="237" y="181"/>
                </a:lnTo>
                <a:lnTo>
                  <a:pt x="194" y="112"/>
                </a:lnTo>
                <a:lnTo>
                  <a:pt x="260" y="20"/>
                </a:lnTo>
                <a:lnTo>
                  <a:pt x="252" y="0"/>
                </a:lnTo>
                <a:lnTo>
                  <a:pt x="134" y="49"/>
                </a:lnTo>
                <a:lnTo>
                  <a:pt x="71" y="153"/>
                </a:lnTo>
                <a:lnTo>
                  <a:pt x="50" y="128"/>
                </a:lnTo>
                <a:lnTo>
                  <a:pt x="33" y="178"/>
                </a:lnTo>
                <a:lnTo>
                  <a:pt x="50" y="292"/>
                </a:lnTo>
                <a:lnTo>
                  <a:pt x="64" y="292"/>
                </a:lnTo>
                <a:lnTo>
                  <a:pt x="0" y="38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39" name="Freeform 138"/>
          <p:cNvSpPr>
            <a:spLocks noChangeAspect="1"/>
          </p:cNvSpPr>
          <p:nvPr/>
        </p:nvSpPr>
        <p:spPr bwMode="gray">
          <a:xfrm>
            <a:off x="3452921" y="4434512"/>
            <a:ext cx="76478" cy="77502"/>
          </a:xfrm>
          <a:custGeom>
            <a:avLst/>
            <a:gdLst/>
            <a:ahLst/>
            <a:cxnLst>
              <a:cxn ang="0">
                <a:pos x="0" y="0"/>
              </a:cxn>
              <a:cxn ang="0">
                <a:pos x="1" y="37"/>
              </a:cxn>
              <a:cxn ang="0">
                <a:pos x="25" y="31"/>
              </a:cxn>
              <a:cxn ang="0">
                <a:pos x="93" y="93"/>
              </a:cxn>
              <a:cxn ang="0">
                <a:pos x="109" y="47"/>
              </a:cxn>
              <a:cxn ang="0">
                <a:pos x="72" y="4"/>
              </a:cxn>
              <a:cxn ang="0">
                <a:pos x="0" y="0"/>
              </a:cxn>
            </a:cxnLst>
            <a:rect l="0" t="0" r="r" b="b"/>
            <a:pathLst>
              <a:path w="109" h="93">
                <a:moveTo>
                  <a:pt x="0" y="0"/>
                </a:moveTo>
                <a:lnTo>
                  <a:pt x="1" y="37"/>
                </a:lnTo>
                <a:lnTo>
                  <a:pt x="25" y="31"/>
                </a:lnTo>
                <a:lnTo>
                  <a:pt x="93" y="93"/>
                </a:lnTo>
                <a:lnTo>
                  <a:pt x="109" y="47"/>
                </a:lnTo>
                <a:lnTo>
                  <a:pt x="72" y="4"/>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40" name="Freeform 139"/>
          <p:cNvSpPr>
            <a:spLocks noChangeAspect="1"/>
          </p:cNvSpPr>
          <p:nvPr/>
        </p:nvSpPr>
        <p:spPr bwMode="gray">
          <a:xfrm>
            <a:off x="3468608" y="4095231"/>
            <a:ext cx="282379" cy="89556"/>
          </a:xfrm>
          <a:custGeom>
            <a:avLst/>
            <a:gdLst/>
            <a:ahLst/>
            <a:cxnLst>
              <a:cxn ang="0">
                <a:pos x="0" y="45"/>
              </a:cxn>
              <a:cxn ang="0">
                <a:pos x="50" y="5"/>
              </a:cxn>
              <a:cxn ang="0">
                <a:pos x="145" y="0"/>
              </a:cxn>
              <a:cxn ang="0">
                <a:pos x="373" y="99"/>
              </a:cxn>
              <a:cxn ang="0">
                <a:pos x="252" y="116"/>
              </a:cxn>
              <a:cxn ang="0">
                <a:pos x="273" y="94"/>
              </a:cxn>
              <a:cxn ang="0">
                <a:pos x="215" y="56"/>
              </a:cxn>
              <a:cxn ang="0">
                <a:pos x="101" y="36"/>
              </a:cxn>
              <a:cxn ang="0">
                <a:pos x="107" y="18"/>
              </a:cxn>
              <a:cxn ang="0">
                <a:pos x="0" y="45"/>
              </a:cxn>
            </a:cxnLst>
            <a:rect l="0" t="0" r="r" b="b"/>
            <a:pathLst>
              <a:path w="373" h="116">
                <a:moveTo>
                  <a:pt x="0" y="45"/>
                </a:moveTo>
                <a:lnTo>
                  <a:pt x="50" y="5"/>
                </a:lnTo>
                <a:lnTo>
                  <a:pt x="145" y="0"/>
                </a:lnTo>
                <a:lnTo>
                  <a:pt x="373" y="99"/>
                </a:lnTo>
                <a:lnTo>
                  <a:pt x="252" y="116"/>
                </a:lnTo>
                <a:lnTo>
                  <a:pt x="273" y="94"/>
                </a:lnTo>
                <a:lnTo>
                  <a:pt x="215" y="56"/>
                </a:lnTo>
                <a:lnTo>
                  <a:pt x="101" y="36"/>
                </a:lnTo>
                <a:lnTo>
                  <a:pt x="107" y="18"/>
                </a:lnTo>
                <a:lnTo>
                  <a:pt x="0" y="4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41" name="Freeform 140"/>
          <p:cNvSpPr>
            <a:spLocks noChangeAspect="1"/>
          </p:cNvSpPr>
          <p:nvPr/>
        </p:nvSpPr>
        <p:spPr bwMode="gray">
          <a:xfrm>
            <a:off x="6010022" y="3194501"/>
            <a:ext cx="274536" cy="122280"/>
          </a:xfrm>
          <a:custGeom>
            <a:avLst/>
            <a:gdLst/>
            <a:ahLst/>
            <a:cxnLst>
              <a:cxn ang="0">
                <a:pos x="0" y="37"/>
              </a:cxn>
              <a:cxn ang="0">
                <a:pos x="63" y="107"/>
              </a:cxn>
              <a:cxn ang="0">
                <a:pos x="165" y="104"/>
              </a:cxn>
              <a:cxn ang="0">
                <a:pos x="180" y="136"/>
              </a:cxn>
              <a:cxn ang="0">
                <a:pos x="227" y="151"/>
              </a:cxn>
              <a:cxn ang="0">
                <a:pos x="307" y="116"/>
              </a:cxn>
              <a:cxn ang="0">
                <a:pos x="354" y="124"/>
              </a:cxn>
              <a:cxn ang="0">
                <a:pos x="365" y="92"/>
              </a:cxn>
              <a:cxn ang="0">
                <a:pos x="277" y="83"/>
              </a:cxn>
              <a:cxn ang="0">
                <a:pos x="96" y="15"/>
              </a:cxn>
              <a:cxn ang="0">
                <a:pos x="77" y="0"/>
              </a:cxn>
              <a:cxn ang="0">
                <a:pos x="0" y="37"/>
              </a:cxn>
            </a:cxnLst>
            <a:rect l="0" t="0" r="r" b="b"/>
            <a:pathLst>
              <a:path w="365" h="151">
                <a:moveTo>
                  <a:pt x="0" y="37"/>
                </a:moveTo>
                <a:lnTo>
                  <a:pt x="63" y="107"/>
                </a:lnTo>
                <a:lnTo>
                  <a:pt x="165" y="104"/>
                </a:lnTo>
                <a:lnTo>
                  <a:pt x="180" y="136"/>
                </a:lnTo>
                <a:lnTo>
                  <a:pt x="227" y="151"/>
                </a:lnTo>
                <a:lnTo>
                  <a:pt x="307" y="116"/>
                </a:lnTo>
                <a:lnTo>
                  <a:pt x="354" y="124"/>
                </a:lnTo>
                <a:lnTo>
                  <a:pt x="365" y="92"/>
                </a:lnTo>
                <a:lnTo>
                  <a:pt x="277" y="83"/>
                </a:lnTo>
                <a:lnTo>
                  <a:pt x="96" y="15"/>
                </a:lnTo>
                <a:lnTo>
                  <a:pt x="77" y="0"/>
                </a:lnTo>
                <a:lnTo>
                  <a:pt x="0" y="37"/>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42" name="Freeform 141"/>
          <p:cNvSpPr>
            <a:spLocks noChangeAspect="1"/>
          </p:cNvSpPr>
          <p:nvPr/>
        </p:nvSpPr>
        <p:spPr bwMode="gray">
          <a:xfrm>
            <a:off x="5910013" y="2946498"/>
            <a:ext cx="70595" cy="108502"/>
          </a:xfrm>
          <a:custGeom>
            <a:avLst/>
            <a:gdLst/>
            <a:ahLst/>
            <a:cxnLst>
              <a:cxn ang="0">
                <a:pos x="0" y="106"/>
              </a:cxn>
              <a:cxn ang="0">
                <a:pos x="7" y="38"/>
              </a:cxn>
              <a:cxn ang="0">
                <a:pos x="80" y="0"/>
              </a:cxn>
              <a:cxn ang="0">
                <a:pos x="66" y="54"/>
              </a:cxn>
              <a:cxn ang="0">
                <a:pos x="92" y="69"/>
              </a:cxn>
              <a:cxn ang="0">
                <a:pos x="47" y="99"/>
              </a:cxn>
              <a:cxn ang="0">
                <a:pos x="46" y="139"/>
              </a:cxn>
              <a:cxn ang="0">
                <a:pos x="18" y="139"/>
              </a:cxn>
              <a:cxn ang="0">
                <a:pos x="0" y="106"/>
              </a:cxn>
            </a:cxnLst>
            <a:rect l="0" t="0" r="r" b="b"/>
            <a:pathLst>
              <a:path w="92" h="139">
                <a:moveTo>
                  <a:pt x="0" y="106"/>
                </a:moveTo>
                <a:lnTo>
                  <a:pt x="7" y="38"/>
                </a:lnTo>
                <a:lnTo>
                  <a:pt x="80" y="0"/>
                </a:lnTo>
                <a:lnTo>
                  <a:pt x="66" y="54"/>
                </a:lnTo>
                <a:lnTo>
                  <a:pt x="92" y="69"/>
                </a:lnTo>
                <a:lnTo>
                  <a:pt x="47" y="99"/>
                </a:lnTo>
                <a:lnTo>
                  <a:pt x="46" y="139"/>
                </a:lnTo>
                <a:lnTo>
                  <a:pt x="18" y="139"/>
                </a:lnTo>
                <a:lnTo>
                  <a:pt x="0" y="10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43" name="Freeform 142"/>
          <p:cNvSpPr>
            <a:spLocks noChangeAspect="1"/>
          </p:cNvSpPr>
          <p:nvPr/>
        </p:nvSpPr>
        <p:spPr bwMode="gray">
          <a:xfrm>
            <a:off x="5988452" y="3006778"/>
            <a:ext cx="41181" cy="44778"/>
          </a:xfrm>
          <a:custGeom>
            <a:avLst/>
            <a:gdLst/>
            <a:ahLst/>
            <a:cxnLst>
              <a:cxn ang="0">
                <a:pos x="0" y="29"/>
              </a:cxn>
              <a:cxn ang="0">
                <a:pos x="41" y="58"/>
              </a:cxn>
              <a:cxn ang="0">
                <a:pos x="55" y="28"/>
              </a:cxn>
              <a:cxn ang="0">
                <a:pos x="45" y="0"/>
              </a:cxn>
              <a:cxn ang="0">
                <a:pos x="0" y="29"/>
              </a:cxn>
            </a:cxnLst>
            <a:rect l="0" t="0" r="r" b="b"/>
            <a:pathLst>
              <a:path w="55" h="58">
                <a:moveTo>
                  <a:pt x="0" y="29"/>
                </a:moveTo>
                <a:lnTo>
                  <a:pt x="41" y="58"/>
                </a:lnTo>
                <a:lnTo>
                  <a:pt x="55" y="28"/>
                </a:lnTo>
                <a:lnTo>
                  <a:pt x="45" y="0"/>
                </a:lnTo>
                <a:lnTo>
                  <a:pt x="0" y="2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44" name="Freeform 143"/>
          <p:cNvSpPr>
            <a:spLocks noChangeAspect="1"/>
          </p:cNvSpPr>
          <p:nvPr/>
        </p:nvSpPr>
        <p:spPr bwMode="gray">
          <a:xfrm>
            <a:off x="3809816" y="4184786"/>
            <a:ext cx="88244" cy="51667"/>
          </a:xfrm>
          <a:custGeom>
            <a:avLst/>
            <a:gdLst/>
            <a:ahLst/>
            <a:cxnLst>
              <a:cxn ang="0">
                <a:pos x="0" y="0"/>
              </a:cxn>
              <a:cxn ang="0">
                <a:pos x="0" y="66"/>
              </a:cxn>
              <a:cxn ang="0">
                <a:pos x="117" y="46"/>
              </a:cxn>
              <a:cxn ang="0">
                <a:pos x="66" y="8"/>
              </a:cxn>
              <a:cxn ang="0">
                <a:pos x="0" y="0"/>
              </a:cxn>
            </a:cxnLst>
            <a:rect l="0" t="0" r="r" b="b"/>
            <a:pathLst>
              <a:path w="117" h="66">
                <a:moveTo>
                  <a:pt x="0" y="0"/>
                </a:moveTo>
                <a:lnTo>
                  <a:pt x="0" y="66"/>
                </a:lnTo>
                <a:lnTo>
                  <a:pt x="117" y="46"/>
                </a:lnTo>
                <a:lnTo>
                  <a:pt x="66" y="8"/>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45" name="Freeform 144"/>
          <p:cNvSpPr>
            <a:spLocks noChangeAspect="1"/>
          </p:cNvSpPr>
          <p:nvPr/>
        </p:nvSpPr>
        <p:spPr bwMode="gray">
          <a:xfrm>
            <a:off x="3576459" y="4699735"/>
            <a:ext cx="149034" cy="172223"/>
          </a:xfrm>
          <a:custGeom>
            <a:avLst/>
            <a:gdLst/>
            <a:ahLst/>
            <a:cxnLst>
              <a:cxn ang="0">
                <a:pos x="0" y="82"/>
              </a:cxn>
              <a:cxn ang="0">
                <a:pos x="1" y="125"/>
              </a:cxn>
              <a:cxn ang="0">
                <a:pos x="37" y="136"/>
              </a:cxn>
              <a:cxn ang="0">
                <a:pos x="17" y="170"/>
              </a:cxn>
              <a:cxn ang="0">
                <a:pos x="12" y="206"/>
              </a:cxn>
              <a:cxn ang="0">
                <a:pos x="58" y="215"/>
              </a:cxn>
              <a:cxn ang="0">
                <a:pos x="98" y="156"/>
              </a:cxn>
              <a:cxn ang="0">
                <a:pos x="176" y="108"/>
              </a:cxn>
              <a:cxn ang="0">
                <a:pos x="193" y="52"/>
              </a:cxn>
              <a:cxn ang="0">
                <a:pos x="120" y="41"/>
              </a:cxn>
              <a:cxn ang="0">
                <a:pos x="69" y="0"/>
              </a:cxn>
              <a:cxn ang="0">
                <a:pos x="25" y="21"/>
              </a:cxn>
              <a:cxn ang="0">
                <a:pos x="0" y="82"/>
              </a:cxn>
            </a:cxnLst>
            <a:rect l="0" t="0" r="r" b="b"/>
            <a:pathLst>
              <a:path w="193" h="215">
                <a:moveTo>
                  <a:pt x="0" y="82"/>
                </a:moveTo>
                <a:lnTo>
                  <a:pt x="1" y="125"/>
                </a:lnTo>
                <a:lnTo>
                  <a:pt x="37" y="136"/>
                </a:lnTo>
                <a:lnTo>
                  <a:pt x="17" y="170"/>
                </a:lnTo>
                <a:lnTo>
                  <a:pt x="12" y="206"/>
                </a:lnTo>
                <a:lnTo>
                  <a:pt x="58" y="215"/>
                </a:lnTo>
                <a:lnTo>
                  <a:pt x="98" y="156"/>
                </a:lnTo>
                <a:lnTo>
                  <a:pt x="176" y="108"/>
                </a:lnTo>
                <a:lnTo>
                  <a:pt x="193" y="52"/>
                </a:lnTo>
                <a:lnTo>
                  <a:pt x="120" y="41"/>
                </a:lnTo>
                <a:lnTo>
                  <a:pt x="69" y="0"/>
                </a:lnTo>
                <a:lnTo>
                  <a:pt x="25" y="21"/>
                </a:lnTo>
                <a:lnTo>
                  <a:pt x="0" y="8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46" name="Freeform 145"/>
          <p:cNvSpPr>
            <a:spLocks noChangeAspect="1"/>
          </p:cNvSpPr>
          <p:nvPr/>
        </p:nvSpPr>
        <p:spPr bwMode="gray">
          <a:xfrm>
            <a:off x="3333300" y="4336342"/>
            <a:ext cx="62751" cy="31000"/>
          </a:xfrm>
          <a:custGeom>
            <a:avLst/>
            <a:gdLst/>
            <a:ahLst/>
            <a:cxnLst>
              <a:cxn ang="0">
                <a:pos x="0" y="27"/>
              </a:cxn>
              <a:cxn ang="0">
                <a:pos x="24" y="0"/>
              </a:cxn>
              <a:cxn ang="0">
                <a:pos x="81" y="36"/>
              </a:cxn>
              <a:cxn ang="0">
                <a:pos x="0" y="27"/>
              </a:cxn>
            </a:cxnLst>
            <a:rect l="0" t="0" r="r" b="b"/>
            <a:pathLst>
              <a:path w="81" h="36">
                <a:moveTo>
                  <a:pt x="0" y="27"/>
                </a:moveTo>
                <a:lnTo>
                  <a:pt x="24" y="0"/>
                </a:lnTo>
                <a:lnTo>
                  <a:pt x="81" y="36"/>
                </a:lnTo>
                <a:lnTo>
                  <a:pt x="0" y="2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47" name="Freeform 146"/>
          <p:cNvSpPr>
            <a:spLocks noChangeAspect="1"/>
          </p:cNvSpPr>
          <p:nvPr/>
        </p:nvSpPr>
        <p:spPr bwMode="gray">
          <a:xfrm>
            <a:off x="4100041" y="6291080"/>
            <a:ext cx="41181" cy="20668"/>
          </a:xfrm>
          <a:custGeom>
            <a:avLst/>
            <a:gdLst/>
            <a:ahLst/>
            <a:cxnLst>
              <a:cxn ang="0">
                <a:pos x="0" y="30"/>
              </a:cxn>
              <a:cxn ang="0">
                <a:pos x="32" y="14"/>
              </a:cxn>
              <a:cxn ang="0">
                <a:pos x="16" y="0"/>
              </a:cxn>
              <a:cxn ang="0">
                <a:pos x="53" y="3"/>
              </a:cxn>
              <a:cxn ang="0">
                <a:pos x="0" y="30"/>
              </a:cxn>
            </a:cxnLst>
            <a:rect l="0" t="0" r="r" b="b"/>
            <a:pathLst>
              <a:path w="53" h="30">
                <a:moveTo>
                  <a:pt x="0" y="30"/>
                </a:moveTo>
                <a:lnTo>
                  <a:pt x="32" y="14"/>
                </a:lnTo>
                <a:lnTo>
                  <a:pt x="16" y="0"/>
                </a:lnTo>
                <a:lnTo>
                  <a:pt x="53" y="3"/>
                </a:lnTo>
                <a:lnTo>
                  <a:pt x="0" y="3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48" name="Freeform 147"/>
          <p:cNvSpPr>
            <a:spLocks noChangeAspect="1"/>
          </p:cNvSpPr>
          <p:nvPr/>
        </p:nvSpPr>
        <p:spPr bwMode="gray">
          <a:xfrm>
            <a:off x="4131415" y="6282472"/>
            <a:ext cx="49025" cy="32723"/>
          </a:xfrm>
          <a:custGeom>
            <a:avLst/>
            <a:gdLst/>
            <a:ahLst/>
            <a:cxnLst>
              <a:cxn ang="0">
                <a:pos x="0" y="37"/>
              </a:cxn>
              <a:cxn ang="0">
                <a:pos x="28" y="0"/>
              </a:cxn>
              <a:cxn ang="0">
                <a:pos x="63" y="14"/>
              </a:cxn>
              <a:cxn ang="0">
                <a:pos x="0" y="37"/>
              </a:cxn>
            </a:cxnLst>
            <a:rect l="0" t="0" r="r" b="b"/>
            <a:pathLst>
              <a:path w="63" h="37">
                <a:moveTo>
                  <a:pt x="0" y="37"/>
                </a:moveTo>
                <a:lnTo>
                  <a:pt x="28" y="0"/>
                </a:lnTo>
                <a:lnTo>
                  <a:pt x="63" y="14"/>
                </a:lnTo>
                <a:lnTo>
                  <a:pt x="0" y="3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49" name="Freeform 148"/>
          <p:cNvSpPr>
            <a:spLocks noChangeAspect="1"/>
          </p:cNvSpPr>
          <p:nvPr/>
        </p:nvSpPr>
        <p:spPr bwMode="gray">
          <a:xfrm>
            <a:off x="6237494" y="2405717"/>
            <a:ext cx="284341" cy="452949"/>
          </a:xfrm>
          <a:custGeom>
            <a:avLst/>
            <a:gdLst/>
            <a:ahLst/>
            <a:cxnLst>
              <a:cxn ang="0">
                <a:pos x="0" y="58"/>
              </a:cxn>
              <a:cxn ang="0">
                <a:pos x="25" y="41"/>
              </a:cxn>
              <a:cxn ang="0">
                <a:pos x="65" y="75"/>
              </a:cxn>
              <a:cxn ang="0">
                <a:pos x="137" y="82"/>
              </a:cxn>
              <a:cxn ang="0">
                <a:pos x="179" y="60"/>
              </a:cxn>
              <a:cxn ang="0">
                <a:pos x="191" y="13"/>
              </a:cxn>
              <a:cxn ang="0">
                <a:pos x="259" y="0"/>
              </a:cxn>
              <a:cxn ang="0">
                <a:pos x="296" y="18"/>
              </a:cxn>
              <a:cxn ang="0">
                <a:pos x="292" y="58"/>
              </a:cxn>
              <a:cxn ang="0">
                <a:pos x="278" y="99"/>
              </a:cxn>
              <a:cxn ang="0">
                <a:pos x="327" y="148"/>
              </a:cxn>
              <a:cxn ang="0">
                <a:pos x="297" y="183"/>
              </a:cxn>
              <a:cxn ang="0">
                <a:pos x="333" y="245"/>
              </a:cxn>
              <a:cxn ang="0">
                <a:pos x="319" y="302"/>
              </a:cxn>
              <a:cxn ang="0">
                <a:pos x="378" y="420"/>
              </a:cxn>
              <a:cxn ang="0">
                <a:pos x="245" y="532"/>
              </a:cxn>
              <a:cxn ang="0">
                <a:pos x="85" y="567"/>
              </a:cxn>
              <a:cxn ang="0">
                <a:pos x="76" y="545"/>
              </a:cxn>
              <a:cxn ang="0">
                <a:pos x="25" y="527"/>
              </a:cxn>
              <a:cxn ang="0">
                <a:pos x="17" y="418"/>
              </a:cxn>
              <a:cxn ang="0">
                <a:pos x="170" y="297"/>
              </a:cxn>
              <a:cxn ang="0">
                <a:pos x="120" y="238"/>
              </a:cxn>
              <a:cxn ang="0">
                <a:pos x="102" y="119"/>
              </a:cxn>
              <a:cxn ang="0">
                <a:pos x="0" y="58"/>
              </a:cxn>
            </a:cxnLst>
            <a:rect l="0" t="0" r="r" b="b"/>
            <a:pathLst>
              <a:path w="378" h="567">
                <a:moveTo>
                  <a:pt x="0" y="58"/>
                </a:moveTo>
                <a:lnTo>
                  <a:pt x="25" y="41"/>
                </a:lnTo>
                <a:lnTo>
                  <a:pt x="65" y="75"/>
                </a:lnTo>
                <a:lnTo>
                  <a:pt x="137" y="82"/>
                </a:lnTo>
                <a:lnTo>
                  <a:pt x="179" y="60"/>
                </a:lnTo>
                <a:lnTo>
                  <a:pt x="191" y="13"/>
                </a:lnTo>
                <a:lnTo>
                  <a:pt x="259" y="0"/>
                </a:lnTo>
                <a:lnTo>
                  <a:pt x="296" y="18"/>
                </a:lnTo>
                <a:lnTo>
                  <a:pt x="292" y="58"/>
                </a:lnTo>
                <a:lnTo>
                  <a:pt x="278" y="99"/>
                </a:lnTo>
                <a:lnTo>
                  <a:pt x="327" y="148"/>
                </a:lnTo>
                <a:lnTo>
                  <a:pt x="297" y="183"/>
                </a:lnTo>
                <a:lnTo>
                  <a:pt x="333" y="245"/>
                </a:lnTo>
                <a:lnTo>
                  <a:pt x="319" y="302"/>
                </a:lnTo>
                <a:lnTo>
                  <a:pt x="378" y="420"/>
                </a:lnTo>
                <a:lnTo>
                  <a:pt x="245" y="532"/>
                </a:lnTo>
                <a:lnTo>
                  <a:pt x="85" y="567"/>
                </a:lnTo>
                <a:lnTo>
                  <a:pt x="76" y="545"/>
                </a:lnTo>
                <a:lnTo>
                  <a:pt x="25" y="527"/>
                </a:lnTo>
                <a:lnTo>
                  <a:pt x="17" y="418"/>
                </a:lnTo>
                <a:lnTo>
                  <a:pt x="170" y="297"/>
                </a:lnTo>
                <a:lnTo>
                  <a:pt x="120" y="238"/>
                </a:lnTo>
                <a:lnTo>
                  <a:pt x="102" y="119"/>
                </a:lnTo>
                <a:lnTo>
                  <a:pt x="0" y="5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50" name="Freeform 149"/>
          <p:cNvSpPr>
            <a:spLocks noChangeAspect="1"/>
          </p:cNvSpPr>
          <p:nvPr/>
        </p:nvSpPr>
        <p:spPr bwMode="gray">
          <a:xfrm>
            <a:off x="5578608" y="3194501"/>
            <a:ext cx="329443" cy="304836"/>
          </a:xfrm>
          <a:custGeom>
            <a:avLst/>
            <a:gdLst/>
            <a:ahLst/>
            <a:cxnLst>
              <a:cxn ang="0">
                <a:pos x="0" y="117"/>
              </a:cxn>
              <a:cxn ang="0">
                <a:pos x="15" y="150"/>
              </a:cxn>
              <a:cxn ang="0">
                <a:pos x="105" y="173"/>
              </a:cxn>
              <a:cxn ang="0">
                <a:pos x="91" y="191"/>
              </a:cxn>
              <a:cxn ang="0">
                <a:pos x="124" y="216"/>
              </a:cxn>
              <a:cxn ang="0">
                <a:pos x="138" y="258"/>
              </a:cxn>
              <a:cxn ang="0">
                <a:pos x="99" y="338"/>
              </a:cxn>
              <a:cxn ang="0">
                <a:pos x="208" y="370"/>
              </a:cxn>
              <a:cxn ang="0">
                <a:pos x="219" y="373"/>
              </a:cxn>
              <a:cxn ang="0">
                <a:pos x="270" y="380"/>
              </a:cxn>
              <a:cxn ang="0">
                <a:pos x="270" y="348"/>
              </a:cxn>
              <a:cxn ang="0">
                <a:pos x="300" y="331"/>
              </a:cxn>
              <a:cxn ang="0">
                <a:pos x="372" y="351"/>
              </a:cxn>
              <a:cxn ang="0">
                <a:pos x="418" y="320"/>
              </a:cxn>
              <a:cxn ang="0">
                <a:pos x="390" y="273"/>
              </a:cxn>
              <a:cxn ang="0">
                <a:pos x="401" y="229"/>
              </a:cxn>
              <a:cxn ang="0">
                <a:pos x="367" y="205"/>
              </a:cxn>
              <a:cxn ang="0">
                <a:pos x="418" y="153"/>
              </a:cxn>
              <a:cxn ang="0">
                <a:pos x="438" y="97"/>
              </a:cxn>
              <a:cxn ang="0">
                <a:pos x="373" y="73"/>
              </a:cxn>
              <a:cxn ang="0">
                <a:pos x="356" y="66"/>
              </a:cxn>
              <a:cxn ang="0">
                <a:pos x="257" y="0"/>
              </a:cxn>
              <a:cxn ang="0">
                <a:pos x="223" y="13"/>
              </a:cxn>
              <a:cxn ang="0">
                <a:pos x="182" y="75"/>
              </a:cxn>
              <a:cxn ang="0">
                <a:pos x="98" y="64"/>
              </a:cxn>
              <a:cxn ang="0">
                <a:pos x="110" y="114"/>
              </a:cxn>
              <a:cxn ang="0">
                <a:pos x="0" y="117"/>
              </a:cxn>
            </a:cxnLst>
            <a:rect l="0" t="0" r="r" b="b"/>
            <a:pathLst>
              <a:path w="438" h="380">
                <a:moveTo>
                  <a:pt x="0" y="117"/>
                </a:moveTo>
                <a:lnTo>
                  <a:pt x="15" y="150"/>
                </a:lnTo>
                <a:lnTo>
                  <a:pt x="105" y="173"/>
                </a:lnTo>
                <a:lnTo>
                  <a:pt x="91" y="191"/>
                </a:lnTo>
                <a:lnTo>
                  <a:pt x="124" y="216"/>
                </a:lnTo>
                <a:lnTo>
                  <a:pt x="138" y="258"/>
                </a:lnTo>
                <a:lnTo>
                  <a:pt x="99" y="338"/>
                </a:lnTo>
                <a:lnTo>
                  <a:pt x="208" y="370"/>
                </a:lnTo>
                <a:lnTo>
                  <a:pt x="219" y="373"/>
                </a:lnTo>
                <a:lnTo>
                  <a:pt x="270" y="380"/>
                </a:lnTo>
                <a:lnTo>
                  <a:pt x="270" y="348"/>
                </a:lnTo>
                <a:lnTo>
                  <a:pt x="300" y="331"/>
                </a:lnTo>
                <a:lnTo>
                  <a:pt x="372" y="351"/>
                </a:lnTo>
                <a:lnTo>
                  <a:pt x="418" y="320"/>
                </a:lnTo>
                <a:lnTo>
                  <a:pt x="390" y="273"/>
                </a:lnTo>
                <a:lnTo>
                  <a:pt x="401" y="229"/>
                </a:lnTo>
                <a:lnTo>
                  <a:pt x="367" y="205"/>
                </a:lnTo>
                <a:lnTo>
                  <a:pt x="418" y="153"/>
                </a:lnTo>
                <a:lnTo>
                  <a:pt x="438" y="97"/>
                </a:lnTo>
                <a:lnTo>
                  <a:pt x="373" y="73"/>
                </a:lnTo>
                <a:lnTo>
                  <a:pt x="356" y="66"/>
                </a:lnTo>
                <a:lnTo>
                  <a:pt x="257" y="0"/>
                </a:lnTo>
                <a:lnTo>
                  <a:pt x="223" y="13"/>
                </a:lnTo>
                <a:lnTo>
                  <a:pt x="182" y="75"/>
                </a:lnTo>
                <a:lnTo>
                  <a:pt x="98" y="64"/>
                </a:lnTo>
                <a:lnTo>
                  <a:pt x="110" y="114"/>
                </a:lnTo>
                <a:lnTo>
                  <a:pt x="0" y="117"/>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51" name="Freeform 150"/>
          <p:cNvSpPr>
            <a:spLocks noChangeAspect="1"/>
          </p:cNvSpPr>
          <p:nvPr/>
        </p:nvSpPr>
        <p:spPr bwMode="gray">
          <a:xfrm>
            <a:off x="5921779" y="3475227"/>
            <a:ext cx="19610" cy="58556"/>
          </a:xfrm>
          <a:custGeom>
            <a:avLst/>
            <a:gdLst/>
            <a:ahLst/>
            <a:cxnLst>
              <a:cxn ang="0">
                <a:pos x="0" y="36"/>
              </a:cxn>
              <a:cxn ang="0">
                <a:pos x="25" y="71"/>
              </a:cxn>
              <a:cxn ang="0">
                <a:pos x="27" y="0"/>
              </a:cxn>
              <a:cxn ang="0">
                <a:pos x="0" y="36"/>
              </a:cxn>
            </a:cxnLst>
            <a:rect l="0" t="0" r="r" b="b"/>
            <a:pathLst>
              <a:path w="27" h="71">
                <a:moveTo>
                  <a:pt x="0" y="36"/>
                </a:moveTo>
                <a:lnTo>
                  <a:pt x="25" y="71"/>
                </a:lnTo>
                <a:lnTo>
                  <a:pt x="27" y="0"/>
                </a:lnTo>
                <a:lnTo>
                  <a:pt x="0" y="3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52" name="Freeform 151"/>
          <p:cNvSpPr>
            <a:spLocks noChangeAspect="1"/>
          </p:cNvSpPr>
          <p:nvPr/>
        </p:nvSpPr>
        <p:spPr bwMode="gray">
          <a:xfrm>
            <a:off x="4270643" y="4584344"/>
            <a:ext cx="76478" cy="94724"/>
          </a:xfrm>
          <a:custGeom>
            <a:avLst/>
            <a:gdLst/>
            <a:ahLst/>
            <a:cxnLst>
              <a:cxn ang="0">
                <a:pos x="0" y="114"/>
              </a:cxn>
              <a:cxn ang="0">
                <a:pos x="15" y="0"/>
              </a:cxn>
              <a:cxn ang="0">
                <a:pos x="101" y="51"/>
              </a:cxn>
              <a:cxn ang="0">
                <a:pos x="49" y="119"/>
              </a:cxn>
              <a:cxn ang="0">
                <a:pos x="0" y="114"/>
              </a:cxn>
            </a:cxnLst>
            <a:rect l="0" t="0" r="r" b="b"/>
            <a:pathLst>
              <a:path w="101" h="119">
                <a:moveTo>
                  <a:pt x="0" y="114"/>
                </a:moveTo>
                <a:lnTo>
                  <a:pt x="15" y="0"/>
                </a:lnTo>
                <a:lnTo>
                  <a:pt x="101" y="51"/>
                </a:lnTo>
                <a:lnTo>
                  <a:pt x="49" y="119"/>
                </a:lnTo>
                <a:lnTo>
                  <a:pt x="0" y="11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53" name="Freeform 75"/>
          <p:cNvSpPr>
            <a:spLocks noChangeAspect="1"/>
          </p:cNvSpPr>
          <p:nvPr/>
        </p:nvSpPr>
        <p:spPr bwMode="gray">
          <a:xfrm>
            <a:off x="6223768" y="3518280"/>
            <a:ext cx="166683" cy="172223"/>
          </a:xfrm>
          <a:custGeom>
            <a:avLst/>
            <a:gdLst/>
            <a:ahLst/>
            <a:cxnLst>
              <a:cxn ang="0">
                <a:pos x="0" y="87"/>
              </a:cxn>
              <a:cxn ang="0">
                <a:pos x="29" y="38"/>
              </a:cxn>
              <a:cxn ang="0">
                <a:pos x="98" y="19"/>
              </a:cxn>
              <a:cxn ang="0">
                <a:pos x="183" y="21"/>
              </a:cxn>
              <a:cxn ang="0">
                <a:pos x="216" y="0"/>
              </a:cxn>
              <a:cxn ang="0">
                <a:pos x="205" y="45"/>
              </a:cxn>
              <a:cxn ang="0">
                <a:pos x="146" y="35"/>
              </a:cxn>
              <a:cxn ang="0">
                <a:pos x="116" y="73"/>
              </a:cxn>
              <a:cxn ang="0">
                <a:pos x="85" y="52"/>
              </a:cxn>
              <a:cxn ang="0">
                <a:pos x="107" y="110"/>
              </a:cxn>
              <a:cxn ang="0">
                <a:pos x="79" y="121"/>
              </a:cxn>
              <a:cxn ang="0">
                <a:pos x="133" y="145"/>
              </a:cxn>
              <a:cxn ang="0">
                <a:pos x="133" y="169"/>
              </a:cxn>
              <a:cxn ang="0">
                <a:pos x="89" y="175"/>
              </a:cxn>
              <a:cxn ang="0">
                <a:pos x="104" y="216"/>
              </a:cxn>
              <a:cxn ang="0">
                <a:pos x="51" y="203"/>
              </a:cxn>
              <a:cxn ang="0">
                <a:pos x="35" y="164"/>
              </a:cxn>
              <a:cxn ang="0">
                <a:pos x="105" y="148"/>
              </a:cxn>
              <a:cxn ang="0">
                <a:pos x="35" y="142"/>
              </a:cxn>
              <a:cxn ang="0">
                <a:pos x="0" y="87"/>
              </a:cxn>
            </a:cxnLst>
            <a:rect l="0" t="0" r="r" b="b"/>
            <a:pathLst>
              <a:path w="216" h="216">
                <a:moveTo>
                  <a:pt x="0" y="87"/>
                </a:moveTo>
                <a:lnTo>
                  <a:pt x="29" y="38"/>
                </a:lnTo>
                <a:lnTo>
                  <a:pt x="98" y="19"/>
                </a:lnTo>
                <a:lnTo>
                  <a:pt x="183" y="21"/>
                </a:lnTo>
                <a:lnTo>
                  <a:pt x="216" y="0"/>
                </a:lnTo>
                <a:lnTo>
                  <a:pt x="205" y="45"/>
                </a:lnTo>
                <a:lnTo>
                  <a:pt x="146" y="35"/>
                </a:lnTo>
                <a:lnTo>
                  <a:pt x="116" y="73"/>
                </a:lnTo>
                <a:lnTo>
                  <a:pt x="85" y="52"/>
                </a:lnTo>
                <a:lnTo>
                  <a:pt x="107" y="110"/>
                </a:lnTo>
                <a:lnTo>
                  <a:pt x="79" y="121"/>
                </a:lnTo>
                <a:lnTo>
                  <a:pt x="133" y="145"/>
                </a:lnTo>
                <a:lnTo>
                  <a:pt x="133" y="169"/>
                </a:lnTo>
                <a:lnTo>
                  <a:pt x="89" y="175"/>
                </a:lnTo>
                <a:lnTo>
                  <a:pt x="104" y="216"/>
                </a:lnTo>
                <a:lnTo>
                  <a:pt x="51" y="203"/>
                </a:lnTo>
                <a:lnTo>
                  <a:pt x="35" y="164"/>
                </a:lnTo>
                <a:lnTo>
                  <a:pt x="105" y="148"/>
                </a:lnTo>
                <a:lnTo>
                  <a:pt x="35" y="142"/>
                </a:lnTo>
                <a:lnTo>
                  <a:pt x="0" y="8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54" name="Freeform 76"/>
          <p:cNvSpPr>
            <a:spLocks noChangeAspect="1"/>
          </p:cNvSpPr>
          <p:nvPr/>
        </p:nvSpPr>
        <p:spPr bwMode="gray">
          <a:xfrm>
            <a:off x="6315934" y="3719782"/>
            <a:ext cx="74517" cy="10334"/>
          </a:xfrm>
          <a:custGeom>
            <a:avLst/>
            <a:gdLst/>
            <a:ahLst/>
            <a:cxnLst>
              <a:cxn ang="0">
                <a:pos x="0" y="14"/>
              </a:cxn>
              <a:cxn ang="0">
                <a:pos x="8" y="0"/>
              </a:cxn>
              <a:cxn ang="0">
                <a:pos x="101" y="14"/>
              </a:cxn>
              <a:cxn ang="0">
                <a:pos x="33" y="14"/>
              </a:cxn>
              <a:cxn ang="0">
                <a:pos x="0" y="14"/>
              </a:cxn>
            </a:cxnLst>
            <a:rect l="0" t="0" r="r" b="b"/>
            <a:pathLst>
              <a:path w="101" h="14">
                <a:moveTo>
                  <a:pt x="0" y="14"/>
                </a:moveTo>
                <a:lnTo>
                  <a:pt x="8" y="0"/>
                </a:lnTo>
                <a:lnTo>
                  <a:pt x="101" y="14"/>
                </a:lnTo>
                <a:lnTo>
                  <a:pt x="33" y="14"/>
                </a:lnTo>
                <a:lnTo>
                  <a:pt x="0" y="1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55" name="Freeform 77"/>
          <p:cNvSpPr>
            <a:spLocks noChangeAspect="1"/>
          </p:cNvSpPr>
          <p:nvPr/>
        </p:nvSpPr>
        <p:spPr bwMode="gray">
          <a:xfrm>
            <a:off x="3780400" y="1620377"/>
            <a:ext cx="1596228" cy="1227955"/>
          </a:xfrm>
          <a:custGeom>
            <a:avLst/>
            <a:gdLst/>
            <a:ahLst/>
            <a:cxnLst>
              <a:cxn ang="0">
                <a:pos x="236" y="365"/>
              </a:cxn>
              <a:cxn ang="0">
                <a:pos x="275" y="299"/>
              </a:cxn>
              <a:cxn ang="0">
                <a:pos x="183" y="267"/>
              </a:cxn>
              <a:cxn ang="0">
                <a:pos x="393" y="146"/>
              </a:cxn>
              <a:cxn ang="0">
                <a:pos x="609" y="100"/>
              </a:cxn>
              <a:cxn ang="0">
                <a:pos x="776" y="159"/>
              </a:cxn>
              <a:cxn ang="0">
                <a:pos x="735" y="92"/>
              </a:cxn>
              <a:cxn ang="0">
                <a:pos x="989" y="127"/>
              </a:cxn>
              <a:cxn ang="0">
                <a:pos x="1118" y="92"/>
              </a:cxn>
              <a:cxn ang="0">
                <a:pos x="924" y="34"/>
              </a:cxn>
              <a:cxn ang="0">
                <a:pos x="1157" y="66"/>
              </a:cxn>
              <a:cxn ang="0">
                <a:pos x="1149" y="9"/>
              </a:cxn>
              <a:cxn ang="0">
                <a:pos x="1591" y="31"/>
              </a:cxn>
              <a:cxn ang="0">
                <a:pos x="1626" y="34"/>
              </a:cxn>
              <a:cxn ang="0">
                <a:pos x="1772" y="83"/>
              </a:cxn>
              <a:cxn ang="0">
                <a:pos x="1349" y="144"/>
              </a:cxn>
              <a:cxn ang="0">
                <a:pos x="1574" y="177"/>
              </a:cxn>
              <a:cxn ang="0">
                <a:pos x="1827" y="163"/>
              </a:cxn>
              <a:cxn ang="0">
                <a:pos x="2007" y="140"/>
              </a:cxn>
              <a:cxn ang="0">
                <a:pos x="1787" y="250"/>
              </a:cxn>
              <a:cxn ang="0">
                <a:pos x="1930" y="286"/>
              </a:cxn>
              <a:cxn ang="0">
                <a:pos x="1801" y="388"/>
              </a:cxn>
              <a:cxn ang="0">
                <a:pos x="1818" y="466"/>
              </a:cxn>
              <a:cxn ang="0">
                <a:pos x="1780" y="522"/>
              </a:cxn>
              <a:cxn ang="0">
                <a:pos x="1842" y="576"/>
              </a:cxn>
              <a:cxn ang="0">
                <a:pos x="1763" y="628"/>
              </a:cxn>
              <a:cxn ang="0">
                <a:pos x="1805" y="686"/>
              </a:cxn>
              <a:cxn ang="0">
                <a:pos x="1827" y="738"/>
              </a:cxn>
              <a:cxn ang="0">
                <a:pos x="1599" y="776"/>
              </a:cxn>
              <a:cxn ang="0">
                <a:pos x="1648" y="855"/>
              </a:cxn>
              <a:cxn ang="0">
                <a:pos x="1768" y="879"/>
              </a:cxn>
              <a:cxn ang="0">
                <a:pos x="1749" y="934"/>
              </a:cxn>
              <a:cxn ang="0">
                <a:pos x="1575" y="873"/>
              </a:cxn>
              <a:cxn ang="0">
                <a:pos x="1612" y="966"/>
              </a:cxn>
              <a:cxn ang="0">
                <a:pos x="1618" y="1067"/>
              </a:cxn>
              <a:cxn ang="0">
                <a:pos x="1420" y="1102"/>
              </a:cxn>
              <a:cxn ang="0">
                <a:pos x="1279" y="1227"/>
              </a:cxn>
              <a:cxn ang="0">
                <a:pos x="1218" y="1202"/>
              </a:cxn>
              <a:cxn ang="0">
                <a:pos x="1102" y="1284"/>
              </a:cxn>
              <a:cxn ang="0">
                <a:pos x="1094" y="1347"/>
              </a:cxn>
              <a:cxn ang="0">
                <a:pos x="1091" y="1396"/>
              </a:cxn>
              <a:cxn ang="0">
                <a:pos x="1016" y="1518"/>
              </a:cxn>
              <a:cxn ang="0">
                <a:pos x="862" y="1503"/>
              </a:cxn>
              <a:cxn ang="0">
                <a:pos x="822" y="1468"/>
              </a:cxn>
              <a:cxn ang="0">
                <a:pos x="747" y="1327"/>
              </a:cxn>
              <a:cxn ang="0">
                <a:pos x="726" y="1256"/>
              </a:cxn>
              <a:cxn ang="0">
                <a:pos x="703" y="1104"/>
              </a:cxn>
              <a:cxn ang="0">
                <a:pos x="699" y="1084"/>
              </a:cxn>
              <a:cxn ang="0">
                <a:pos x="715" y="983"/>
              </a:cxn>
              <a:cxn ang="0">
                <a:pos x="776" y="943"/>
              </a:cxn>
              <a:cxn ang="0">
                <a:pos x="730" y="895"/>
              </a:cxn>
              <a:cxn ang="0">
                <a:pos x="660" y="895"/>
              </a:cxn>
              <a:cxn ang="0">
                <a:pos x="606" y="861"/>
              </a:cxn>
              <a:cxn ang="0">
                <a:pos x="562" y="697"/>
              </a:cxn>
              <a:cxn ang="0">
                <a:pos x="419" y="582"/>
              </a:cxn>
              <a:cxn ang="0">
                <a:pos x="232" y="598"/>
              </a:cxn>
              <a:cxn ang="0">
                <a:pos x="53" y="522"/>
              </a:cxn>
              <a:cxn ang="0">
                <a:pos x="228" y="488"/>
              </a:cxn>
            </a:cxnLst>
            <a:rect l="0" t="0" r="r" b="b"/>
            <a:pathLst>
              <a:path w="2109" h="1540">
                <a:moveTo>
                  <a:pt x="0" y="432"/>
                </a:moveTo>
                <a:lnTo>
                  <a:pt x="12" y="409"/>
                </a:lnTo>
                <a:lnTo>
                  <a:pt x="149" y="365"/>
                </a:lnTo>
                <a:lnTo>
                  <a:pt x="236" y="365"/>
                </a:lnTo>
                <a:lnTo>
                  <a:pt x="285" y="330"/>
                </a:lnTo>
                <a:lnTo>
                  <a:pt x="270" y="319"/>
                </a:lnTo>
                <a:lnTo>
                  <a:pt x="301" y="307"/>
                </a:lnTo>
                <a:lnTo>
                  <a:pt x="275" y="299"/>
                </a:lnTo>
                <a:lnTo>
                  <a:pt x="321" y="285"/>
                </a:lnTo>
                <a:lnTo>
                  <a:pt x="304" y="273"/>
                </a:lnTo>
                <a:lnTo>
                  <a:pt x="243" y="296"/>
                </a:lnTo>
                <a:lnTo>
                  <a:pt x="183" y="267"/>
                </a:lnTo>
                <a:lnTo>
                  <a:pt x="260" y="250"/>
                </a:lnTo>
                <a:lnTo>
                  <a:pt x="303" y="201"/>
                </a:lnTo>
                <a:lnTo>
                  <a:pt x="397" y="199"/>
                </a:lnTo>
                <a:lnTo>
                  <a:pt x="393" y="146"/>
                </a:lnTo>
                <a:lnTo>
                  <a:pt x="463" y="144"/>
                </a:lnTo>
                <a:lnTo>
                  <a:pt x="534" y="182"/>
                </a:lnTo>
                <a:lnTo>
                  <a:pt x="450" y="133"/>
                </a:lnTo>
                <a:lnTo>
                  <a:pt x="609" y="100"/>
                </a:lnTo>
                <a:lnTo>
                  <a:pt x="648" y="124"/>
                </a:lnTo>
                <a:lnTo>
                  <a:pt x="653" y="170"/>
                </a:lnTo>
                <a:lnTo>
                  <a:pt x="674" y="131"/>
                </a:lnTo>
                <a:lnTo>
                  <a:pt x="776" y="159"/>
                </a:lnTo>
                <a:lnTo>
                  <a:pt x="741" y="136"/>
                </a:lnTo>
                <a:lnTo>
                  <a:pt x="790" y="140"/>
                </a:lnTo>
                <a:lnTo>
                  <a:pt x="747" y="113"/>
                </a:lnTo>
                <a:lnTo>
                  <a:pt x="735" y="92"/>
                </a:lnTo>
                <a:lnTo>
                  <a:pt x="758" y="87"/>
                </a:lnTo>
                <a:lnTo>
                  <a:pt x="961" y="152"/>
                </a:lnTo>
                <a:lnTo>
                  <a:pt x="945" y="131"/>
                </a:lnTo>
                <a:lnTo>
                  <a:pt x="989" y="127"/>
                </a:lnTo>
                <a:lnTo>
                  <a:pt x="961" y="109"/>
                </a:lnTo>
                <a:lnTo>
                  <a:pt x="1029" y="113"/>
                </a:lnTo>
                <a:lnTo>
                  <a:pt x="921" y="66"/>
                </a:lnTo>
                <a:lnTo>
                  <a:pt x="1118" y="92"/>
                </a:lnTo>
                <a:lnTo>
                  <a:pt x="1074" y="65"/>
                </a:lnTo>
                <a:lnTo>
                  <a:pt x="957" y="60"/>
                </a:lnTo>
                <a:lnTo>
                  <a:pt x="996" y="58"/>
                </a:lnTo>
                <a:lnTo>
                  <a:pt x="924" y="34"/>
                </a:lnTo>
                <a:lnTo>
                  <a:pt x="1009" y="41"/>
                </a:lnTo>
                <a:lnTo>
                  <a:pt x="974" y="31"/>
                </a:lnTo>
                <a:lnTo>
                  <a:pt x="1012" y="23"/>
                </a:lnTo>
                <a:lnTo>
                  <a:pt x="1157" y="66"/>
                </a:lnTo>
                <a:lnTo>
                  <a:pt x="1141" y="50"/>
                </a:lnTo>
                <a:lnTo>
                  <a:pt x="1204" y="34"/>
                </a:lnTo>
                <a:lnTo>
                  <a:pt x="1151" y="31"/>
                </a:lnTo>
                <a:lnTo>
                  <a:pt x="1149" y="9"/>
                </a:lnTo>
                <a:lnTo>
                  <a:pt x="1185" y="0"/>
                </a:lnTo>
                <a:lnTo>
                  <a:pt x="1574" y="10"/>
                </a:lnTo>
                <a:lnTo>
                  <a:pt x="1602" y="22"/>
                </a:lnTo>
                <a:lnTo>
                  <a:pt x="1591" y="31"/>
                </a:lnTo>
                <a:lnTo>
                  <a:pt x="1329" y="33"/>
                </a:lnTo>
                <a:lnTo>
                  <a:pt x="1360" y="44"/>
                </a:lnTo>
                <a:lnTo>
                  <a:pt x="1258" y="58"/>
                </a:lnTo>
                <a:lnTo>
                  <a:pt x="1626" y="34"/>
                </a:lnTo>
                <a:lnTo>
                  <a:pt x="1640" y="55"/>
                </a:lnTo>
                <a:lnTo>
                  <a:pt x="1591" y="67"/>
                </a:lnTo>
                <a:lnTo>
                  <a:pt x="1675" y="59"/>
                </a:lnTo>
                <a:lnTo>
                  <a:pt x="1772" y="83"/>
                </a:lnTo>
                <a:lnTo>
                  <a:pt x="1626" y="124"/>
                </a:lnTo>
                <a:lnTo>
                  <a:pt x="1392" y="120"/>
                </a:lnTo>
                <a:lnTo>
                  <a:pt x="1448" y="127"/>
                </a:lnTo>
                <a:lnTo>
                  <a:pt x="1349" y="144"/>
                </a:lnTo>
                <a:lnTo>
                  <a:pt x="1349" y="165"/>
                </a:lnTo>
                <a:lnTo>
                  <a:pt x="1607" y="133"/>
                </a:lnTo>
                <a:lnTo>
                  <a:pt x="1628" y="146"/>
                </a:lnTo>
                <a:lnTo>
                  <a:pt x="1574" y="177"/>
                </a:lnTo>
                <a:lnTo>
                  <a:pt x="1740" y="127"/>
                </a:lnTo>
                <a:lnTo>
                  <a:pt x="1749" y="175"/>
                </a:lnTo>
                <a:lnTo>
                  <a:pt x="1668" y="258"/>
                </a:lnTo>
                <a:lnTo>
                  <a:pt x="1827" y="163"/>
                </a:lnTo>
                <a:lnTo>
                  <a:pt x="1824" y="177"/>
                </a:lnTo>
                <a:lnTo>
                  <a:pt x="1900" y="176"/>
                </a:lnTo>
                <a:lnTo>
                  <a:pt x="1924" y="144"/>
                </a:lnTo>
                <a:lnTo>
                  <a:pt x="2007" y="140"/>
                </a:lnTo>
                <a:lnTo>
                  <a:pt x="2109" y="168"/>
                </a:lnTo>
                <a:lnTo>
                  <a:pt x="2009" y="209"/>
                </a:lnTo>
                <a:lnTo>
                  <a:pt x="2015" y="226"/>
                </a:lnTo>
                <a:lnTo>
                  <a:pt x="1787" y="250"/>
                </a:lnTo>
                <a:lnTo>
                  <a:pt x="1969" y="252"/>
                </a:lnTo>
                <a:lnTo>
                  <a:pt x="1820" y="286"/>
                </a:lnTo>
                <a:lnTo>
                  <a:pt x="1829" y="312"/>
                </a:lnTo>
                <a:lnTo>
                  <a:pt x="1930" y="286"/>
                </a:lnTo>
                <a:lnTo>
                  <a:pt x="1856" y="319"/>
                </a:lnTo>
                <a:lnTo>
                  <a:pt x="1847" y="361"/>
                </a:lnTo>
                <a:lnTo>
                  <a:pt x="1871" y="350"/>
                </a:lnTo>
                <a:lnTo>
                  <a:pt x="1801" y="388"/>
                </a:lnTo>
                <a:lnTo>
                  <a:pt x="1776" y="466"/>
                </a:lnTo>
                <a:lnTo>
                  <a:pt x="1813" y="449"/>
                </a:lnTo>
                <a:lnTo>
                  <a:pt x="1866" y="466"/>
                </a:lnTo>
                <a:lnTo>
                  <a:pt x="1818" y="466"/>
                </a:lnTo>
                <a:lnTo>
                  <a:pt x="1818" y="489"/>
                </a:lnTo>
                <a:lnTo>
                  <a:pt x="1898" y="499"/>
                </a:lnTo>
                <a:lnTo>
                  <a:pt x="1900" y="527"/>
                </a:lnTo>
                <a:lnTo>
                  <a:pt x="1780" y="522"/>
                </a:lnTo>
                <a:lnTo>
                  <a:pt x="1813" y="535"/>
                </a:lnTo>
                <a:lnTo>
                  <a:pt x="1746" y="543"/>
                </a:lnTo>
                <a:lnTo>
                  <a:pt x="1780" y="575"/>
                </a:lnTo>
                <a:lnTo>
                  <a:pt x="1842" y="576"/>
                </a:lnTo>
                <a:lnTo>
                  <a:pt x="1805" y="595"/>
                </a:lnTo>
                <a:lnTo>
                  <a:pt x="1854" y="612"/>
                </a:lnTo>
                <a:lnTo>
                  <a:pt x="1853" y="652"/>
                </a:lnTo>
                <a:lnTo>
                  <a:pt x="1763" y="628"/>
                </a:lnTo>
                <a:lnTo>
                  <a:pt x="1816" y="650"/>
                </a:lnTo>
                <a:lnTo>
                  <a:pt x="1784" y="663"/>
                </a:lnTo>
                <a:lnTo>
                  <a:pt x="1813" y="661"/>
                </a:lnTo>
                <a:lnTo>
                  <a:pt x="1805" y="686"/>
                </a:lnTo>
                <a:lnTo>
                  <a:pt x="1870" y="700"/>
                </a:lnTo>
                <a:lnTo>
                  <a:pt x="1768" y="692"/>
                </a:lnTo>
                <a:lnTo>
                  <a:pt x="1749" y="706"/>
                </a:lnTo>
                <a:lnTo>
                  <a:pt x="1827" y="738"/>
                </a:lnTo>
                <a:lnTo>
                  <a:pt x="1816" y="764"/>
                </a:lnTo>
                <a:lnTo>
                  <a:pt x="1754" y="780"/>
                </a:lnTo>
                <a:lnTo>
                  <a:pt x="1692" y="742"/>
                </a:lnTo>
                <a:lnTo>
                  <a:pt x="1599" y="776"/>
                </a:lnTo>
                <a:lnTo>
                  <a:pt x="1665" y="795"/>
                </a:lnTo>
                <a:lnTo>
                  <a:pt x="1602" y="813"/>
                </a:lnTo>
                <a:lnTo>
                  <a:pt x="1670" y="816"/>
                </a:lnTo>
                <a:lnTo>
                  <a:pt x="1648" y="855"/>
                </a:lnTo>
                <a:lnTo>
                  <a:pt x="1675" y="832"/>
                </a:lnTo>
                <a:lnTo>
                  <a:pt x="1749" y="864"/>
                </a:lnTo>
                <a:lnTo>
                  <a:pt x="1727" y="889"/>
                </a:lnTo>
                <a:lnTo>
                  <a:pt x="1768" y="879"/>
                </a:lnTo>
                <a:lnTo>
                  <a:pt x="1749" y="906"/>
                </a:lnTo>
                <a:lnTo>
                  <a:pt x="1778" y="894"/>
                </a:lnTo>
                <a:lnTo>
                  <a:pt x="1782" y="959"/>
                </a:lnTo>
                <a:lnTo>
                  <a:pt x="1749" y="934"/>
                </a:lnTo>
                <a:lnTo>
                  <a:pt x="1749" y="959"/>
                </a:lnTo>
                <a:lnTo>
                  <a:pt x="1717" y="958"/>
                </a:lnTo>
                <a:lnTo>
                  <a:pt x="1675" y="904"/>
                </a:lnTo>
                <a:lnTo>
                  <a:pt x="1575" y="873"/>
                </a:lnTo>
                <a:lnTo>
                  <a:pt x="1645" y="909"/>
                </a:lnTo>
                <a:lnTo>
                  <a:pt x="1552" y="928"/>
                </a:lnTo>
                <a:lnTo>
                  <a:pt x="1526" y="959"/>
                </a:lnTo>
                <a:lnTo>
                  <a:pt x="1612" y="966"/>
                </a:lnTo>
                <a:lnTo>
                  <a:pt x="1540" y="985"/>
                </a:lnTo>
                <a:lnTo>
                  <a:pt x="1650" y="963"/>
                </a:lnTo>
                <a:lnTo>
                  <a:pt x="1756" y="991"/>
                </a:lnTo>
                <a:lnTo>
                  <a:pt x="1618" y="1067"/>
                </a:lnTo>
                <a:lnTo>
                  <a:pt x="1483" y="1100"/>
                </a:lnTo>
                <a:lnTo>
                  <a:pt x="1434" y="1102"/>
                </a:lnTo>
                <a:lnTo>
                  <a:pt x="1404" y="1068"/>
                </a:lnTo>
                <a:lnTo>
                  <a:pt x="1420" y="1102"/>
                </a:lnTo>
                <a:lnTo>
                  <a:pt x="1379" y="1122"/>
                </a:lnTo>
                <a:lnTo>
                  <a:pt x="1329" y="1204"/>
                </a:lnTo>
                <a:lnTo>
                  <a:pt x="1288" y="1202"/>
                </a:lnTo>
                <a:lnTo>
                  <a:pt x="1279" y="1227"/>
                </a:lnTo>
                <a:lnTo>
                  <a:pt x="1239" y="1230"/>
                </a:lnTo>
                <a:lnTo>
                  <a:pt x="1219" y="1222"/>
                </a:lnTo>
                <a:lnTo>
                  <a:pt x="1246" y="1205"/>
                </a:lnTo>
                <a:lnTo>
                  <a:pt x="1218" y="1202"/>
                </a:lnTo>
                <a:lnTo>
                  <a:pt x="1203" y="1244"/>
                </a:lnTo>
                <a:lnTo>
                  <a:pt x="1140" y="1248"/>
                </a:lnTo>
                <a:lnTo>
                  <a:pt x="1141" y="1281"/>
                </a:lnTo>
                <a:lnTo>
                  <a:pt x="1102" y="1284"/>
                </a:lnTo>
                <a:lnTo>
                  <a:pt x="1136" y="1311"/>
                </a:lnTo>
                <a:lnTo>
                  <a:pt x="1091" y="1316"/>
                </a:lnTo>
                <a:lnTo>
                  <a:pt x="1126" y="1347"/>
                </a:lnTo>
                <a:lnTo>
                  <a:pt x="1094" y="1347"/>
                </a:lnTo>
                <a:lnTo>
                  <a:pt x="1119" y="1354"/>
                </a:lnTo>
                <a:lnTo>
                  <a:pt x="1094" y="1387"/>
                </a:lnTo>
                <a:lnTo>
                  <a:pt x="1074" y="1381"/>
                </a:lnTo>
                <a:lnTo>
                  <a:pt x="1091" y="1396"/>
                </a:lnTo>
                <a:lnTo>
                  <a:pt x="1048" y="1408"/>
                </a:lnTo>
                <a:lnTo>
                  <a:pt x="1074" y="1454"/>
                </a:lnTo>
                <a:lnTo>
                  <a:pt x="1048" y="1517"/>
                </a:lnTo>
                <a:lnTo>
                  <a:pt x="1016" y="1518"/>
                </a:lnTo>
                <a:lnTo>
                  <a:pt x="1040" y="1540"/>
                </a:lnTo>
                <a:lnTo>
                  <a:pt x="970" y="1540"/>
                </a:lnTo>
                <a:lnTo>
                  <a:pt x="961" y="1498"/>
                </a:lnTo>
                <a:lnTo>
                  <a:pt x="862" y="1503"/>
                </a:lnTo>
                <a:lnTo>
                  <a:pt x="885" y="1492"/>
                </a:lnTo>
                <a:lnTo>
                  <a:pt x="834" y="1475"/>
                </a:lnTo>
                <a:lnTo>
                  <a:pt x="859" y="1468"/>
                </a:lnTo>
                <a:lnTo>
                  <a:pt x="822" y="1468"/>
                </a:lnTo>
                <a:lnTo>
                  <a:pt x="835" y="1435"/>
                </a:lnTo>
                <a:lnTo>
                  <a:pt x="813" y="1442"/>
                </a:lnTo>
                <a:lnTo>
                  <a:pt x="747" y="1354"/>
                </a:lnTo>
                <a:lnTo>
                  <a:pt x="747" y="1327"/>
                </a:lnTo>
                <a:lnTo>
                  <a:pt x="796" y="1298"/>
                </a:lnTo>
                <a:lnTo>
                  <a:pt x="776" y="1289"/>
                </a:lnTo>
                <a:lnTo>
                  <a:pt x="726" y="1322"/>
                </a:lnTo>
                <a:lnTo>
                  <a:pt x="726" y="1256"/>
                </a:lnTo>
                <a:lnTo>
                  <a:pt x="680" y="1222"/>
                </a:lnTo>
                <a:lnTo>
                  <a:pt x="693" y="1169"/>
                </a:lnTo>
                <a:lnTo>
                  <a:pt x="665" y="1150"/>
                </a:lnTo>
                <a:lnTo>
                  <a:pt x="703" y="1104"/>
                </a:lnTo>
                <a:lnTo>
                  <a:pt x="680" y="1100"/>
                </a:lnTo>
                <a:lnTo>
                  <a:pt x="764" y="1100"/>
                </a:lnTo>
                <a:lnTo>
                  <a:pt x="756" y="1082"/>
                </a:lnTo>
                <a:lnTo>
                  <a:pt x="699" y="1084"/>
                </a:lnTo>
                <a:lnTo>
                  <a:pt x="785" y="1043"/>
                </a:lnTo>
                <a:lnTo>
                  <a:pt x="764" y="1030"/>
                </a:lnTo>
                <a:lnTo>
                  <a:pt x="785" y="985"/>
                </a:lnTo>
                <a:lnTo>
                  <a:pt x="715" y="983"/>
                </a:lnTo>
                <a:lnTo>
                  <a:pt x="637" y="947"/>
                </a:lnTo>
                <a:lnTo>
                  <a:pt x="776" y="966"/>
                </a:lnTo>
                <a:lnTo>
                  <a:pt x="752" y="950"/>
                </a:lnTo>
                <a:lnTo>
                  <a:pt x="776" y="943"/>
                </a:lnTo>
                <a:lnTo>
                  <a:pt x="721" y="916"/>
                </a:lnTo>
                <a:lnTo>
                  <a:pt x="741" y="904"/>
                </a:lnTo>
                <a:lnTo>
                  <a:pt x="711" y="914"/>
                </a:lnTo>
                <a:lnTo>
                  <a:pt x="730" y="895"/>
                </a:lnTo>
                <a:lnTo>
                  <a:pt x="694" y="897"/>
                </a:lnTo>
                <a:lnTo>
                  <a:pt x="735" y="882"/>
                </a:lnTo>
                <a:lnTo>
                  <a:pt x="674" y="861"/>
                </a:lnTo>
                <a:lnTo>
                  <a:pt x="660" y="895"/>
                </a:lnTo>
                <a:lnTo>
                  <a:pt x="609" y="897"/>
                </a:lnTo>
                <a:lnTo>
                  <a:pt x="599" y="882"/>
                </a:lnTo>
                <a:lnTo>
                  <a:pt x="633" y="861"/>
                </a:lnTo>
                <a:lnTo>
                  <a:pt x="606" y="861"/>
                </a:lnTo>
                <a:lnTo>
                  <a:pt x="637" y="804"/>
                </a:lnTo>
                <a:lnTo>
                  <a:pt x="601" y="794"/>
                </a:lnTo>
                <a:lnTo>
                  <a:pt x="619" y="768"/>
                </a:lnTo>
                <a:lnTo>
                  <a:pt x="562" y="697"/>
                </a:lnTo>
                <a:lnTo>
                  <a:pt x="581" y="696"/>
                </a:lnTo>
                <a:lnTo>
                  <a:pt x="504" y="635"/>
                </a:lnTo>
                <a:lnTo>
                  <a:pt x="504" y="612"/>
                </a:lnTo>
                <a:lnTo>
                  <a:pt x="419" y="582"/>
                </a:lnTo>
                <a:lnTo>
                  <a:pt x="340" y="565"/>
                </a:lnTo>
                <a:lnTo>
                  <a:pt x="269" y="593"/>
                </a:lnTo>
                <a:lnTo>
                  <a:pt x="210" y="575"/>
                </a:lnTo>
                <a:lnTo>
                  <a:pt x="232" y="598"/>
                </a:lnTo>
                <a:lnTo>
                  <a:pt x="170" y="587"/>
                </a:lnTo>
                <a:lnTo>
                  <a:pt x="117" y="564"/>
                </a:lnTo>
                <a:lnTo>
                  <a:pt x="170" y="543"/>
                </a:lnTo>
                <a:lnTo>
                  <a:pt x="53" y="522"/>
                </a:lnTo>
                <a:lnTo>
                  <a:pt x="96" y="502"/>
                </a:lnTo>
                <a:lnTo>
                  <a:pt x="236" y="508"/>
                </a:lnTo>
                <a:lnTo>
                  <a:pt x="253" y="500"/>
                </a:lnTo>
                <a:lnTo>
                  <a:pt x="228" y="488"/>
                </a:lnTo>
                <a:lnTo>
                  <a:pt x="252" y="476"/>
                </a:lnTo>
                <a:lnTo>
                  <a:pt x="126" y="484"/>
                </a:lnTo>
                <a:lnTo>
                  <a:pt x="0" y="43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56" name="Freeform 78"/>
          <p:cNvSpPr>
            <a:spLocks noChangeAspect="1"/>
          </p:cNvSpPr>
          <p:nvPr/>
        </p:nvSpPr>
        <p:spPr bwMode="gray">
          <a:xfrm>
            <a:off x="3276432" y="4238177"/>
            <a:ext cx="101970" cy="118836"/>
          </a:xfrm>
          <a:custGeom>
            <a:avLst/>
            <a:gdLst/>
            <a:ahLst/>
            <a:cxnLst>
              <a:cxn ang="0">
                <a:pos x="0" y="121"/>
              </a:cxn>
              <a:cxn ang="0">
                <a:pos x="30" y="66"/>
              </a:cxn>
              <a:cxn ang="0">
                <a:pos x="65" y="65"/>
              </a:cxn>
              <a:cxn ang="0">
                <a:pos x="27" y="19"/>
              </a:cxn>
              <a:cxn ang="0">
                <a:pos x="108" y="0"/>
              </a:cxn>
              <a:cxn ang="0">
                <a:pos x="119" y="72"/>
              </a:cxn>
              <a:cxn ang="0">
                <a:pos x="137" y="78"/>
              </a:cxn>
              <a:cxn ang="0">
                <a:pos x="101" y="123"/>
              </a:cxn>
              <a:cxn ang="0">
                <a:pos x="77" y="150"/>
              </a:cxn>
              <a:cxn ang="0">
                <a:pos x="0" y="121"/>
              </a:cxn>
            </a:cxnLst>
            <a:rect l="0" t="0" r="r" b="b"/>
            <a:pathLst>
              <a:path w="137" h="150">
                <a:moveTo>
                  <a:pt x="0" y="121"/>
                </a:moveTo>
                <a:lnTo>
                  <a:pt x="30" y="66"/>
                </a:lnTo>
                <a:lnTo>
                  <a:pt x="65" y="65"/>
                </a:lnTo>
                <a:lnTo>
                  <a:pt x="27" y="19"/>
                </a:lnTo>
                <a:lnTo>
                  <a:pt x="108" y="0"/>
                </a:lnTo>
                <a:lnTo>
                  <a:pt x="119" y="72"/>
                </a:lnTo>
                <a:lnTo>
                  <a:pt x="137" y="78"/>
                </a:lnTo>
                <a:lnTo>
                  <a:pt x="101" y="123"/>
                </a:lnTo>
                <a:lnTo>
                  <a:pt x="77" y="150"/>
                </a:lnTo>
                <a:lnTo>
                  <a:pt x="0" y="12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57" name="Freeform 79"/>
          <p:cNvSpPr>
            <a:spLocks noChangeAspect="1"/>
          </p:cNvSpPr>
          <p:nvPr/>
        </p:nvSpPr>
        <p:spPr bwMode="gray">
          <a:xfrm>
            <a:off x="4092196" y="4512013"/>
            <a:ext cx="123542" cy="180835"/>
          </a:xfrm>
          <a:custGeom>
            <a:avLst/>
            <a:gdLst/>
            <a:ahLst/>
            <a:cxnLst>
              <a:cxn ang="0">
                <a:pos x="0" y="77"/>
              </a:cxn>
              <a:cxn ang="0">
                <a:pos x="24" y="110"/>
              </a:cxn>
              <a:cxn ang="0">
                <a:pos x="56" y="135"/>
              </a:cxn>
              <a:cxn ang="0">
                <a:pos x="49" y="201"/>
              </a:cxn>
              <a:cxn ang="0">
                <a:pos x="67" y="236"/>
              </a:cxn>
              <a:cxn ang="0">
                <a:pos x="166" y="222"/>
              </a:cxn>
              <a:cxn ang="0">
                <a:pos x="110" y="149"/>
              </a:cxn>
              <a:cxn ang="0">
                <a:pos x="149" y="86"/>
              </a:cxn>
              <a:cxn ang="0">
                <a:pos x="50" y="0"/>
              </a:cxn>
              <a:cxn ang="0">
                <a:pos x="17" y="25"/>
              </a:cxn>
              <a:cxn ang="0">
                <a:pos x="31" y="48"/>
              </a:cxn>
              <a:cxn ang="0">
                <a:pos x="0" y="77"/>
              </a:cxn>
            </a:cxnLst>
            <a:rect l="0" t="0" r="r" b="b"/>
            <a:pathLst>
              <a:path w="166" h="236">
                <a:moveTo>
                  <a:pt x="0" y="77"/>
                </a:moveTo>
                <a:lnTo>
                  <a:pt x="24" y="110"/>
                </a:lnTo>
                <a:lnTo>
                  <a:pt x="56" y="135"/>
                </a:lnTo>
                <a:lnTo>
                  <a:pt x="49" y="201"/>
                </a:lnTo>
                <a:lnTo>
                  <a:pt x="67" y="236"/>
                </a:lnTo>
                <a:lnTo>
                  <a:pt x="166" y="222"/>
                </a:lnTo>
                <a:lnTo>
                  <a:pt x="110" y="149"/>
                </a:lnTo>
                <a:lnTo>
                  <a:pt x="149" y="86"/>
                </a:lnTo>
                <a:lnTo>
                  <a:pt x="50" y="0"/>
                </a:lnTo>
                <a:lnTo>
                  <a:pt x="17" y="25"/>
                </a:lnTo>
                <a:lnTo>
                  <a:pt x="31" y="48"/>
                </a:lnTo>
                <a:lnTo>
                  <a:pt x="0" y="7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58" name="Freeform 80"/>
          <p:cNvSpPr>
            <a:spLocks noChangeAspect="1"/>
          </p:cNvSpPr>
          <p:nvPr/>
        </p:nvSpPr>
        <p:spPr bwMode="gray">
          <a:xfrm>
            <a:off x="3743143" y="4184786"/>
            <a:ext cx="66673" cy="51667"/>
          </a:xfrm>
          <a:custGeom>
            <a:avLst/>
            <a:gdLst/>
            <a:ahLst/>
            <a:cxnLst>
              <a:cxn ang="0">
                <a:pos x="0" y="49"/>
              </a:cxn>
              <a:cxn ang="0">
                <a:pos x="68" y="48"/>
              </a:cxn>
              <a:cxn ang="0">
                <a:pos x="36" y="5"/>
              </a:cxn>
              <a:cxn ang="0">
                <a:pos x="90" y="0"/>
              </a:cxn>
              <a:cxn ang="0">
                <a:pos x="90" y="66"/>
              </a:cxn>
              <a:cxn ang="0">
                <a:pos x="0" y="49"/>
              </a:cxn>
            </a:cxnLst>
            <a:rect l="0" t="0" r="r" b="b"/>
            <a:pathLst>
              <a:path w="90" h="66">
                <a:moveTo>
                  <a:pt x="0" y="49"/>
                </a:moveTo>
                <a:lnTo>
                  <a:pt x="68" y="48"/>
                </a:lnTo>
                <a:lnTo>
                  <a:pt x="36" y="5"/>
                </a:lnTo>
                <a:lnTo>
                  <a:pt x="90" y="0"/>
                </a:lnTo>
                <a:lnTo>
                  <a:pt x="90" y="66"/>
                </a:lnTo>
                <a:lnTo>
                  <a:pt x="0" y="4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59" name="Freeform 81"/>
          <p:cNvSpPr>
            <a:spLocks noChangeAspect="1"/>
          </p:cNvSpPr>
          <p:nvPr/>
        </p:nvSpPr>
        <p:spPr bwMode="gray">
          <a:xfrm>
            <a:off x="3352910" y="4295008"/>
            <a:ext cx="156877" cy="84390"/>
          </a:xfrm>
          <a:custGeom>
            <a:avLst/>
            <a:gdLst/>
            <a:ahLst/>
            <a:cxnLst>
              <a:cxn ang="0">
                <a:pos x="0" y="51"/>
              </a:cxn>
              <a:cxn ang="0">
                <a:pos x="36" y="6"/>
              </a:cxn>
              <a:cxn ang="0">
                <a:pos x="151" y="0"/>
              </a:cxn>
              <a:cxn ang="0">
                <a:pos x="211" y="32"/>
              </a:cxn>
              <a:cxn ang="0">
                <a:pos x="161" y="38"/>
              </a:cxn>
              <a:cxn ang="0">
                <a:pos x="73" y="104"/>
              </a:cxn>
              <a:cxn ang="0">
                <a:pos x="57" y="87"/>
              </a:cxn>
              <a:cxn ang="0">
                <a:pos x="0" y="51"/>
              </a:cxn>
            </a:cxnLst>
            <a:rect l="0" t="0" r="r" b="b"/>
            <a:pathLst>
              <a:path w="211" h="104">
                <a:moveTo>
                  <a:pt x="0" y="51"/>
                </a:moveTo>
                <a:lnTo>
                  <a:pt x="36" y="6"/>
                </a:lnTo>
                <a:lnTo>
                  <a:pt x="151" y="0"/>
                </a:lnTo>
                <a:lnTo>
                  <a:pt x="211" y="32"/>
                </a:lnTo>
                <a:lnTo>
                  <a:pt x="161" y="38"/>
                </a:lnTo>
                <a:lnTo>
                  <a:pt x="73" y="104"/>
                </a:lnTo>
                <a:lnTo>
                  <a:pt x="57" y="87"/>
                </a:lnTo>
                <a:lnTo>
                  <a:pt x="0" y="5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60" name="Freeform 82"/>
          <p:cNvSpPr>
            <a:spLocks noChangeAspect="1"/>
          </p:cNvSpPr>
          <p:nvPr/>
        </p:nvSpPr>
        <p:spPr bwMode="gray">
          <a:xfrm>
            <a:off x="6119836" y="3285781"/>
            <a:ext cx="172565" cy="98168"/>
          </a:xfrm>
          <a:custGeom>
            <a:avLst/>
            <a:gdLst/>
            <a:ahLst/>
            <a:cxnLst>
              <a:cxn ang="0">
                <a:pos x="0" y="71"/>
              </a:cxn>
              <a:cxn ang="0">
                <a:pos x="35" y="20"/>
              </a:cxn>
              <a:cxn ang="0">
                <a:pos x="82" y="35"/>
              </a:cxn>
              <a:cxn ang="0">
                <a:pos x="162" y="0"/>
              </a:cxn>
              <a:cxn ang="0">
                <a:pos x="209" y="8"/>
              </a:cxn>
              <a:cxn ang="0">
                <a:pos x="232" y="26"/>
              </a:cxn>
              <a:cxn ang="0">
                <a:pos x="143" y="107"/>
              </a:cxn>
              <a:cxn ang="0">
                <a:pos x="67" y="121"/>
              </a:cxn>
              <a:cxn ang="0">
                <a:pos x="0" y="71"/>
              </a:cxn>
            </a:cxnLst>
            <a:rect l="0" t="0" r="r" b="b"/>
            <a:pathLst>
              <a:path w="232" h="121">
                <a:moveTo>
                  <a:pt x="0" y="71"/>
                </a:moveTo>
                <a:lnTo>
                  <a:pt x="35" y="20"/>
                </a:lnTo>
                <a:lnTo>
                  <a:pt x="82" y="35"/>
                </a:lnTo>
                <a:lnTo>
                  <a:pt x="162" y="0"/>
                </a:lnTo>
                <a:lnTo>
                  <a:pt x="209" y="8"/>
                </a:lnTo>
                <a:lnTo>
                  <a:pt x="232" y="26"/>
                </a:lnTo>
                <a:lnTo>
                  <a:pt x="143" y="107"/>
                </a:lnTo>
                <a:lnTo>
                  <a:pt x="67" y="121"/>
                </a:lnTo>
                <a:lnTo>
                  <a:pt x="0" y="7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61" name="Freeform 83"/>
          <p:cNvSpPr>
            <a:spLocks noChangeAspect="1"/>
          </p:cNvSpPr>
          <p:nvPr/>
        </p:nvSpPr>
        <p:spPr bwMode="gray">
          <a:xfrm>
            <a:off x="5051110" y="2569331"/>
            <a:ext cx="292185" cy="139502"/>
          </a:xfrm>
          <a:custGeom>
            <a:avLst/>
            <a:gdLst/>
            <a:ahLst/>
            <a:cxnLst>
              <a:cxn ang="0">
                <a:pos x="0" y="62"/>
              </a:cxn>
              <a:cxn ang="0">
                <a:pos x="24" y="53"/>
              </a:cxn>
              <a:cxn ang="0">
                <a:pos x="10" y="37"/>
              </a:cxn>
              <a:cxn ang="0">
                <a:pos x="43" y="47"/>
              </a:cxn>
              <a:cxn ang="0">
                <a:pos x="28" y="19"/>
              </a:cxn>
              <a:cxn ang="0">
                <a:pos x="65" y="36"/>
              </a:cxn>
              <a:cxn ang="0">
                <a:pos x="46" y="2"/>
              </a:cxn>
              <a:cxn ang="0">
                <a:pos x="106" y="29"/>
              </a:cxn>
              <a:cxn ang="0">
                <a:pos x="111" y="74"/>
              </a:cxn>
              <a:cxn ang="0">
                <a:pos x="143" y="24"/>
              </a:cxn>
              <a:cxn ang="0">
                <a:pos x="174" y="42"/>
              </a:cxn>
              <a:cxn ang="0">
                <a:pos x="198" y="18"/>
              </a:cxn>
              <a:cxn ang="0">
                <a:pos x="220" y="50"/>
              </a:cxn>
              <a:cxn ang="0">
                <a:pos x="214" y="19"/>
              </a:cxn>
              <a:cxn ang="0">
                <a:pos x="276" y="19"/>
              </a:cxn>
              <a:cxn ang="0">
                <a:pos x="285" y="0"/>
              </a:cxn>
              <a:cxn ang="0">
                <a:pos x="313" y="18"/>
              </a:cxn>
              <a:cxn ang="0">
                <a:pos x="347" y="11"/>
              </a:cxn>
              <a:cxn ang="0">
                <a:pos x="323" y="24"/>
              </a:cxn>
              <a:cxn ang="0">
                <a:pos x="381" y="79"/>
              </a:cxn>
              <a:cxn ang="0">
                <a:pos x="331" y="128"/>
              </a:cxn>
              <a:cxn ang="0">
                <a:pos x="189" y="174"/>
              </a:cxn>
              <a:cxn ang="0">
                <a:pos x="63" y="154"/>
              </a:cxn>
              <a:cxn ang="0">
                <a:pos x="94" y="108"/>
              </a:cxn>
              <a:cxn ang="0">
                <a:pos x="19" y="92"/>
              </a:cxn>
              <a:cxn ang="0">
                <a:pos x="92" y="88"/>
              </a:cxn>
              <a:cxn ang="0">
                <a:pos x="65" y="75"/>
              </a:cxn>
              <a:cxn ang="0">
                <a:pos x="93" y="62"/>
              </a:cxn>
              <a:cxn ang="0">
                <a:pos x="0" y="62"/>
              </a:cxn>
            </a:cxnLst>
            <a:rect l="0" t="0" r="r" b="b"/>
            <a:pathLst>
              <a:path w="381" h="174">
                <a:moveTo>
                  <a:pt x="0" y="62"/>
                </a:moveTo>
                <a:lnTo>
                  <a:pt x="24" y="53"/>
                </a:lnTo>
                <a:lnTo>
                  <a:pt x="10" y="37"/>
                </a:lnTo>
                <a:lnTo>
                  <a:pt x="43" y="47"/>
                </a:lnTo>
                <a:lnTo>
                  <a:pt x="28" y="19"/>
                </a:lnTo>
                <a:lnTo>
                  <a:pt x="65" y="36"/>
                </a:lnTo>
                <a:lnTo>
                  <a:pt x="46" y="2"/>
                </a:lnTo>
                <a:lnTo>
                  <a:pt x="106" y="29"/>
                </a:lnTo>
                <a:lnTo>
                  <a:pt x="111" y="74"/>
                </a:lnTo>
                <a:lnTo>
                  <a:pt x="143" y="24"/>
                </a:lnTo>
                <a:lnTo>
                  <a:pt x="174" y="42"/>
                </a:lnTo>
                <a:lnTo>
                  <a:pt x="198" y="18"/>
                </a:lnTo>
                <a:lnTo>
                  <a:pt x="220" y="50"/>
                </a:lnTo>
                <a:lnTo>
                  <a:pt x="214" y="19"/>
                </a:lnTo>
                <a:lnTo>
                  <a:pt x="276" y="19"/>
                </a:lnTo>
                <a:lnTo>
                  <a:pt x="285" y="0"/>
                </a:lnTo>
                <a:lnTo>
                  <a:pt x="313" y="18"/>
                </a:lnTo>
                <a:lnTo>
                  <a:pt x="347" y="11"/>
                </a:lnTo>
                <a:lnTo>
                  <a:pt x="323" y="24"/>
                </a:lnTo>
                <a:lnTo>
                  <a:pt x="381" y="79"/>
                </a:lnTo>
                <a:lnTo>
                  <a:pt x="331" y="128"/>
                </a:lnTo>
                <a:lnTo>
                  <a:pt x="189" y="174"/>
                </a:lnTo>
                <a:lnTo>
                  <a:pt x="63" y="154"/>
                </a:lnTo>
                <a:lnTo>
                  <a:pt x="94" y="108"/>
                </a:lnTo>
                <a:lnTo>
                  <a:pt x="19" y="92"/>
                </a:lnTo>
                <a:lnTo>
                  <a:pt x="92" y="88"/>
                </a:lnTo>
                <a:lnTo>
                  <a:pt x="65" y="75"/>
                </a:lnTo>
                <a:lnTo>
                  <a:pt x="93" y="62"/>
                </a:lnTo>
                <a:lnTo>
                  <a:pt x="0" y="6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62" name="Freeform 84"/>
          <p:cNvSpPr>
            <a:spLocks noChangeAspect="1"/>
          </p:cNvSpPr>
          <p:nvPr/>
        </p:nvSpPr>
        <p:spPr bwMode="gray">
          <a:xfrm>
            <a:off x="7482711" y="3702562"/>
            <a:ext cx="766739" cy="811174"/>
          </a:xfrm>
          <a:custGeom>
            <a:avLst/>
            <a:gdLst/>
            <a:ahLst/>
            <a:cxnLst>
              <a:cxn ang="0">
                <a:pos x="0" y="462"/>
              </a:cxn>
              <a:cxn ang="0">
                <a:pos x="29" y="439"/>
              </a:cxn>
              <a:cxn ang="0">
                <a:pos x="107" y="439"/>
              </a:cxn>
              <a:cxn ang="0">
                <a:pos x="53" y="333"/>
              </a:cxn>
              <a:cxn ang="0">
                <a:pos x="84" y="304"/>
              </a:cxn>
              <a:cxn ang="0">
                <a:pos x="131" y="308"/>
              </a:cxn>
              <a:cxn ang="0">
                <a:pos x="233" y="192"/>
              </a:cxn>
              <a:cxn ang="0">
                <a:pos x="226" y="160"/>
              </a:cxn>
              <a:cxn ang="0">
                <a:pos x="253" y="141"/>
              </a:cxn>
              <a:cxn ang="0">
                <a:pos x="208" y="106"/>
              </a:cxn>
              <a:cxn ang="0">
                <a:pos x="206" y="49"/>
              </a:cxn>
              <a:cxn ang="0">
                <a:pos x="305" y="49"/>
              </a:cxn>
              <a:cxn ang="0">
                <a:pos x="335" y="22"/>
              </a:cxn>
              <a:cxn ang="0">
                <a:pos x="389" y="0"/>
              </a:cxn>
              <a:cxn ang="0">
                <a:pos x="427" y="20"/>
              </a:cxn>
              <a:cxn ang="0">
                <a:pos x="378" y="79"/>
              </a:cxn>
              <a:cxn ang="0">
                <a:pos x="401" y="127"/>
              </a:cxn>
              <a:cxn ang="0">
                <a:pos x="363" y="134"/>
              </a:cxn>
              <a:cxn ang="0">
                <a:pos x="380" y="194"/>
              </a:cxn>
              <a:cxn ang="0">
                <a:pos x="452" y="220"/>
              </a:cxn>
              <a:cxn ang="0">
                <a:pos x="418" y="276"/>
              </a:cxn>
              <a:cxn ang="0">
                <a:pos x="511" y="329"/>
              </a:cxn>
              <a:cxn ang="0">
                <a:pos x="692" y="363"/>
              </a:cxn>
              <a:cxn ang="0">
                <a:pos x="696" y="310"/>
              </a:cxn>
              <a:cxn ang="0">
                <a:pos x="719" y="304"/>
              </a:cxn>
              <a:cxn ang="0">
                <a:pos x="724" y="330"/>
              </a:cxn>
              <a:cxn ang="0">
                <a:pos x="737" y="353"/>
              </a:cxn>
              <a:cxn ang="0">
                <a:pos x="829" y="343"/>
              </a:cxn>
              <a:cxn ang="0">
                <a:pos x="823" y="311"/>
              </a:cxn>
              <a:cxn ang="0">
                <a:pos x="972" y="249"/>
              </a:cxn>
              <a:cxn ang="0">
                <a:pos x="983" y="286"/>
              </a:cxn>
              <a:cxn ang="0">
                <a:pos x="1020" y="300"/>
              </a:cxn>
              <a:cxn ang="0">
                <a:pos x="1005" y="337"/>
              </a:cxn>
              <a:cxn ang="0">
                <a:pos x="944" y="360"/>
              </a:cxn>
              <a:cxn ang="0">
                <a:pos x="853" y="528"/>
              </a:cxn>
              <a:cxn ang="0">
                <a:pos x="835" y="461"/>
              </a:cxn>
              <a:cxn ang="0">
                <a:pos x="819" y="486"/>
              </a:cxn>
              <a:cxn ang="0">
                <a:pos x="797" y="453"/>
              </a:cxn>
              <a:cxn ang="0">
                <a:pos x="837" y="412"/>
              </a:cxn>
              <a:cxn ang="0">
                <a:pos x="759" y="406"/>
              </a:cxn>
              <a:cxn ang="0">
                <a:pos x="709" y="359"/>
              </a:cxn>
              <a:cxn ang="0">
                <a:pos x="693" y="385"/>
              </a:cxn>
              <a:cxn ang="0">
                <a:pos x="711" y="406"/>
              </a:cxn>
              <a:cxn ang="0">
                <a:pos x="687" y="420"/>
              </a:cxn>
              <a:cxn ang="0">
                <a:pos x="710" y="442"/>
              </a:cxn>
              <a:cxn ang="0">
                <a:pos x="724" y="538"/>
              </a:cxn>
              <a:cxn ang="0">
                <a:pos x="693" y="522"/>
              </a:cxn>
              <a:cxn ang="0">
                <a:pos x="634" y="598"/>
              </a:cxn>
              <a:cxn ang="0">
                <a:pos x="424" y="750"/>
              </a:cxn>
              <a:cxn ang="0">
                <a:pos x="409" y="939"/>
              </a:cxn>
              <a:cxn ang="0">
                <a:pos x="321" y="1015"/>
              </a:cxn>
              <a:cxn ang="0">
                <a:pos x="243" y="869"/>
              </a:cxn>
              <a:cxn ang="0">
                <a:pos x="211" y="753"/>
              </a:cxn>
              <a:cxn ang="0">
                <a:pos x="183" y="726"/>
              </a:cxn>
              <a:cxn ang="0">
                <a:pos x="161" y="516"/>
              </a:cxn>
              <a:cxn ang="0">
                <a:pos x="144" y="508"/>
              </a:cxn>
              <a:cxn ang="0">
                <a:pos x="132" y="555"/>
              </a:cxn>
              <a:cxn ang="0">
                <a:pos x="82" y="567"/>
              </a:cxn>
              <a:cxn ang="0">
                <a:pos x="31" y="512"/>
              </a:cxn>
              <a:cxn ang="0">
                <a:pos x="80" y="483"/>
              </a:cxn>
              <a:cxn ang="0">
                <a:pos x="31" y="494"/>
              </a:cxn>
              <a:cxn ang="0">
                <a:pos x="0" y="462"/>
              </a:cxn>
            </a:cxnLst>
            <a:rect l="0" t="0" r="r" b="b"/>
            <a:pathLst>
              <a:path w="1020" h="1015">
                <a:moveTo>
                  <a:pt x="0" y="462"/>
                </a:moveTo>
                <a:lnTo>
                  <a:pt x="29" y="439"/>
                </a:lnTo>
                <a:lnTo>
                  <a:pt x="107" y="439"/>
                </a:lnTo>
                <a:lnTo>
                  <a:pt x="53" y="333"/>
                </a:lnTo>
                <a:lnTo>
                  <a:pt x="84" y="304"/>
                </a:lnTo>
                <a:lnTo>
                  <a:pt x="131" y="308"/>
                </a:lnTo>
                <a:lnTo>
                  <a:pt x="233" y="192"/>
                </a:lnTo>
                <a:lnTo>
                  <a:pt x="226" y="160"/>
                </a:lnTo>
                <a:lnTo>
                  <a:pt x="253" y="141"/>
                </a:lnTo>
                <a:lnTo>
                  <a:pt x="208" y="106"/>
                </a:lnTo>
                <a:lnTo>
                  <a:pt x="206" y="49"/>
                </a:lnTo>
                <a:lnTo>
                  <a:pt x="305" y="49"/>
                </a:lnTo>
                <a:lnTo>
                  <a:pt x="335" y="22"/>
                </a:lnTo>
                <a:lnTo>
                  <a:pt x="389" y="0"/>
                </a:lnTo>
                <a:lnTo>
                  <a:pt x="427" y="20"/>
                </a:lnTo>
                <a:lnTo>
                  <a:pt x="378" y="79"/>
                </a:lnTo>
                <a:lnTo>
                  <a:pt x="401" y="127"/>
                </a:lnTo>
                <a:lnTo>
                  <a:pt x="363" y="134"/>
                </a:lnTo>
                <a:lnTo>
                  <a:pt x="380" y="194"/>
                </a:lnTo>
                <a:lnTo>
                  <a:pt x="452" y="220"/>
                </a:lnTo>
                <a:lnTo>
                  <a:pt x="418" y="276"/>
                </a:lnTo>
                <a:lnTo>
                  <a:pt x="511" y="329"/>
                </a:lnTo>
                <a:lnTo>
                  <a:pt x="692" y="363"/>
                </a:lnTo>
                <a:lnTo>
                  <a:pt x="696" y="310"/>
                </a:lnTo>
                <a:lnTo>
                  <a:pt x="719" y="304"/>
                </a:lnTo>
                <a:lnTo>
                  <a:pt x="724" y="330"/>
                </a:lnTo>
                <a:lnTo>
                  <a:pt x="737" y="353"/>
                </a:lnTo>
                <a:lnTo>
                  <a:pt x="829" y="343"/>
                </a:lnTo>
                <a:lnTo>
                  <a:pt x="823" y="311"/>
                </a:lnTo>
                <a:lnTo>
                  <a:pt x="972" y="249"/>
                </a:lnTo>
                <a:lnTo>
                  <a:pt x="983" y="286"/>
                </a:lnTo>
                <a:lnTo>
                  <a:pt x="1020" y="300"/>
                </a:lnTo>
                <a:lnTo>
                  <a:pt x="1005" y="337"/>
                </a:lnTo>
                <a:lnTo>
                  <a:pt x="944" y="360"/>
                </a:lnTo>
                <a:lnTo>
                  <a:pt x="853" y="528"/>
                </a:lnTo>
                <a:lnTo>
                  <a:pt x="835" y="461"/>
                </a:lnTo>
                <a:lnTo>
                  <a:pt x="819" y="486"/>
                </a:lnTo>
                <a:lnTo>
                  <a:pt x="797" y="453"/>
                </a:lnTo>
                <a:lnTo>
                  <a:pt x="837" y="412"/>
                </a:lnTo>
                <a:lnTo>
                  <a:pt x="759" y="406"/>
                </a:lnTo>
                <a:lnTo>
                  <a:pt x="709" y="359"/>
                </a:lnTo>
                <a:lnTo>
                  <a:pt x="693" y="385"/>
                </a:lnTo>
                <a:lnTo>
                  <a:pt x="711" y="406"/>
                </a:lnTo>
                <a:lnTo>
                  <a:pt x="687" y="420"/>
                </a:lnTo>
                <a:lnTo>
                  <a:pt x="710" y="442"/>
                </a:lnTo>
                <a:lnTo>
                  <a:pt x="724" y="538"/>
                </a:lnTo>
                <a:lnTo>
                  <a:pt x="693" y="522"/>
                </a:lnTo>
                <a:lnTo>
                  <a:pt x="634" y="598"/>
                </a:lnTo>
                <a:lnTo>
                  <a:pt x="424" y="750"/>
                </a:lnTo>
                <a:lnTo>
                  <a:pt x="409" y="939"/>
                </a:lnTo>
                <a:lnTo>
                  <a:pt x="321" y="1015"/>
                </a:lnTo>
                <a:lnTo>
                  <a:pt x="243" y="869"/>
                </a:lnTo>
                <a:lnTo>
                  <a:pt x="211" y="753"/>
                </a:lnTo>
                <a:lnTo>
                  <a:pt x="183" y="726"/>
                </a:lnTo>
                <a:lnTo>
                  <a:pt x="161" y="516"/>
                </a:lnTo>
                <a:lnTo>
                  <a:pt x="144" y="508"/>
                </a:lnTo>
                <a:lnTo>
                  <a:pt x="132" y="555"/>
                </a:lnTo>
                <a:lnTo>
                  <a:pt x="82" y="567"/>
                </a:lnTo>
                <a:lnTo>
                  <a:pt x="31" y="512"/>
                </a:lnTo>
                <a:lnTo>
                  <a:pt x="80" y="483"/>
                </a:lnTo>
                <a:lnTo>
                  <a:pt x="31" y="494"/>
                </a:lnTo>
                <a:lnTo>
                  <a:pt x="0" y="462"/>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63" name="Freeform 85"/>
          <p:cNvSpPr>
            <a:spLocks noChangeAspect="1"/>
          </p:cNvSpPr>
          <p:nvPr/>
        </p:nvSpPr>
        <p:spPr bwMode="gray">
          <a:xfrm>
            <a:off x="8196503" y="4582624"/>
            <a:ext cx="286301" cy="315170"/>
          </a:xfrm>
          <a:custGeom>
            <a:avLst/>
            <a:gdLst/>
            <a:ahLst/>
            <a:cxnLst>
              <a:cxn ang="0">
                <a:pos x="0" y="0"/>
              </a:cxn>
              <a:cxn ang="0">
                <a:pos x="83" y="16"/>
              </a:cxn>
              <a:cxn ang="0">
                <a:pos x="188" y="119"/>
              </a:cxn>
              <a:cxn ang="0">
                <a:pos x="274" y="157"/>
              </a:cxn>
              <a:cxn ang="0">
                <a:pos x="264" y="185"/>
              </a:cxn>
              <a:cxn ang="0">
                <a:pos x="295" y="183"/>
              </a:cxn>
              <a:cxn ang="0">
                <a:pos x="290" y="221"/>
              </a:cxn>
              <a:cxn ang="0">
                <a:pos x="377" y="294"/>
              </a:cxn>
              <a:cxn ang="0">
                <a:pos x="367" y="393"/>
              </a:cxn>
              <a:cxn ang="0">
                <a:pos x="330" y="394"/>
              </a:cxn>
              <a:cxn ang="0">
                <a:pos x="253" y="337"/>
              </a:cxn>
              <a:cxn ang="0">
                <a:pos x="129" y="139"/>
              </a:cxn>
              <a:cxn ang="0">
                <a:pos x="0" y="0"/>
              </a:cxn>
            </a:cxnLst>
            <a:rect l="0" t="0" r="r" b="b"/>
            <a:pathLst>
              <a:path w="377" h="394">
                <a:moveTo>
                  <a:pt x="0" y="0"/>
                </a:moveTo>
                <a:lnTo>
                  <a:pt x="83" y="16"/>
                </a:lnTo>
                <a:lnTo>
                  <a:pt x="188" y="119"/>
                </a:lnTo>
                <a:lnTo>
                  <a:pt x="274" y="157"/>
                </a:lnTo>
                <a:lnTo>
                  <a:pt x="264" y="185"/>
                </a:lnTo>
                <a:lnTo>
                  <a:pt x="295" y="183"/>
                </a:lnTo>
                <a:lnTo>
                  <a:pt x="290" y="221"/>
                </a:lnTo>
                <a:lnTo>
                  <a:pt x="377" y="294"/>
                </a:lnTo>
                <a:lnTo>
                  <a:pt x="367" y="393"/>
                </a:lnTo>
                <a:lnTo>
                  <a:pt x="330" y="394"/>
                </a:lnTo>
                <a:lnTo>
                  <a:pt x="253" y="337"/>
                </a:lnTo>
                <a:lnTo>
                  <a:pt x="129" y="139"/>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64" name="Freeform 86"/>
          <p:cNvSpPr>
            <a:spLocks noChangeAspect="1"/>
          </p:cNvSpPr>
          <p:nvPr/>
        </p:nvSpPr>
        <p:spPr bwMode="gray">
          <a:xfrm>
            <a:off x="8463191" y="4901239"/>
            <a:ext cx="237278" cy="77502"/>
          </a:xfrm>
          <a:custGeom>
            <a:avLst/>
            <a:gdLst/>
            <a:ahLst/>
            <a:cxnLst>
              <a:cxn ang="0">
                <a:pos x="0" y="28"/>
              </a:cxn>
              <a:cxn ang="0">
                <a:pos x="21" y="0"/>
              </a:cxn>
              <a:cxn ang="0">
                <a:pos x="242" y="31"/>
              </a:cxn>
              <a:cxn ang="0">
                <a:pos x="264" y="56"/>
              </a:cxn>
              <a:cxn ang="0">
                <a:pos x="309" y="65"/>
              </a:cxn>
              <a:cxn ang="0">
                <a:pos x="315" y="99"/>
              </a:cxn>
              <a:cxn ang="0">
                <a:pos x="55" y="51"/>
              </a:cxn>
              <a:cxn ang="0">
                <a:pos x="0" y="28"/>
              </a:cxn>
            </a:cxnLst>
            <a:rect l="0" t="0" r="r" b="b"/>
            <a:pathLst>
              <a:path w="315" h="99">
                <a:moveTo>
                  <a:pt x="0" y="28"/>
                </a:moveTo>
                <a:lnTo>
                  <a:pt x="21" y="0"/>
                </a:lnTo>
                <a:lnTo>
                  <a:pt x="242" y="31"/>
                </a:lnTo>
                <a:lnTo>
                  <a:pt x="264" y="56"/>
                </a:lnTo>
                <a:lnTo>
                  <a:pt x="309" y="65"/>
                </a:lnTo>
                <a:lnTo>
                  <a:pt x="315" y="99"/>
                </a:lnTo>
                <a:lnTo>
                  <a:pt x="55" y="51"/>
                </a:lnTo>
                <a:lnTo>
                  <a:pt x="0" y="2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65" name="Freeform 87"/>
          <p:cNvSpPr>
            <a:spLocks noChangeAspect="1"/>
          </p:cNvSpPr>
          <p:nvPr/>
        </p:nvSpPr>
        <p:spPr bwMode="gray">
          <a:xfrm>
            <a:off x="8559282" y="4617068"/>
            <a:ext cx="260809" cy="234224"/>
          </a:xfrm>
          <a:custGeom>
            <a:avLst/>
            <a:gdLst/>
            <a:ahLst/>
            <a:cxnLst>
              <a:cxn ang="0">
                <a:pos x="0" y="131"/>
              </a:cxn>
              <a:cxn ang="0">
                <a:pos x="23" y="93"/>
              </a:cxn>
              <a:cxn ang="0">
                <a:pos x="51" y="116"/>
              </a:cxn>
              <a:cxn ang="0">
                <a:pos x="156" y="107"/>
              </a:cxn>
              <a:cxn ang="0">
                <a:pos x="190" y="95"/>
              </a:cxn>
              <a:cxn ang="0">
                <a:pos x="236" y="0"/>
              </a:cxn>
              <a:cxn ang="0">
                <a:pos x="296" y="3"/>
              </a:cxn>
              <a:cxn ang="0">
                <a:pos x="283" y="28"/>
              </a:cxn>
              <a:cxn ang="0">
                <a:pos x="342" y="116"/>
              </a:cxn>
              <a:cxn ang="0">
                <a:pos x="309" y="110"/>
              </a:cxn>
              <a:cxn ang="0">
                <a:pos x="250" y="209"/>
              </a:cxn>
              <a:cxn ang="0">
                <a:pos x="242" y="272"/>
              </a:cxn>
              <a:cxn ang="0">
                <a:pos x="204" y="291"/>
              </a:cxn>
              <a:cxn ang="0">
                <a:pos x="139" y="254"/>
              </a:cxn>
              <a:cxn ang="0">
                <a:pos x="100" y="271"/>
              </a:cxn>
              <a:cxn ang="0">
                <a:pos x="95" y="241"/>
              </a:cxn>
              <a:cxn ang="0">
                <a:pos x="41" y="247"/>
              </a:cxn>
              <a:cxn ang="0">
                <a:pos x="0" y="131"/>
              </a:cxn>
            </a:cxnLst>
            <a:rect l="0" t="0" r="r" b="b"/>
            <a:pathLst>
              <a:path w="342" h="291">
                <a:moveTo>
                  <a:pt x="0" y="131"/>
                </a:moveTo>
                <a:lnTo>
                  <a:pt x="23" y="93"/>
                </a:lnTo>
                <a:lnTo>
                  <a:pt x="51" y="116"/>
                </a:lnTo>
                <a:lnTo>
                  <a:pt x="156" y="107"/>
                </a:lnTo>
                <a:lnTo>
                  <a:pt x="190" y="95"/>
                </a:lnTo>
                <a:lnTo>
                  <a:pt x="236" y="0"/>
                </a:lnTo>
                <a:lnTo>
                  <a:pt x="296" y="3"/>
                </a:lnTo>
                <a:lnTo>
                  <a:pt x="283" y="28"/>
                </a:lnTo>
                <a:lnTo>
                  <a:pt x="342" y="116"/>
                </a:lnTo>
                <a:lnTo>
                  <a:pt x="309" y="110"/>
                </a:lnTo>
                <a:lnTo>
                  <a:pt x="250" y="209"/>
                </a:lnTo>
                <a:lnTo>
                  <a:pt x="242" y="272"/>
                </a:lnTo>
                <a:lnTo>
                  <a:pt x="204" y="291"/>
                </a:lnTo>
                <a:lnTo>
                  <a:pt x="139" y="254"/>
                </a:lnTo>
                <a:lnTo>
                  <a:pt x="100" y="271"/>
                </a:lnTo>
                <a:lnTo>
                  <a:pt x="95" y="241"/>
                </a:lnTo>
                <a:lnTo>
                  <a:pt x="41" y="247"/>
                </a:lnTo>
                <a:lnTo>
                  <a:pt x="0" y="131"/>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66" name="Freeform 88"/>
          <p:cNvSpPr>
            <a:spLocks noChangeAspect="1"/>
          </p:cNvSpPr>
          <p:nvPr/>
        </p:nvSpPr>
        <p:spPr bwMode="gray">
          <a:xfrm>
            <a:off x="8761260" y="4971849"/>
            <a:ext cx="64713" cy="15501"/>
          </a:xfrm>
          <a:custGeom>
            <a:avLst/>
            <a:gdLst/>
            <a:ahLst/>
            <a:cxnLst>
              <a:cxn ang="0">
                <a:pos x="0" y="4"/>
              </a:cxn>
              <a:cxn ang="0">
                <a:pos x="9" y="21"/>
              </a:cxn>
              <a:cxn ang="0">
                <a:pos x="84" y="6"/>
              </a:cxn>
              <a:cxn ang="0">
                <a:pos x="27" y="0"/>
              </a:cxn>
              <a:cxn ang="0">
                <a:pos x="0" y="4"/>
              </a:cxn>
            </a:cxnLst>
            <a:rect l="0" t="0" r="r" b="b"/>
            <a:pathLst>
              <a:path w="84" h="21">
                <a:moveTo>
                  <a:pt x="0" y="4"/>
                </a:moveTo>
                <a:lnTo>
                  <a:pt x="9" y="21"/>
                </a:lnTo>
                <a:lnTo>
                  <a:pt x="84" y="6"/>
                </a:lnTo>
                <a:lnTo>
                  <a:pt x="27" y="0"/>
                </a:lnTo>
                <a:lnTo>
                  <a:pt x="0" y="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67" name="Freeform 89"/>
          <p:cNvSpPr>
            <a:spLocks noChangeAspect="1"/>
          </p:cNvSpPr>
          <p:nvPr/>
        </p:nvSpPr>
        <p:spPr bwMode="gray">
          <a:xfrm>
            <a:off x="8820089" y="4687679"/>
            <a:ext cx="158839" cy="203224"/>
          </a:xfrm>
          <a:custGeom>
            <a:avLst/>
            <a:gdLst/>
            <a:ahLst/>
            <a:cxnLst>
              <a:cxn ang="0">
                <a:pos x="0" y="151"/>
              </a:cxn>
              <a:cxn ang="0">
                <a:pos x="27" y="198"/>
              </a:cxn>
              <a:cxn ang="0">
                <a:pos x="18" y="244"/>
              </a:cxn>
              <a:cxn ang="0">
                <a:pos x="53" y="254"/>
              </a:cxn>
              <a:cxn ang="0">
                <a:pos x="50" y="160"/>
              </a:cxn>
              <a:cxn ang="0">
                <a:pos x="72" y="151"/>
              </a:cxn>
              <a:cxn ang="0">
                <a:pos x="76" y="187"/>
              </a:cxn>
              <a:cxn ang="0">
                <a:pos x="95" y="228"/>
              </a:cxn>
              <a:cxn ang="0">
                <a:pos x="133" y="210"/>
              </a:cxn>
              <a:cxn ang="0">
                <a:pos x="87" y="122"/>
              </a:cxn>
              <a:cxn ang="0">
                <a:pos x="158" y="84"/>
              </a:cxn>
              <a:cxn ang="0">
                <a:pos x="62" y="108"/>
              </a:cxn>
              <a:cxn ang="0">
                <a:pos x="48" y="52"/>
              </a:cxn>
              <a:cxn ang="0">
                <a:pos x="188" y="46"/>
              </a:cxn>
              <a:cxn ang="0">
                <a:pos x="214" y="0"/>
              </a:cxn>
              <a:cxn ang="0">
                <a:pos x="172" y="29"/>
              </a:cxn>
              <a:cxn ang="0">
                <a:pos x="72" y="14"/>
              </a:cxn>
              <a:cxn ang="0">
                <a:pos x="38" y="35"/>
              </a:cxn>
              <a:cxn ang="0">
                <a:pos x="0" y="151"/>
              </a:cxn>
            </a:cxnLst>
            <a:rect l="0" t="0" r="r" b="b"/>
            <a:pathLst>
              <a:path w="214" h="254">
                <a:moveTo>
                  <a:pt x="0" y="151"/>
                </a:moveTo>
                <a:lnTo>
                  <a:pt x="27" y="198"/>
                </a:lnTo>
                <a:lnTo>
                  <a:pt x="18" y="244"/>
                </a:lnTo>
                <a:lnTo>
                  <a:pt x="53" y="254"/>
                </a:lnTo>
                <a:lnTo>
                  <a:pt x="50" y="160"/>
                </a:lnTo>
                <a:lnTo>
                  <a:pt x="72" y="151"/>
                </a:lnTo>
                <a:lnTo>
                  <a:pt x="76" y="187"/>
                </a:lnTo>
                <a:lnTo>
                  <a:pt x="95" y="228"/>
                </a:lnTo>
                <a:lnTo>
                  <a:pt x="133" y="210"/>
                </a:lnTo>
                <a:lnTo>
                  <a:pt x="87" y="122"/>
                </a:lnTo>
                <a:lnTo>
                  <a:pt x="158" y="84"/>
                </a:lnTo>
                <a:lnTo>
                  <a:pt x="62" y="108"/>
                </a:lnTo>
                <a:lnTo>
                  <a:pt x="48" y="52"/>
                </a:lnTo>
                <a:lnTo>
                  <a:pt x="188" y="46"/>
                </a:lnTo>
                <a:lnTo>
                  <a:pt x="214" y="0"/>
                </a:lnTo>
                <a:lnTo>
                  <a:pt x="172" y="29"/>
                </a:lnTo>
                <a:lnTo>
                  <a:pt x="72" y="14"/>
                </a:lnTo>
                <a:lnTo>
                  <a:pt x="38" y="35"/>
                </a:lnTo>
                <a:lnTo>
                  <a:pt x="0" y="15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68" name="Freeform 90"/>
          <p:cNvSpPr>
            <a:spLocks noChangeAspect="1"/>
          </p:cNvSpPr>
          <p:nvPr/>
        </p:nvSpPr>
        <p:spPr bwMode="gray">
          <a:xfrm>
            <a:off x="8945592" y="4971849"/>
            <a:ext cx="90205" cy="49945"/>
          </a:xfrm>
          <a:custGeom>
            <a:avLst/>
            <a:gdLst/>
            <a:ahLst/>
            <a:cxnLst>
              <a:cxn ang="0">
                <a:pos x="0" y="38"/>
              </a:cxn>
              <a:cxn ang="0">
                <a:pos x="5" y="65"/>
              </a:cxn>
              <a:cxn ang="0">
                <a:pos x="120" y="0"/>
              </a:cxn>
              <a:cxn ang="0">
                <a:pos x="34" y="20"/>
              </a:cxn>
              <a:cxn ang="0">
                <a:pos x="0" y="38"/>
              </a:cxn>
            </a:cxnLst>
            <a:rect l="0" t="0" r="r" b="b"/>
            <a:pathLst>
              <a:path w="120" h="65">
                <a:moveTo>
                  <a:pt x="0" y="38"/>
                </a:moveTo>
                <a:lnTo>
                  <a:pt x="5" y="65"/>
                </a:lnTo>
                <a:lnTo>
                  <a:pt x="120" y="0"/>
                </a:lnTo>
                <a:lnTo>
                  <a:pt x="34" y="20"/>
                </a:lnTo>
                <a:lnTo>
                  <a:pt x="0" y="3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69" name="Freeform 91"/>
          <p:cNvSpPr>
            <a:spLocks noChangeAspect="1"/>
          </p:cNvSpPr>
          <p:nvPr/>
        </p:nvSpPr>
        <p:spPr bwMode="gray">
          <a:xfrm>
            <a:off x="9041681" y="4679068"/>
            <a:ext cx="29415" cy="80946"/>
          </a:xfrm>
          <a:custGeom>
            <a:avLst/>
            <a:gdLst/>
            <a:ahLst/>
            <a:cxnLst>
              <a:cxn ang="0">
                <a:pos x="0" y="37"/>
              </a:cxn>
              <a:cxn ang="0">
                <a:pos x="9" y="83"/>
              </a:cxn>
              <a:cxn ang="0">
                <a:pos x="32" y="104"/>
              </a:cxn>
              <a:cxn ang="0">
                <a:pos x="17" y="60"/>
              </a:cxn>
              <a:cxn ang="0">
                <a:pos x="40" y="55"/>
              </a:cxn>
              <a:cxn ang="0">
                <a:pos x="38" y="22"/>
              </a:cxn>
              <a:cxn ang="0">
                <a:pos x="9" y="43"/>
              </a:cxn>
              <a:cxn ang="0">
                <a:pos x="21" y="0"/>
              </a:cxn>
              <a:cxn ang="0">
                <a:pos x="0" y="37"/>
              </a:cxn>
            </a:cxnLst>
            <a:rect l="0" t="0" r="r" b="b"/>
            <a:pathLst>
              <a:path w="40" h="104">
                <a:moveTo>
                  <a:pt x="0" y="37"/>
                </a:moveTo>
                <a:lnTo>
                  <a:pt x="9" y="83"/>
                </a:lnTo>
                <a:lnTo>
                  <a:pt x="32" y="104"/>
                </a:lnTo>
                <a:lnTo>
                  <a:pt x="17" y="60"/>
                </a:lnTo>
                <a:lnTo>
                  <a:pt x="40" y="55"/>
                </a:lnTo>
                <a:lnTo>
                  <a:pt x="38" y="22"/>
                </a:lnTo>
                <a:lnTo>
                  <a:pt x="9" y="43"/>
                </a:lnTo>
                <a:lnTo>
                  <a:pt x="21" y="0"/>
                </a:lnTo>
                <a:lnTo>
                  <a:pt x="0" y="3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70" name="Freeform 92"/>
          <p:cNvSpPr>
            <a:spLocks noChangeAspect="1"/>
          </p:cNvSpPr>
          <p:nvPr/>
        </p:nvSpPr>
        <p:spPr bwMode="gray">
          <a:xfrm>
            <a:off x="9053446" y="4813403"/>
            <a:ext cx="74517" cy="25834"/>
          </a:xfrm>
          <a:custGeom>
            <a:avLst/>
            <a:gdLst/>
            <a:ahLst/>
            <a:cxnLst>
              <a:cxn ang="0">
                <a:pos x="0" y="13"/>
              </a:cxn>
              <a:cxn ang="0">
                <a:pos x="55" y="0"/>
              </a:cxn>
              <a:cxn ang="0">
                <a:pos x="99" y="33"/>
              </a:cxn>
              <a:cxn ang="0">
                <a:pos x="0" y="13"/>
              </a:cxn>
            </a:cxnLst>
            <a:rect l="0" t="0" r="r" b="b"/>
            <a:pathLst>
              <a:path w="99" h="33">
                <a:moveTo>
                  <a:pt x="0" y="13"/>
                </a:moveTo>
                <a:lnTo>
                  <a:pt x="55" y="0"/>
                </a:lnTo>
                <a:lnTo>
                  <a:pt x="99" y="33"/>
                </a:lnTo>
                <a:lnTo>
                  <a:pt x="0" y="1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71" name="Freeform 93"/>
          <p:cNvSpPr>
            <a:spLocks noChangeAspect="1"/>
          </p:cNvSpPr>
          <p:nvPr/>
        </p:nvSpPr>
        <p:spPr bwMode="gray">
          <a:xfrm>
            <a:off x="9129923" y="4747960"/>
            <a:ext cx="274536" cy="239391"/>
          </a:xfrm>
          <a:custGeom>
            <a:avLst/>
            <a:gdLst/>
            <a:ahLst/>
            <a:cxnLst>
              <a:cxn ang="0">
                <a:pos x="0" y="37"/>
              </a:cxn>
              <a:cxn ang="0">
                <a:pos x="52" y="65"/>
              </a:cxn>
              <a:cxn ang="0">
                <a:pos x="105" y="59"/>
              </a:cxn>
              <a:cxn ang="0">
                <a:pos x="38" y="80"/>
              </a:cxn>
              <a:cxn ang="0">
                <a:pos x="71" y="129"/>
              </a:cxn>
              <a:cxn ang="0">
                <a:pos x="102" y="87"/>
              </a:cxn>
              <a:cxn ang="0">
                <a:pos x="123" y="129"/>
              </a:cxn>
              <a:cxn ang="0">
                <a:pos x="254" y="174"/>
              </a:cxn>
              <a:cxn ang="0">
                <a:pos x="285" y="247"/>
              </a:cxn>
              <a:cxn ang="0">
                <a:pos x="260" y="243"/>
              </a:cxn>
              <a:cxn ang="0">
                <a:pos x="241" y="279"/>
              </a:cxn>
              <a:cxn ang="0">
                <a:pos x="319" y="263"/>
              </a:cxn>
              <a:cxn ang="0">
                <a:pos x="362" y="300"/>
              </a:cxn>
              <a:cxn ang="0">
                <a:pos x="357" y="76"/>
              </a:cxn>
              <a:cxn ang="0">
                <a:pos x="244" y="37"/>
              </a:cxn>
              <a:cxn ang="0">
                <a:pos x="154" y="103"/>
              </a:cxn>
              <a:cxn ang="0">
                <a:pos x="117" y="69"/>
              </a:cxn>
              <a:cxn ang="0">
                <a:pos x="106" y="14"/>
              </a:cxn>
              <a:cxn ang="0">
                <a:pos x="52" y="0"/>
              </a:cxn>
              <a:cxn ang="0">
                <a:pos x="0" y="37"/>
              </a:cxn>
            </a:cxnLst>
            <a:rect l="0" t="0" r="r" b="b"/>
            <a:pathLst>
              <a:path w="362" h="300">
                <a:moveTo>
                  <a:pt x="0" y="37"/>
                </a:moveTo>
                <a:lnTo>
                  <a:pt x="52" y="65"/>
                </a:lnTo>
                <a:lnTo>
                  <a:pt x="105" y="59"/>
                </a:lnTo>
                <a:lnTo>
                  <a:pt x="38" y="80"/>
                </a:lnTo>
                <a:lnTo>
                  <a:pt x="71" y="129"/>
                </a:lnTo>
                <a:lnTo>
                  <a:pt x="102" y="87"/>
                </a:lnTo>
                <a:lnTo>
                  <a:pt x="123" y="129"/>
                </a:lnTo>
                <a:lnTo>
                  <a:pt x="254" y="174"/>
                </a:lnTo>
                <a:lnTo>
                  <a:pt x="285" y="247"/>
                </a:lnTo>
                <a:lnTo>
                  <a:pt x="260" y="243"/>
                </a:lnTo>
                <a:lnTo>
                  <a:pt x="241" y="279"/>
                </a:lnTo>
                <a:lnTo>
                  <a:pt x="319" y="263"/>
                </a:lnTo>
                <a:lnTo>
                  <a:pt x="362" y="300"/>
                </a:lnTo>
                <a:lnTo>
                  <a:pt x="357" y="76"/>
                </a:lnTo>
                <a:lnTo>
                  <a:pt x="244" y="37"/>
                </a:lnTo>
                <a:lnTo>
                  <a:pt x="154" y="103"/>
                </a:lnTo>
                <a:lnTo>
                  <a:pt x="117" y="69"/>
                </a:lnTo>
                <a:lnTo>
                  <a:pt x="106" y="14"/>
                </a:lnTo>
                <a:lnTo>
                  <a:pt x="52" y="0"/>
                </a:lnTo>
                <a:lnTo>
                  <a:pt x="0" y="37"/>
                </a:lnTo>
                <a:close/>
              </a:path>
            </a:pathLst>
          </a:custGeom>
          <a:solidFill>
            <a:srgbClr val="FFFFFF"/>
          </a:solidFill>
          <a:ln w="6350" cap="flat" cmpd="sng" algn="ctr">
            <a:solidFill>
              <a:srgbClr val="BCD9EE"/>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72" name="Freeform 94"/>
          <p:cNvSpPr>
            <a:spLocks noChangeAspect="1"/>
          </p:cNvSpPr>
          <p:nvPr/>
        </p:nvSpPr>
        <p:spPr bwMode="gray">
          <a:xfrm>
            <a:off x="9137768" y="4930514"/>
            <a:ext cx="13727" cy="20668"/>
          </a:xfrm>
          <a:custGeom>
            <a:avLst/>
            <a:gdLst/>
            <a:ahLst/>
            <a:cxnLst>
              <a:cxn ang="0">
                <a:pos x="0" y="26"/>
              </a:cxn>
              <a:cxn ang="0">
                <a:pos x="10" y="0"/>
              </a:cxn>
              <a:cxn ang="0">
                <a:pos x="16" y="15"/>
              </a:cxn>
              <a:cxn ang="0">
                <a:pos x="0" y="26"/>
              </a:cxn>
            </a:cxnLst>
            <a:rect l="0" t="0" r="r" b="b"/>
            <a:pathLst>
              <a:path w="16" h="26">
                <a:moveTo>
                  <a:pt x="0" y="26"/>
                </a:moveTo>
                <a:lnTo>
                  <a:pt x="10" y="0"/>
                </a:lnTo>
                <a:lnTo>
                  <a:pt x="16" y="15"/>
                </a:lnTo>
                <a:lnTo>
                  <a:pt x="0" y="2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73" name="Freeform 95"/>
          <p:cNvSpPr>
            <a:spLocks noChangeAspect="1"/>
          </p:cNvSpPr>
          <p:nvPr/>
        </p:nvSpPr>
        <p:spPr bwMode="gray">
          <a:xfrm>
            <a:off x="6853238" y="3580281"/>
            <a:ext cx="502008" cy="451226"/>
          </a:xfrm>
          <a:custGeom>
            <a:avLst/>
            <a:gdLst/>
            <a:ahLst/>
            <a:cxnLst>
              <a:cxn ang="0">
                <a:pos x="0" y="18"/>
              </a:cxn>
              <a:cxn ang="0">
                <a:pos x="18" y="0"/>
              </a:cxn>
              <a:cxn ang="0">
                <a:pos x="69" y="43"/>
              </a:cxn>
              <a:cxn ang="0">
                <a:pos x="131" y="9"/>
              </a:cxn>
              <a:cxn ang="0">
                <a:pos x="137" y="42"/>
              </a:cxn>
              <a:cxn ang="0">
                <a:pos x="166" y="53"/>
              </a:cxn>
              <a:cxn ang="0">
                <a:pos x="173" y="91"/>
              </a:cxn>
              <a:cxn ang="0">
                <a:pos x="265" y="130"/>
              </a:cxn>
              <a:cxn ang="0">
                <a:pos x="349" y="119"/>
              </a:cxn>
              <a:cxn ang="0">
                <a:pos x="342" y="97"/>
              </a:cxn>
              <a:cxn ang="0">
                <a:pos x="450" y="60"/>
              </a:cxn>
              <a:cxn ang="0">
                <a:pos x="591" y="125"/>
              </a:cxn>
              <a:cxn ang="0">
                <a:pos x="596" y="160"/>
              </a:cxn>
              <a:cxn ang="0">
                <a:pos x="572" y="226"/>
              </a:cxn>
              <a:cxn ang="0">
                <a:pos x="575" y="317"/>
              </a:cxn>
              <a:cxn ang="0">
                <a:pos x="612" y="345"/>
              </a:cxn>
              <a:cxn ang="0">
                <a:pos x="583" y="391"/>
              </a:cxn>
              <a:cxn ang="0">
                <a:pos x="665" y="494"/>
              </a:cxn>
              <a:cxn ang="0">
                <a:pos x="611" y="567"/>
              </a:cxn>
              <a:cxn ang="0">
                <a:pos x="462" y="543"/>
              </a:cxn>
              <a:cxn ang="0">
                <a:pos x="428" y="495"/>
              </a:cxn>
              <a:cxn ang="0">
                <a:pos x="327" y="511"/>
              </a:cxn>
              <a:cxn ang="0">
                <a:pos x="252" y="467"/>
              </a:cxn>
              <a:cxn ang="0">
                <a:pos x="202" y="380"/>
              </a:cxn>
              <a:cxn ang="0">
                <a:pos x="164" y="366"/>
              </a:cxn>
              <a:cxn ang="0">
                <a:pos x="155" y="384"/>
              </a:cxn>
              <a:cxn ang="0">
                <a:pos x="108" y="296"/>
              </a:cxn>
              <a:cxn ang="0">
                <a:pos x="44" y="243"/>
              </a:cxn>
              <a:cxn ang="0">
                <a:pos x="74" y="160"/>
              </a:cxn>
              <a:cxn ang="0">
                <a:pos x="47" y="150"/>
              </a:cxn>
              <a:cxn ang="0">
                <a:pos x="22" y="105"/>
              </a:cxn>
              <a:cxn ang="0">
                <a:pos x="0" y="18"/>
              </a:cxn>
            </a:cxnLst>
            <a:rect l="0" t="0" r="r" b="b"/>
            <a:pathLst>
              <a:path w="665" h="567">
                <a:moveTo>
                  <a:pt x="0" y="18"/>
                </a:moveTo>
                <a:lnTo>
                  <a:pt x="18" y="0"/>
                </a:lnTo>
                <a:lnTo>
                  <a:pt x="69" y="43"/>
                </a:lnTo>
                <a:lnTo>
                  <a:pt x="131" y="9"/>
                </a:lnTo>
                <a:lnTo>
                  <a:pt x="137" y="42"/>
                </a:lnTo>
                <a:lnTo>
                  <a:pt x="166" y="53"/>
                </a:lnTo>
                <a:lnTo>
                  <a:pt x="173" y="91"/>
                </a:lnTo>
                <a:lnTo>
                  <a:pt x="265" y="130"/>
                </a:lnTo>
                <a:lnTo>
                  <a:pt x="349" y="119"/>
                </a:lnTo>
                <a:lnTo>
                  <a:pt x="342" y="97"/>
                </a:lnTo>
                <a:lnTo>
                  <a:pt x="450" y="60"/>
                </a:lnTo>
                <a:lnTo>
                  <a:pt x="591" y="125"/>
                </a:lnTo>
                <a:lnTo>
                  <a:pt x="596" y="160"/>
                </a:lnTo>
                <a:lnTo>
                  <a:pt x="572" y="226"/>
                </a:lnTo>
                <a:lnTo>
                  <a:pt x="575" y="317"/>
                </a:lnTo>
                <a:lnTo>
                  <a:pt x="612" y="345"/>
                </a:lnTo>
                <a:lnTo>
                  <a:pt x="583" y="391"/>
                </a:lnTo>
                <a:lnTo>
                  <a:pt x="665" y="494"/>
                </a:lnTo>
                <a:lnTo>
                  <a:pt x="611" y="567"/>
                </a:lnTo>
                <a:lnTo>
                  <a:pt x="462" y="543"/>
                </a:lnTo>
                <a:lnTo>
                  <a:pt x="428" y="495"/>
                </a:lnTo>
                <a:lnTo>
                  <a:pt x="327" y="511"/>
                </a:lnTo>
                <a:lnTo>
                  <a:pt x="252" y="467"/>
                </a:lnTo>
                <a:lnTo>
                  <a:pt x="202" y="380"/>
                </a:lnTo>
                <a:lnTo>
                  <a:pt x="164" y="366"/>
                </a:lnTo>
                <a:lnTo>
                  <a:pt x="155" y="384"/>
                </a:lnTo>
                <a:lnTo>
                  <a:pt x="108" y="296"/>
                </a:lnTo>
                <a:lnTo>
                  <a:pt x="44" y="243"/>
                </a:lnTo>
                <a:lnTo>
                  <a:pt x="74" y="160"/>
                </a:lnTo>
                <a:lnTo>
                  <a:pt x="47" y="150"/>
                </a:lnTo>
                <a:lnTo>
                  <a:pt x="22" y="105"/>
                </a:lnTo>
                <a:lnTo>
                  <a:pt x="0" y="1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74" name="Freeform 96"/>
          <p:cNvSpPr>
            <a:spLocks noChangeAspect="1"/>
          </p:cNvSpPr>
          <p:nvPr/>
        </p:nvSpPr>
        <p:spPr bwMode="gray">
          <a:xfrm>
            <a:off x="6712051" y="3662948"/>
            <a:ext cx="260809" cy="253170"/>
          </a:xfrm>
          <a:custGeom>
            <a:avLst/>
            <a:gdLst/>
            <a:ahLst/>
            <a:cxnLst>
              <a:cxn ang="0">
                <a:pos x="0" y="153"/>
              </a:cxn>
              <a:cxn ang="0">
                <a:pos x="17" y="198"/>
              </a:cxn>
              <a:cxn ang="0">
                <a:pos x="173" y="268"/>
              </a:cxn>
              <a:cxn ang="0">
                <a:pos x="175" y="294"/>
              </a:cxn>
              <a:cxn ang="0">
                <a:pos x="211" y="311"/>
              </a:cxn>
              <a:cxn ang="0">
                <a:pos x="275" y="315"/>
              </a:cxn>
              <a:cxn ang="0">
                <a:pos x="326" y="283"/>
              </a:cxn>
              <a:cxn ang="0">
                <a:pos x="345" y="279"/>
              </a:cxn>
              <a:cxn ang="0">
                <a:pos x="298" y="191"/>
              </a:cxn>
              <a:cxn ang="0">
                <a:pos x="234" y="138"/>
              </a:cxn>
              <a:cxn ang="0">
                <a:pos x="264" y="55"/>
              </a:cxn>
              <a:cxn ang="0">
                <a:pos x="237" y="45"/>
              </a:cxn>
              <a:cxn ang="0">
                <a:pos x="212" y="0"/>
              </a:cxn>
              <a:cxn ang="0">
                <a:pos x="135" y="4"/>
              </a:cxn>
              <a:cxn ang="0">
                <a:pos x="97" y="32"/>
              </a:cxn>
              <a:cxn ang="0">
                <a:pos x="84" y="108"/>
              </a:cxn>
              <a:cxn ang="0">
                <a:pos x="0" y="153"/>
              </a:cxn>
            </a:cxnLst>
            <a:rect l="0" t="0" r="r" b="b"/>
            <a:pathLst>
              <a:path w="345" h="315">
                <a:moveTo>
                  <a:pt x="0" y="153"/>
                </a:moveTo>
                <a:lnTo>
                  <a:pt x="17" y="198"/>
                </a:lnTo>
                <a:lnTo>
                  <a:pt x="173" y="268"/>
                </a:lnTo>
                <a:lnTo>
                  <a:pt x="175" y="294"/>
                </a:lnTo>
                <a:lnTo>
                  <a:pt x="211" y="311"/>
                </a:lnTo>
                <a:lnTo>
                  <a:pt x="275" y="315"/>
                </a:lnTo>
                <a:lnTo>
                  <a:pt x="326" y="283"/>
                </a:lnTo>
                <a:lnTo>
                  <a:pt x="345" y="279"/>
                </a:lnTo>
                <a:lnTo>
                  <a:pt x="298" y="191"/>
                </a:lnTo>
                <a:lnTo>
                  <a:pt x="234" y="138"/>
                </a:lnTo>
                <a:lnTo>
                  <a:pt x="264" y="55"/>
                </a:lnTo>
                <a:lnTo>
                  <a:pt x="237" y="45"/>
                </a:lnTo>
                <a:lnTo>
                  <a:pt x="212" y="0"/>
                </a:lnTo>
                <a:lnTo>
                  <a:pt x="135" y="4"/>
                </a:lnTo>
                <a:lnTo>
                  <a:pt x="97" y="32"/>
                </a:lnTo>
                <a:lnTo>
                  <a:pt x="84" y="108"/>
                </a:lnTo>
                <a:lnTo>
                  <a:pt x="0" y="15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75" name="Freeform 97"/>
          <p:cNvSpPr>
            <a:spLocks noChangeAspect="1"/>
          </p:cNvSpPr>
          <p:nvPr/>
        </p:nvSpPr>
        <p:spPr bwMode="gray">
          <a:xfrm>
            <a:off x="5872756" y="3337447"/>
            <a:ext cx="309833" cy="306558"/>
          </a:xfrm>
          <a:custGeom>
            <a:avLst/>
            <a:gdLst/>
            <a:ahLst/>
            <a:cxnLst>
              <a:cxn ang="0">
                <a:pos x="0" y="95"/>
              </a:cxn>
              <a:cxn ang="0">
                <a:pos x="11" y="51"/>
              </a:cxn>
              <a:cxn ang="0">
                <a:pos x="59" y="30"/>
              </a:cxn>
              <a:cxn ang="0">
                <a:pos x="81" y="50"/>
              </a:cxn>
              <a:cxn ang="0">
                <a:pos x="130" y="10"/>
              </a:cxn>
              <a:cxn ang="0">
                <a:pos x="184" y="0"/>
              </a:cxn>
              <a:cxn ang="0">
                <a:pos x="242" y="27"/>
              </a:cxn>
              <a:cxn ang="0">
                <a:pos x="242" y="68"/>
              </a:cxn>
              <a:cxn ang="0">
                <a:pos x="195" y="76"/>
              </a:cxn>
              <a:cxn ang="0">
                <a:pos x="200" y="127"/>
              </a:cxn>
              <a:cxn ang="0">
                <a:pos x="277" y="213"/>
              </a:cxn>
              <a:cxn ang="0">
                <a:pos x="326" y="219"/>
              </a:cxn>
              <a:cxn ang="0">
                <a:pos x="321" y="237"/>
              </a:cxn>
              <a:cxn ang="0">
                <a:pos x="408" y="293"/>
              </a:cxn>
              <a:cxn ang="0">
                <a:pos x="348" y="285"/>
              </a:cxn>
              <a:cxn ang="0">
                <a:pos x="361" y="339"/>
              </a:cxn>
              <a:cxn ang="0">
                <a:pos x="326" y="381"/>
              </a:cxn>
              <a:cxn ang="0">
                <a:pos x="310" y="294"/>
              </a:cxn>
              <a:cxn ang="0">
                <a:pos x="157" y="199"/>
              </a:cxn>
              <a:cxn ang="0">
                <a:pos x="121" y="136"/>
              </a:cxn>
              <a:cxn ang="0">
                <a:pos x="72" y="115"/>
              </a:cxn>
              <a:cxn ang="0">
                <a:pos x="28" y="142"/>
              </a:cxn>
              <a:cxn ang="0">
                <a:pos x="0" y="95"/>
              </a:cxn>
            </a:cxnLst>
            <a:rect l="0" t="0" r="r" b="b"/>
            <a:pathLst>
              <a:path w="408" h="381">
                <a:moveTo>
                  <a:pt x="0" y="95"/>
                </a:moveTo>
                <a:lnTo>
                  <a:pt x="11" y="51"/>
                </a:lnTo>
                <a:lnTo>
                  <a:pt x="59" y="30"/>
                </a:lnTo>
                <a:lnTo>
                  <a:pt x="81" y="50"/>
                </a:lnTo>
                <a:lnTo>
                  <a:pt x="130" y="10"/>
                </a:lnTo>
                <a:lnTo>
                  <a:pt x="184" y="0"/>
                </a:lnTo>
                <a:lnTo>
                  <a:pt x="242" y="27"/>
                </a:lnTo>
                <a:lnTo>
                  <a:pt x="242" y="68"/>
                </a:lnTo>
                <a:lnTo>
                  <a:pt x="195" y="76"/>
                </a:lnTo>
                <a:lnTo>
                  <a:pt x="200" y="127"/>
                </a:lnTo>
                <a:lnTo>
                  <a:pt x="277" y="213"/>
                </a:lnTo>
                <a:lnTo>
                  <a:pt x="326" y="219"/>
                </a:lnTo>
                <a:lnTo>
                  <a:pt x="321" y="237"/>
                </a:lnTo>
                <a:lnTo>
                  <a:pt x="408" y="293"/>
                </a:lnTo>
                <a:lnTo>
                  <a:pt x="348" y="285"/>
                </a:lnTo>
                <a:lnTo>
                  <a:pt x="361" y="339"/>
                </a:lnTo>
                <a:lnTo>
                  <a:pt x="326" y="381"/>
                </a:lnTo>
                <a:lnTo>
                  <a:pt x="310" y="294"/>
                </a:lnTo>
                <a:lnTo>
                  <a:pt x="157" y="199"/>
                </a:lnTo>
                <a:lnTo>
                  <a:pt x="121" y="136"/>
                </a:lnTo>
                <a:lnTo>
                  <a:pt x="72" y="115"/>
                </a:lnTo>
                <a:lnTo>
                  <a:pt x="28" y="142"/>
                </a:lnTo>
                <a:lnTo>
                  <a:pt x="0" y="9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76" name="Freeform 98"/>
          <p:cNvSpPr>
            <a:spLocks noChangeAspect="1"/>
          </p:cNvSpPr>
          <p:nvPr/>
        </p:nvSpPr>
        <p:spPr bwMode="gray">
          <a:xfrm>
            <a:off x="5911974" y="3535503"/>
            <a:ext cx="39219" cy="72334"/>
          </a:xfrm>
          <a:custGeom>
            <a:avLst/>
            <a:gdLst/>
            <a:ahLst/>
            <a:cxnLst>
              <a:cxn ang="0">
                <a:pos x="0" y="14"/>
              </a:cxn>
              <a:cxn ang="0">
                <a:pos x="9" y="85"/>
              </a:cxn>
              <a:cxn ang="0">
                <a:pos x="29" y="93"/>
              </a:cxn>
              <a:cxn ang="0">
                <a:pos x="50" y="37"/>
              </a:cxn>
              <a:cxn ang="0">
                <a:pos x="31" y="0"/>
              </a:cxn>
              <a:cxn ang="0">
                <a:pos x="0" y="14"/>
              </a:cxn>
            </a:cxnLst>
            <a:rect l="0" t="0" r="r" b="b"/>
            <a:pathLst>
              <a:path w="50" h="93">
                <a:moveTo>
                  <a:pt x="0" y="14"/>
                </a:moveTo>
                <a:lnTo>
                  <a:pt x="9" y="85"/>
                </a:lnTo>
                <a:lnTo>
                  <a:pt x="29" y="93"/>
                </a:lnTo>
                <a:lnTo>
                  <a:pt x="50" y="37"/>
                </a:lnTo>
                <a:lnTo>
                  <a:pt x="31" y="0"/>
                </a:lnTo>
                <a:lnTo>
                  <a:pt x="0" y="1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77" name="Freeform 99"/>
          <p:cNvSpPr>
            <a:spLocks noChangeAspect="1"/>
          </p:cNvSpPr>
          <p:nvPr/>
        </p:nvSpPr>
        <p:spPr bwMode="gray">
          <a:xfrm>
            <a:off x="6025711" y="3631947"/>
            <a:ext cx="82361" cy="46502"/>
          </a:xfrm>
          <a:custGeom>
            <a:avLst/>
            <a:gdLst/>
            <a:ahLst/>
            <a:cxnLst>
              <a:cxn ang="0">
                <a:pos x="0" y="14"/>
              </a:cxn>
              <a:cxn ang="0">
                <a:pos x="91" y="61"/>
              </a:cxn>
              <a:cxn ang="0">
                <a:pos x="108" y="0"/>
              </a:cxn>
              <a:cxn ang="0">
                <a:pos x="0" y="14"/>
              </a:cxn>
            </a:cxnLst>
            <a:rect l="0" t="0" r="r" b="b"/>
            <a:pathLst>
              <a:path w="108" h="61">
                <a:moveTo>
                  <a:pt x="0" y="14"/>
                </a:moveTo>
                <a:lnTo>
                  <a:pt x="91" y="61"/>
                </a:lnTo>
                <a:lnTo>
                  <a:pt x="108" y="0"/>
                </a:lnTo>
                <a:lnTo>
                  <a:pt x="0" y="1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78" name="Freeform 100"/>
          <p:cNvSpPr>
            <a:spLocks noChangeAspect="1"/>
          </p:cNvSpPr>
          <p:nvPr/>
        </p:nvSpPr>
        <p:spPr bwMode="gray">
          <a:xfrm>
            <a:off x="9102469" y="3773173"/>
            <a:ext cx="58829" cy="77502"/>
          </a:xfrm>
          <a:custGeom>
            <a:avLst/>
            <a:gdLst/>
            <a:ahLst/>
            <a:cxnLst>
              <a:cxn ang="0">
                <a:pos x="0" y="26"/>
              </a:cxn>
              <a:cxn ang="0">
                <a:pos x="3" y="50"/>
              </a:cxn>
              <a:cxn ang="0">
                <a:pos x="21" y="26"/>
              </a:cxn>
              <a:cxn ang="0">
                <a:pos x="30" y="40"/>
              </a:cxn>
              <a:cxn ang="0">
                <a:pos x="20" y="97"/>
              </a:cxn>
              <a:cxn ang="0">
                <a:pos x="59" y="95"/>
              </a:cxn>
              <a:cxn ang="0">
                <a:pos x="81" y="38"/>
              </a:cxn>
              <a:cxn ang="0">
                <a:pos x="69" y="5"/>
              </a:cxn>
              <a:cxn ang="0">
                <a:pos x="32" y="0"/>
              </a:cxn>
              <a:cxn ang="0">
                <a:pos x="0" y="26"/>
              </a:cxn>
            </a:cxnLst>
            <a:rect l="0" t="0" r="r" b="b"/>
            <a:pathLst>
              <a:path w="81" h="97">
                <a:moveTo>
                  <a:pt x="0" y="26"/>
                </a:moveTo>
                <a:lnTo>
                  <a:pt x="3" y="50"/>
                </a:lnTo>
                <a:lnTo>
                  <a:pt x="21" y="26"/>
                </a:lnTo>
                <a:lnTo>
                  <a:pt x="30" y="40"/>
                </a:lnTo>
                <a:lnTo>
                  <a:pt x="20" y="97"/>
                </a:lnTo>
                <a:lnTo>
                  <a:pt x="59" y="95"/>
                </a:lnTo>
                <a:lnTo>
                  <a:pt x="81" y="38"/>
                </a:lnTo>
                <a:lnTo>
                  <a:pt x="69" y="5"/>
                </a:lnTo>
                <a:lnTo>
                  <a:pt x="32" y="0"/>
                </a:lnTo>
                <a:lnTo>
                  <a:pt x="0" y="2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79" name="Freeform 101"/>
          <p:cNvSpPr>
            <a:spLocks noChangeAspect="1"/>
          </p:cNvSpPr>
          <p:nvPr/>
        </p:nvSpPr>
        <p:spPr bwMode="gray">
          <a:xfrm>
            <a:off x="9131886" y="3533781"/>
            <a:ext cx="296107" cy="249725"/>
          </a:xfrm>
          <a:custGeom>
            <a:avLst/>
            <a:gdLst/>
            <a:ahLst/>
            <a:cxnLst>
              <a:cxn ang="0">
                <a:pos x="0" y="296"/>
              </a:cxn>
              <a:cxn ang="0">
                <a:pos x="70" y="237"/>
              </a:cxn>
              <a:cxn ang="0">
                <a:pos x="169" y="237"/>
              </a:cxn>
              <a:cxn ang="0">
                <a:pos x="208" y="165"/>
              </a:cxn>
              <a:cxn ang="0">
                <a:pos x="225" y="160"/>
              </a:cxn>
              <a:cxn ang="0">
                <a:pos x="226" y="187"/>
              </a:cxn>
              <a:cxn ang="0">
                <a:pos x="271" y="160"/>
              </a:cxn>
              <a:cxn ang="0">
                <a:pos x="309" y="105"/>
              </a:cxn>
              <a:cxn ang="0">
                <a:pos x="326" y="16"/>
              </a:cxn>
              <a:cxn ang="0">
                <a:pos x="357" y="20"/>
              </a:cxn>
              <a:cxn ang="0">
                <a:pos x="347" y="0"/>
              </a:cxn>
              <a:cxn ang="0">
                <a:pos x="367" y="1"/>
              </a:cxn>
              <a:cxn ang="0">
                <a:pos x="391" y="76"/>
              </a:cxn>
              <a:cxn ang="0">
                <a:pos x="357" y="129"/>
              </a:cxn>
              <a:cxn ang="0">
                <a:pos x="357" y="177"/>
              </a:cxn>
              <a:cxn ang="0">
                <a:pos x="333" y="248"/>
              </a:cxn>
              <a:cxn ang="0">
                <a:pos x="315" y="258"/>
              </a:cxn>
              <a:cxn ang="0">
                <a:pos x="314" y="231"/>
              </a:cxn>
              <a:cxn ang="0">
                <a:pos x="257" y="272"/>
              </a:cxn>
              <a:cxn ang="0">
                <a:pos x="208" y="254"/>
              </a:cxn>
              <a:cxn ang="0">
                <a:pos x="211" y="288"/>
              </a:cxn>
              <a:cxn ang="0">
                <a:pos x="170" y="314"/>
              </a:cxn>
              <a:cxn ang="0">
                <a:pos x="158" y="269"/>
              </a:cxn>
              <a:cxn ang="0">
                <a:pos x="0" y="296"/>
              </a:cxn>
            </a:cxnLst>
            <a:rect l="0" t="0" r="r" b="b"/>
            <a:pathLst>
              <a:path w="391" h="314">
                <a:moveTo>
                  <a:pt x="0" y="296"/>
                </a:moveTo>
                <a:lnTo>
                  <a:pt x="70" y="237"/>
                </a:lnTo>
                <a:lnTo>
                  <a:pt x="169" y="237"/>
                </a:lnTo>
                <a:lnTo>
                  <a:pt x="208" y="165"/>
                </a:lnTo>
                <a:lnTo>
                  <a:pt x="225" y="160"/>
                </a:lnTo>
                <a:lnTo>
                  <a:pt x="226" y="187"/>
                </a:lnTo>
                <a:lnTo>
                  <a:pt x="271" y="160"/>
                </a:lnTo>
                <a:lnTo>
                  <a:pt x="309" y="105"/>
                </a:lnTo>
                <a:lnTo>
                  <a:pt x="326" y="16"/>
                </a:lnTo>
                <a:lnTo>
                  <a:pt x="357" y="20"/>
                </a:lnTo>
                <a:lnTo>
                  <a:pt x="347" y="0"/>
                </a:lnTo>
                <a:lnTo>
                  <a:pt x="367" y="1"/>
                </a:lnTo>
                <a:lnTo>
                  <a:pt x="391" y="76"/>
                </a:lnTo>
                <a:lnTo>
                  <a:pt x="357" y="129"/>
                </a:lnTo>
                <a:lnTo>
                  <a:pt x="357" y="177"/>
                </a:lnTo>
                <a:lnTo>
                  <a:pt x="333" y="248"/>
                </a:lnTo>
                <a:lnTo>
                  <a:pt x="315" y="258"/>
                </a:lnTo>
                <a:lnTo>
                  <a:pt x="314" y="231"/>
                </a:lnTo>
                <a:lnTo>
                  <a:pt x="257" y="272"/>
                </a:lnTo>
                <a:lnTo>
                  <a:pt x="208" y="254"/>
                </a:lnTo>
                <a:lnTo>
                  <a:pt x="211" y="288"/>
                </a:lnTo>
                <a:lnTo>
                  <a:pt x="170" y="314"/>
                </a:lnTo>
                <a:lnTo>
                  <a:pt x="158" y="269"/>
                </a:lnTo>
                <a:lnTo>
                  <a:pt x="0" y="296"/>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80" name="Freeform 102"/>
          <p:cNvSpPr>
            <a:spLocks noChangeAspect="1"/>
          </p:cNvSpPr>
          <p:nvPr/>
        </p:nvSpPr>
        <p:spPr bwMode="gray">
          <a:xfrm>
            <a:off x="9165219" y="3762837"/>
            <a:ext cx="62751" cy="43056"/>
          </a:xfrm>
          <a:custGeom>
            <a:avLst/>
            <a:gdLst/>
            <a:ahLst/>
            <a:cxnLst>
              <a:cxn ang="0">
                <a:pos x="0" y="29"/>
              </a:cxn>
              <a:cxn ang="0">
                <a:pos x="27" y="56"/>
              </a:cxn>
              <a:cxn ang="0">
                <a:pos x="74" y="35"/>
              </a:cxn>
              <a:cxn ang="0">
                <a:pos x="81" y="0"/>
              </a:cxn>
              <a:cxn ang="0">
                <a:pos x="0" y="29"/>
              </a:cxn>
            </a:cxnLst>
            <a:rect l="0" t="0" r="r" b="b"/>
            <a:pathLst>
              <a:path w="81" h="56">
                <a:moveTo>
                  <a:pt x="0" y="29"/>
                </a:moveTo>
                <a:lnTo>
                  <a:pt x="27" y="56"/>
                </a:lnTo>
                <a:lnTo>
                  <a:pt x="74" y="35"/>
                </a:lnTo>
                <a:lnTo>
                  <a:pt x="81" y="0"/>
                </a:lnTo>
                <a:lnTo>
                  <a:pt x="0" y="2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81" name="Freeform 103"/>
          <p:cNvSpPr>
            <a:spLocks noChangeAspect="1"/>
          </p:cNvSpPr>
          <p:nvPr/>
        </p:nvSpPr>
        <p:spPr bwMode="gray">
          <a:xfrm>
            <a:off x="9369160" y="3397723"/>
            <a:ext cx="152956" cy="136058"/>
          </a:xfrm>
          <a:custGeom>
            <a:avLst/>
            <a:gdLst/>
            <a:ahLst/>
            <a:cxnLst>
              <a:cxn ang="0">
                <a:pos x="0" y="120"/>
              </a:cxn>
              <a:cxn ang="0">
                <a:pos x="9" y="169"/>
              </a:cxn>
              <a:cxn ang="0">
                <a:pos x="44" y="151"/>
              </a:cxn>
              <a:cxn ang="0">
                <a:pos x="20" y="121"/>
              </a:cxn>
              <a:cxn ang="0">
                <a:pos x="118" y="147"/>
              </a:cxn>
              <a:cxn ang="0">
                <a:pos x="140" y="108"/>
              </a:cxn>
              <a:cxn ang="0">
                <a:pos x="203" y="95"/>
              </a:cxn>
              <a:cxn ang="0">
                <a:pos x="181" y="69"/>
              </a:cxn>
              <a:cxn ang="0">
                <a:pos x="189" y="46"/>
              </a:cxn>
              <a:cxn ang="0">
                <a:pos x="135" y="50"/>
              </a:cxn>
              <a:cxn ang="0">
                <a:pos x="70" y="0"/>
              </a:cxn>
              <a:cxn ang="0">
                <a:pos x="47" y="96"/>
              </a:cxn>
              <a:cxn ang="0">
                <a:pos x="19" y="91"/>
              </a:cxn>
              <a:cxn ang="0">
                <a:pos x="0" y="120"/>
              </a:cxn>
            </a:cxnLst>
            <a:rect l="0" t="0" r="r" b="b"/>
            <a:pathLst>
              <a:path w="203" h="169">
                <a:moveTo>
                  <a:pt x="0" y="120"/>
                </a:moveTo>
                <a:lnTo>
                  <a:pt x="9" y="169"/>
                </a:lnTo>
                <a:lnTo>
                  <a:pt x="44" y="151"/>
                </a:lnTo>
                <a:lnTo>
                  <a:pt x="20" y="121"/>
                </a:lnTo>
                <a:lnTo>
                  <a:pt x="118" y="147"/>
                </a:lnTo>
                <a:lnTo>
                  <a:pt x="140" y="108"/>
                </a:lnTo>
                <a:lnTo>
                  <a:pt x="203" y="95"/>
                </a:lnTo>
                <a:lnTo>
                  <a:pt x="181" y="69"/>
                </a:lnTo>
                <a:lnTo>
                  <a:pt x="189" y="46"/>
                </a:lnTo>
                <a:lnTo>
                  <a:pt x="135" y="50"/>
                </a:lnTo>
                <a:lnTo>
                  <a:pt x="70" y="0"/>
                </a:lnTo>
                <a:lnTo>
                  <a:pt x="47" y="96"/>
                </a:lnTo>
                <a:lnTo>
                  <a:pt x="19" y="91"/>
                </a:lnTo>
                <a:lnTo>
                  <a:pt x="0" y="120"/>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82" name="Freeform 104"/>
          <p:cNvSpPr>
            <a:spLocks noChangeAspect="1"/>
          </p:cNvSpPr>
          <p:nvPr/>
        </p:nvSpPr>
        <p:spPr bwMode="gray">
          <a:xfrm>
            <a:off x="8963242" y="3483838"/>
            <a:ext cx="160799" cy="168779"/>
          </a:xfrm>
          <a:custGeom>
            <a:avLst/>
            <a:gdLst/>
            <a:ahLst/>
            <a:cxnLst>
              <a:cxn ang="0">
                <a:pos x="0" y="120"/>
              </a:cxn>
              <a:cxn ang="0">
                <a:pos x="41" y="137"/>
              </a:cxn>
              <a:cxn ang="0">
                <a:pos x="15" y="198"/>
              </a:cxn>
              <a:cxn ang="0">
                <a:pos x="77" y="212"/>
              </a:cxn>
              <a:cxn ang="0">
                <a:pos x="142" y="175"/>
              </a:cxn>
              <a:cxn ang="0">
                <a:pos x="112" y="125"/>
              </a:cxn>
              <a:cxn ang="0">
                <a:pos x="186" y="81"/>
              </a:cxn>
              <a:cxn ang="0">
                <a:pos x="221" y="20"/>
              </a:cxn>
              <a:cxn ang="0">
                <a:pos x="216" y="11"/>
              </a:cxn>
              <a:cxn ang="0">
                <a:pos x="202" y="0"/>
              </a:cxn>
              <a:cxn ang="0">
                <a:pos x="136" y="39"/>
              </a:cxn>
              <a:cxn ang="0">
                <a:pos x="136" y="62"/>
              </a:cxn>
              <a:cxn ang="0">
                <a:pos x="88" y="55"/>
              </a:cxn>
              <a:cxn ang="0">
                <a:pos x="0" y="120"/>
              </a:cxn>
            </a:cxnLst>
            <a:rect l="0" t="0" r="r" b="b"/>
            <a:pathLst>
              <a:path w="221" h="212">
                <a:moveTo>
                  <a:pt x="0" y="120"/>
                </a:moveTo>
                <a:lnTo>
                  <a:pt x="41" y="137"/>
                </a:lnTo>
                <a:lnTo>
                  <a:pt x="15" y="198"/>
                </a:lnTo>
                <a:lnTo>
                  <a:pt x="77" y="212"/>
                </a:lnTo>
                <a:lnTo>
                  <a:pt x="142" y="175"/>
                </a:lnTo>
                <a:lnTo>
                  <a:pt x="112" y="125"/>
                </a:lnTo>
                <a:lnTo>
                  <a:pt x="186" y="81"/>
                </a:lnTo>
                <a:lnTo>
                  <a:pt x="221" y="20"/>
                </a:lnTo>
                <a:lnTo>
                  <a:pt x="216" y="11"/>
                </a:lnTo>
                <a:lnTo>
                  <a:pt x="202" y="0"/>
                </a:lnTo>
                <a:lnTo>
                  <a:pt x="136" y="39"/>
                </a:lnTo>
                <a:lnTo>
                  <a:pt x="136" y="62"/>
                </a:lnTo>
                <a:lnTo>
                  <a:pt x="88" y="55"/>
                </a:lnTo>
                <a:lnTo>
                  <a:pt x="0" y="12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83" name="Freeform 105"/>
          <p:cNvSpPr>
            <a:spLocks noChangeAspect="1"/>
          </p:cNvSpPr>
          <p:nvPr/>
        </p:nvSpPr>
        <p:spPr bwMode="gray">
          <a:xfrm>
            <a:off x="9006380" y="3621614"/>
            <a:ext cx="94126" cy="132612"/>
          </a:xfrm>
          <a:custGeom>
            <a:avLst/>
            <a:gdLst/>
            <a:ahLst/>
            <a:cxnLst>
              <a:cxn ang="0">
                <a:pos x="0" y="166"/>
              </a:cxn>
              <a:cxn ang="0">
                <a:pos x="13" y="37"/>
              </a:cxn>
              <a:cxn ang="0">
                <a:pos x="78" y="0"/>
              </a:cxn>
              <a:cxn ang="0">
                <a:pos x="121" y="101"/>
              </a:cxn>
              <a:cxn ang="0">
                <a:pos x="76" y="149"/>
              </a:cxn>
              <a:cxn ang="0">
                <a:pos x="0" y="166"/>
              </a:cxn>
            </a:cxnLst>
            <a:rect l="0" t="0" r="r" b="b"/>
            <a:pathLst>
              <a:path w="121" h="166">
                <a:moveTo>
                  <a:pt x="0" y="166"/>
                </a:moveTo>
                <a:lnTo>
                  <a:pt x="13" y="37"/>
                </a:lnTo>
                <a:lnTo>
                  <a:pt x="78" y="0"/>
                </a:lnTo>
                <a:lnTo>
                  <a:pt x="121" y="101"/>
                </a:lnTo>
                <a:lnTo>
                  <a:pt x="76" y="149"/>
                </a:lnTo>
                <a:lnTo>
                  <a:pt x="0" y="16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84" name="Freeform 106"/>
          <p:cNvSpPr>
            <a:spLocks noChangeAspect="1"/>
          </p:cNvSpPr>
          <p:nvPr/>
        </p:nvSpPr>
        <p:spPr bwMode="gray">
          <a:xfrm>
            <a:off x="8327887" y="4109008"/>
            <a:ext cx="188253" cy="230780"/>
          </a:xfrm>
          <a:custGeom>
            <a:avLst/>
            <a:gdLst/>
            <a:ahLst/>
            <a:cxnLst>
              <a:cxn ang="0">
                <a:pos x="0" y="64"/>
              </a:cxn>
              <a:cxn ang="0">
                <a:pos x="33" y="105"/>
              </a:cxn>
              <a:cxn ang="0">
                <a:pos x="23" y="176"/>
              </a:cxn>
              <a:cxn ang="0">
                <a:pos x="111" y="144"/>
              </a:cxn>
              <a:cxn ang="0">
                <a:pos x="149" y="176"/>
              </a:cxn>
              <a:cxn ang="0">
                <a:pos x="182" y="246"/>
              </a:cxn>
              <a:cxn ang="0">
                <a:pos x="170" y="290"/>
              </a:cxn>
              <a:cxn ang="0">
                <a:pos x="249" y="278"/>
              </a:cxn>
              <a:cxn ang="0">
                <a:pos x="211" y="185"/>
              </a:cxn>
              <a:cxn ang="0">
                <a:pos x="127" y="116"/>
              </a:cxn>
              <a:cxn ang="0">
                <a:pos x="150" y="76"/>
              </a:cxn>
              <a:cxn ang="0">
                <a:pos x="103" y="55"/>
              </a:cxn>
              <a:cxn ang="0">
                <a:pos x="67" y="0"/>
              </a:cxn>
              <a:cxn ang="0">
                <a:pos x="46" y="1"/>
              </a:cxn>
              <a:cxn ang="0">
                <a:pos x="49" y="40"/>
              </a:cxn>
              <a:cxn ang="0">
                <a:pos x="33" y="31"/>
              </a:cxn>
              <a:cxn ang="0">
                <a:pos x="0" y="64"/>
              </a:cxn>
            </a:cxnLst>
            <a:rect l="0" t="0" r="r" b="b"/>
            <a:pathLst>
              <a:path w="249" h="290">
                <a:moveTo>
                  <a:pt x="0" y="64"/>
                </a:moveTo>
                <a:lnTo>
                  <a:pt x="33" y="105"/>
                </a:lnTo>
                <a:lnTo>
                  <a:pt x="23" y="176"/>
                </a:lnTo>
                <a:lnTo>
                  <a:pt x="111" y="144"/>
                </a:lnTo>
                <a:lnTo>
                  <a:pt x="149" y="176"/>
                </a:lnTo>
                <a:lnTo>
                  <a:pt x="182" y="246"/>
                </a:lnTo>
                <a:lnTo>
                  <a:pt x="170" y="290"/>
                </a:lnTo>
                <a:lnTo>
                  <a:pt x="249" y="278"/>
                </a:lnTo>
                <a:lnTo>
                  <a:pt x="211" y="185"/>
                </a:lnTo>
                <a:lnTo>
                  <a:pt x="127" y="116"/>
                </a:lnTo>
                <a:lnTo>
                  <a:pt x="150" y="76"/>
                </a:lnTo>
                <a:lnTo>
                  <a:pt x="103" y="55"/>
                </a:lnTo>
                <a:lnTo>
                  <a:pt x="67" y="0"/>
                </a:lnTo>
                <a:lnTo>
                  <a:pt x="46" y="1"/>
                </a:lnTo>
                <a:lnTo>
                  <a:pt x="49" y="40"/>
                </a:lnTo>
                <a:lnTo>
                  <a:pt x="33" y="31"/>
                </a:lnTo>
                <a:lnTo>
                  <a:pt x="0" y="6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85" name="Freeform 107"/>
          <p:cNvSpPr>
            <a:spLocks noChangeAspect="1"/>
          </p:cNvSpPr>
          <p:nvPr/>
        </p:nvSpPr>
        <p:spPr bwMode="gray">
          <a:xfrm>
            <a:off x="5845303" y="3230668"/>
            <a:ext cx="13727" cy="24112"/>
          </a:xfrm>
          <a:custGeom>
            <a:avLst/>
            <a:gdLst/>
            <a:ahLst/>
            <a:cxnLst>
              <a:cxn ang="0">
                <a:pos x="0" y="23"/>
              </a:cxn>
              <a:cxn ang="0">
                <a:pos x="13" y="0"/>
              </a:cxn>
              <a:cxn ang="0">
                <a:pos x="17" y="30"/>
              </a:cxn>
              <a:cxn ang="0">
                <a:pos x="0" y="23"/>
              </a:cxn>
            </a:cxnLst>
            <a:rect l="0" t="0" r="r" b="b"/>
            <a:pathLst>
              <a:path w="17" h="30">
                <a:moveTo>
                  <a:pt x="0" y="23"/>
                </a:moveTo>
                <a:lnTo>
                  <a:pt x="13" y="0"/>
                </a:lnTo>
                <a:lnTo>
                  <a:pt x="17" y="30"/>
                </a:lnTo>
                <a:lnTo>
                  <a:pt x="0" y="2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86" name="Freeform 108"/>
          <p:cNvSpPr>
            <a:spLocks noChangeAspect="1"/>
          </p:cNvSpPr>
          <p:nvPr/>
        </p:nvSpPr>
        <p:spPr bwMode="gray">
          <a:xfrm>
            <a:off x="8327888" y="4556788"/>
            <a:ext cx="100010" cy="136058"/>
          </a:xfrm>
          <a:custGeom>
            <a:avLst/>
            <a:gdLst/>
            <a:ahLst/>
            <a:cxnLst>
              <a:cxn ang="0">
                <a:pos x="0" y="0"/>
              </a:cxn>
              <a:cxn ang="0">
                <a:pos x="26" y="0"/>
              </a:cxn>
              <a:cxn ang="0">
                <a:pos x="34" y="30"/>
              </a:cxn>
              <a:cxn ang="0">
                <a:pos x="66" y="11"/>
              </a:cxn>
              <a:cxn ang="0">
                <a:pos x="109" y="51"/>
              </a:cxn>
              <a:cxn ang="0">
                <a:pos x="130" y="172"/>
              </a:cxn>
              <a:cxn ang="0">
                <a:pos x="129" y="172"/>
              </a:cxn>
              <a:cxn ang="0">
                <a:pos x="39" y="121"/>
              </a:cxn>
              <a:cxn ang="0">
                <a:pos x="0" y="0"/>
              </a:cxn>
            </a:cxnLst>
            <a:rect l="0" t="0" r="r" b="b"/>
            <a:pathLst>
              <a:path w="130" h="172">
                <a:moveTo>
                  <a:pt x="0" y="0"/>
                </a:moveTo>
                <a:lnTo>
                  <a:pt x="26" y="0"/>
                </a:lnTo>
                <a:lnTo>
                  <a:pt x="34" y="30"/>
                </a:lnTo>
                <a:lnTo>
                  <a:pt x="66" y="11"/>
                </a:lnTo>
                <a:lnTo>
                  <a:pt x="109" y="51"/>
                </a:lnTo>
                <a:lnTo>
                  <a:pt x="130" y="172"/>
                </a:lnTo>
                <a:lnTo>
                  <a:pt x="129" y="172"/>
                </a:lnTo>
                <a:lnTo>
                  <a:pt x="39" y="121"/>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87" name="Freeform 109"/>
          <p:cNvSpPr>
            <a:spLocks noChangeAspect="1"/>
          </p:cNvSpPr>
          <p:nvPr/>
        </p:nvSpPr>
        <p:spPr bwMode="gray">
          <a:xfrm>
            <a:off x="8576930" y="4548178"/>
            <a:ext cx="249044" cy="165335"/>
          </a:xfrm>
          <a:custGeom>
            <a:avLst/>
            <a:gdLst/>
            <a:ahLst/>
            <a:cxnLst>
              <a:cxn ang="0">
                <a:pos x="0" y="184"/>
              </a:cxn>
              <a:cxn ang="0">
                <a:pos x="28" y="207"/>
              </a:cxn>
              <a:cxn ang="0">
                <a:pos x="133" y="198"/>
              </a:cxn>
              <a:cxn ang="0">
                <a:pos x="167" y="186"/>
              </a:cxn>
              <a:cxn ang="0">
                <a:pos x="213" y="91"/>
              </a:cxn>
              <a:cxn ang="0">
                <a:pos x="273" y="94"/>
              </a:cxn>
              <a:cxn ang="0">
                <a:pos x="331" y="61"/>
              </a:cxn>
              <a:cxn ang="0">
                <a:pos x="276" y="34"/>
              </a:cxn>
              <a:cxn ang="0">
                <a:pos x="259" y="0"/>
              </a:cxn>
              <a:cxn ang="0">
                <a:pos x="191" y="65"/>
              </a:cxn>
              <a:cxn ang="0">
                <a:pos x="170" y="100"/>
              </a:cxn>
              <a:cxn ang="0">
                <a:pos x="149" y="80"/>
              </a:cxn>
              <a:cxn ang="0">
                <a:pos x="109" y="132"/>
              </a:cxn>
              <a:cxn ang="0">
                <a:pos x="65" y="138"/>
              </a:cxn>
              <a:cxn ang="0">
                <a:pos x="50" y="186"/>
              </a:cxn>
              <a:cxn ang="0">
                <a:pos x="0" y="184"/>
              </a:cxn>
            </a:cxnLst>
            <a:rect l="0" t="0" r="r" b="b"/>
            <a:pathLst>
              <a:path w="331" h="207">
                <a:moveTo>
                  <a:pt x="0" y="184"/>
                </a:moveTo>
                <a:lnTo>
                  <a:pt x="28" y="207"/>
                </a:lnTo>
                <a:lnTo>
                  <a:pt x="133" y="198"/>
                </a:lnTo>
                <a:lnTo>
                  <a:pt x="167" y="186"/>
                </a:lnTo>
                <a:lnTo>
                  <a:pt x="213" y="91"/>
                </a:lnTo>
                <a:lnTo>
                  <a:pt x="273" y="94"/>
                </a:lnTo>
                <a:lnTo>
                  <a:pt x="331" y="61"/>
                </a:lnTo>
                <a:lnTo>
                  <a:pt x="276" y="34"/>
                </a:lnTo>
                <a:lnTo>
                  <a:pt x="259" y="0"/>
                </a:lnTo>
                <a:lnTo>
                  <a:pt x="191" y="65"/>
                </a:lnTo>
                <a:lnTo>
                  <a:pt x="170" y="100"/>
                </a:lnTo>
                <a:lnTo>
                  <a:pt x="149" y="80"/>
                </a:lnTo>
                <a:lnTo>
                  <a:pt x="109" y="132"/>
                </a:lnTo>
                <a:lnTo>
                  <a:pt x="65" y="138"/>
                </a:lnTo>
                <a:lnTo>
                  <a:pt x="50" y="186"/>
                </a:lnTo>
                <a:lnTo>
                  <a:pt x="0" y="18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88" name="Freeform 110"/>
          <p:cNvSpPr>
            <a:spLocks noChangeAspect="1"/>
          </p:cNvSpPr>
          <p:nvPr/>
        </p:nvSpPr>
        <p:spPr bwMode="gray">
          <a:xfrm>
            <a:off x="2629313" y="3807616"/>
            <a:ext cx="792231" cy="528727"/>
          </a:xfrm>
          <a:custGeom>
            <a:avLst/>
            <a:gdLst/>
            <a:ahLst/>
            <a:cxnLst>
              <a:cxn ang="0">
                <a:pos x="0" y="6"/>
              </a:cxn>
              <a:cxn ang="0">
                <a:pos x="50" y="110"/>
              </a:cxn>
              <a:cxn ang="0">
                <a:pos x="109" y="157"/>
              </a:cxn>
              <a:cxn ang="0">
                <a:pos x="104" y="186"/>
              </a:cxn>
              <a:cxn ang="0">
                <a:pos x="74" y="191"/>
              </a:cxn>
              <a:cxn ang="0">
                <a:pos x="140" y="214"/>
              </a:cxn>
              <a:cxn ang="0">
                <a:pos x="176" y="261"/>
              </a:cxn>
              <a:cxn ang="0">
                <a:pos x="172" y="300"/>
              </a:cxn>
              <a:cxn ang="0">
                <a:pos x="248" y="365"/>
              </a:cxn>
              <a:cxn ang="0">
                <a:pos x="265" y="343"/>
              </a:cxn>
              <a:cxn ang="0">
                <a:pos x="88" y="94"/>
              </a:cxn>
              <a:cxn ang="0">
                <a:pos x="77" y="27"/>
              </a:cxn>
              <a:cxn ang="0">
                <a:pos x="116" y="44"/>
              </a:cxn>
              <a:cxn ang="0">
                <a:pos x="181" y="153"/>
              </a:cxn>
              <a:cxn ang="0">
                <a:pos x="274" y="234"/>
              </a:cxn>
              <a:cxn ang="0">
                <a:pos x="271" y="266"/>
              </a:cxn>
              <a:cxn ang="0">
                <a:pos x="400" y="377"/>
              </a:cxn>
              <a:cxn ang="0">
                <a:pos x="416" y="425"/>
              </a:cxn>
              <a:cxn ang="0">
                <a:pos x="400" y="455"/>
              </a:cxn>
              <a:cxn ang="0">
                <a:pos x="430" y="498"/>
              </a:cxn>
              <a:cxn ang="0">
                <a:pos x="679" y="614"/>
              </a:cxn>
              <a:cxn ang="0">
                <a:pos x="787" y="606"/>
              </a:cxn>
              <a:cxn ang="0">
                <a:pos x="858" y="662"/>
              </a:cxn>
              <a:cxn ang="0">
                <a:pos x="888" y="607"/>
              </a:cxn>
              <a:cxn ang="0">
                <a:pos x="923" y="606"/>
              </a:cxn>
              <a:cxn ang="0">
                <a:pos x="885" y="560"/>
              </a:cxn>
              <a:cxn ang="0">
                <a:pos x="966" y="541"/>
              </a:cxn>
              <a:cxn ang="0">
                <a:pos x="994" y="521"/>
              </a:cxn>
              <a:cxn ang="0">
                <a:pos x="1004" y="510"/>
              </a:cxn>
              <a:cxn ang="0">
                <a:pos x="1013" y="536"/>
              </a:cxn>
              <a:cxn ang="0">
                <a:pos x="1048" y="426"/>
              </a:cxn>
              <a:cxn ang="0">
                <a:pos x="1003" y="409"/>
              </a:cxn>
              <a:cxn ang="0">
                <a:pos x="924" y="426"/>
              </a:cxn>
              <a:cxn ang="0">
                <a:pos x="883" y="521"/>
              </a:cxn>
              <a:cxn ang="0">
                <a:pos x="781" y="531"/>
              </a:cxn>
              <a:cxn ang="0">
                <a:pos x="740" y="507"/>
              </a:cxn>
              <a:cxn ang="0">
                <a:pos x="672" y="390"/>
              </a:cxn>
              <a:cxn ang="0">
                <a:pos x="670" y="300"/>
              </a:cxn>
              <a:cxn ang="0">
                <a:pos x="693" y="256"/>
              </a:cxn>
              <a:cxn ang="0">
                <a:pos x="625" y="233"/>
              </a:cxn>
              <a:cxn ang="0">
                <a:pos x="537" y="108"/>
              </a:cxn>
              <a:cxn ang="0">
                <a:pos x="465" y="136"/>
              </a:cxn>
              <a:cxn ang="0">
                <a:pos x="369" y="32"/>
              </a:cxn>
              <a:cxn ang="0">
                <a:pos x="211" y="54"/>
              </a:cxn>
              <a:cxn ang="0">
                <a:pos x="79" y="0"/>
              </a:cxn>
              <a:cxn ang="0">
                <a:pos x="0" y="6"/>
              </a:cxn>
            </a:cxnLst>
            <a:rect l="0" t="0" r="r" b="b"/>
            <a:pathLst>
              <a:path w="1048" h="662">
                <a:moveTo>
                  <a:pt x="0" y="6"/>
                </a:moveTo>
                <a:lnTo>
                  <a:pt x="50" y="110"/>
                </a:lnTo>
                <a:lnTo>
                  <a:pt x="109" y="157"/>
                </a:lnTo>
                <a:lnTo>
                  <a:pt x="104" y="186"/>
                </a:lnTo>
                <a:lnTo>
                  <a:pt x="74" y="191"/>
                </a:lnTo>
                <a:lnTo>
                  <a:pt x="140" y="214"/>
                </a:lnTo>
                <a:lnTo>
                  <a:pt x="176" y="261"/>
                </a:lnTo>
                <a:lnTo>
                  <a:pt x="172" y="300"/>
                </a:lnTo>
                <a:lnTo>
                  <a:pt x="248" y="365"/>
                </a:lnTo>
                <a:lnTo>
                  <a:pt x="265" y="343"/>
                </a:lnTo>
                <a:lnTo>
                  <a:pt x="88" y="94"/>
                </a:lnTo>
                <a:lnTo>
                  <a:pt x="77" y="27"/>
                </a:lnTo>
                <a:lnTo>
                  <a:pt x="116" y="44"/>
                </a:lnTo>
                <a:lnTo>
                  <a:pt x="181" y="153"/>
                </a:lnTo>
                <a:lnTo>
                  <a:pt x="274" y="234"/>
                </a:lnTo>
                <a:lnTo>
                  <a:pt x="271" y="266"/>
                </a:lnTo>
                <a:lnTo>
                  <a:pt x="400" y="377"/>
                </a:lnTo>
                <a:lnTo>
                  <a:pt x="416" y="425"/>
                </a:lnTo>
                <a:lnTo>
                  <a:pt x="400" y="455"/>
                </a:lnTo>
                <a:lnTo>
                  <a:pt x="430" y="498"/>
                </a:lnTo>
                <a:lnTo>
                  <a:pt x="679" y="614"/>
                </a:lnTo>
                <a:lnTo>
                  <a:pt x="787" y="606"/>
                </a:lnTo>
                <a:lnTo>
                  <a:pt x="858" y="662"/>
                </a:lnTo>
                <a:lnTo>
                  <a:pt x="888" y="607"/>
                </a:lnTo>
                <a:lnTo>
                  <a:pt x="923" y="606"/>
                </a:lnTo>
                <a:lnTo>
                  <a:pt x="885" y="560"/>
                </a:lnTo>
                <a:lnTo>
                  <a:pt x="966" y="541"/>
                </a:lnTo>
                <a:lnTo>
                  <a:pt x="994" y="521"/>
                </a:lnTo>
                <a:lnTo>
                  <a:pt x="1004" y="510"/>
                </a:lnTo>
                <a:lnTo>
                  <a:pt x="1013" y="536"/>
                </a:lnTo>
                <a:lnTo>
                  <a:pt x="1048" y="426"/>
                </a:lnTo>
                <a:lnTo>
                  <a:pt x="1003" y="409"/>
                </a:lnTo>
                <a:lnTo>
                  <a:pt x="924" y="426"/>
                </a:lnTo>
                <a:lnTo>
                  <a:pt x="883" y="521"/>
                </a:lnTo>
                <a:lnTo>
                  <a:pt x="781" y="531"/>
                </a:lnTo>
                <a:lnTo>
                  <a:pt x="740" y="507"/>
                </a:lnTo>
                <a:lnTo>
                  <a:pt x="672" y="390"/>
                </a:lnTo>
                <a:lnTo>
                  <a:pt x="670" y="300"/>
                </a:lnTo>
                <a:lnTo>
                  <a:pt x="693" y="256"/>
                </a:lnTo>
                <a:lnTo>
                  <a:pt x="625" y="233"/>
                </a:lnTo>
                <a:lnTo>
                  <a:pt x="537" y="108"/>
                </a:lnTo>
                <a:lnTo>
                  <a:pt x="465" y="136"/>
                </a:lnTo>
                <a:lnTo>
                  <a:pt x="369" y="32"/>
                </a:lnTo>
                <a:lnTo>
                  <a:pt x="211" y="54"/>
                </a:lnTo>
                <a:lnTo>
                  <a:pt x="79" y="0"/>
                </a:lnTo>
                <a:lnTo>
                  <a:pt x="0" y="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89" name="Freeform 111"/>
          <p:cNvSpPr>
            <a:spLocks noChangeAspect="1"/>
          </p:cNvSpPr>
          <p:nvPr/>
        </p:nvSpPr>
        <p:spPr bwMode="gray">
          <a:xfrm>
            <a:off x="8000403" y="3158333"/>
            <a:ext cx="833412" cy="366838"/>
          </a:xfrm>
          <a:custGeom>
            <a:avLst/>
            <a:gdLst/>
            <a:ahLst/>
            <a:cxnLst>
              <a:cxn ang="0">
                <a:pos x="0" y="145"/>
              </a:cxn>
              <a:cxn ang="0">
                <a:pos x="36" y="192"/>
              </a:cxn>
              <a:cxn ang="0">
                <a:pos x="84" y="209"/>
              </a:cxn>
              <a:cxn ang="0">
                <a:pos x="105" y="308"/>
              </a:cxn>
              <a:cxn ang="0">
                <a:pos x="258" y="346"/>
              </a:cxn>
              <a:cxn ang="0">
                <a:pos x="321" y="414"/>
              </a:cxn>
              <a:cxn ang="0">
                <a:pos x="447" y="410"/>
              </a:cxn>
              <a:cxn ang="0">
                <a:pos x="591" y="463"/>
              </a:cxn>
              <a:cxn ang="0">
                <a:pos x="780" y="414"/>
              </a:cxn>
              <a:cxn ang="0">
                <a:pos x="839" y="376"/>
              </a:cxn>
              <a:cxn ang="0">
                <a:pos x="839" y="322"/>
              </a:cxn>
              <a:cxn ang="0">
                <a:pos x="891" y="328"/>
              </a:cxn>
              <a:cxn ang="0">
                <a:pos x="1008" y="251"/>
              </a:cxn>
              <a:cxn ang="0">
                <a:pos x="1101" y="246"/>
              </a:cxn>
              <a:cxn ang="0">
                <a:pos x="1057" y="187"/>
              </a:cxn>
              <a:cxn ang="0">
                <a:pos x="967" y="203"/>
              </a:cxn>
              <a:cxn ang="0">
                <a:pos x="966" y="138"/>
              </a:cxn>
              <a:cxn ang="0">
                <a:pos x="989" y="102"/>
              </a:cxn>
              <a:cxn ang="0">
                <a:pos x="926" y="92"/>
              </a:cxn>
              <a:cxn ang="0">
                <a:pos x="762" y="132"/>
              </a:cxn>
              <a:cxn ang="0">
                <a:pos x="617" y="74"/>
              </a:cxn>
              <a:cxn ang="0">
                <a:pos x="525" y="82"/>
              </a:cxn>
              <a:cxn ang="0">
                <a:pos x="490" y="33"/>
              </a:cxn>
              <a:cxn ang="0">
                <a:pos x="399" y="0"/>
              </a:cxn>
              <a:cxn ang="0">
                <a:pos x="351" y="35"/>
              </a:cxn>
              <a:cxn ang="0">
                <a:pos x="347" y="101"/>
              </a:cxn>
              <a:cxn ang="0">
                <a:pos x="139" y="72"/>
              </a:cxn>
              <a:cxn ang="0">
                <a:pos x="0" y="145"/>
              </a:cxn>
            </a:cxnLst>
            <a:rect l="0" t="0" r="r" b="b"/>
            <a:pathLst>
              <a:path w="1101" h="463">
                <a:moveTo>
                  <a:pt x="0" y="145"/>
                </a:moveTo>
                <a:lnTo>
                  <a:pt x="36" y="192"/>
                </a:lnTo>
                <a:lnTo>
                  <a:pt x="84" y="209"/>
                </a:lnTo>
                <a:lnTo>
                  <a:pt x="105" y="308"/>
                </a:lnTo>
                <a:lnTo>
                  <a:pt x="258" y="346"/>
                </a:lnTo>
                <a:lnTo>
                  <a:pt x="321" y="414"/>
                </a:lnTo>
                <a:lnTo>
                  <a:pt x="447" y="410"/>
                </a:lnTo>
                <a:lnTo>
                  <a:pt x="591" y="463"/>
                </a:lnTo>
                <a:lnTo>
                  <a:pt x="780" y="414"/>
                </a:lnTo>
                <a:lnTo>
                  <a:pt x="839" y="376"/>
                </a:lnTo>
                <a:lnTo>
                  <a:pt x="839" y="322"/>
                </a:lnTo>
                <a:lnTo>
                  <a:pt x="891" y="328"/>
                </a:lnTo>
                <a:lnTo>
                  <a:pt x="1008" y="251"/>
                </a:lnTo>
                <a:lnTo>
                  <a:pt x="1101" y="246"/>
                </a:lnTo>
                <a:lnTo>
                  <a:pt x="1057" y="187"/>
                </a:lnTo>
                <a:lnTo>
                  <a:pt x="967" y="203"/>
                </a:lnTo>
                <a:lnTo>
                  <a:pt x="966" y="138"/>
                </a:lnTo>
                <a:lnTo>
                  <a:pt x="989" y="102"/>
                </a:lnTo>
                <a:lnTo>
                  <a:pt x="926" y="92"/>
                </a:lnTo>
                <a:lnTo>
                  <a:pt x="762" y="132"/>
                </a:lnTo>
                <a:lnTo>
                  <a:pt x="617" y="74"/>
                </a:lnTo>
                <a:lnTo>
                  <a:pt x="525" y="82"/>
                </a:lnTo>
                <a:lnTo>
                  <a:pt x="490" y="33"/>
                </a:lnTo>
                <a:lnTo>
                  <a:pt x="399" y="0"/>
                </a:lnTo>
                <a:lnTo>
                  <a:pt x="351" y="35"/>
                </a:lnTo>
                <a:lnTo>
                  <a:pt x="347" y="101"/>
                </a:lnTo>
                <a:lnTo>
                  <a:pt x="139" y="72"/>
                </a:lnTo>
                <a:lnTo>
                  <a:pt x="0" y="14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90" name="Freeform 112"/>
          <p:cNvSpPr>
            <a:spLocks noChangeAspect="1"/>
          </p:cNvSpPr>
          <p:nvPr/>
        </p:nvSpPr>
        <p:spPr bwMode="gray">
          <a:xfrm>
            <a:off x="7063063" y="4040118"/>
            <a:ext cx="200019" cy="237668"/>
          </a:xfrm>
          <a:custGeom>
            <a:avLst/>
            <a:gdLst/>
            <a:ahLst/>
            <a:cxnLst>
              <a:cxn ang="0">
                <a:pos x="0" y="213"/>
              </a:cxn>
              <a:cxn ang="0">
                <a:pos x="36" y="300"/>
              </a:cxn>
              <a:cxn ang="0">
                <a:pos x="99" y="286"/>
              </a:cxn>
              <a:cxn ang="0">
                <a:pos x="199" y="212"/>
              </a:cxn>
              <a:cxn ang="0">
                <a:pos x="197" y="176"/>
              </a:cxn>
              <a:cxn ang="0">
                <a:pos x="262" y="110"/>
              </a:cxn>
              <a:cxn ang="0">
                <a:pos x="266" y="88"/>
              </a:cxn>
              <a:cxn ang="0">
                <a:pos x="230" y="50"/>
              </a:cxn>
              <a:cxn ang="0">
                <a:pos x="148" y="0"/>
              </a:cxn>
              <a:cxn ang="0">
                <a:pos x="128" y="1"/>
              </a:cxn>
              <a:cxn ang="0">
                <a:pos x="139" y="28"/>
              </a:cxn>
              <a:cxn ang="0">
                <a:pos x="110" y="80"/>
              </a:cxn>
              <a:cxn ang="0">
                <a:pos x="128" y="105"/>
              </a:cxn>
              <a:cxn ang="0">
                <a:pos x="102" y="177"/>
              </a:cxn>
              <a:cxn ang="0">
                <a:pos x="0" y="213"/>
              </a:cxn>
            </a:cxnLst>
            <a:rect l="0" t="0" r="r" b="b"/>
            <a:pathLst>
              <a:path w="266" h="300">
                <a:moveTo>
                  <a:pt x="0" y="213"/>
                </a:moveTo>
                <a:lnTo>
                  <a:pt x="36" y="300"/>
                </a:lnTo>
                <a:lnTo>
                  <a:pt x="99" y="286"/>
                </a:lnTo>
                <a:lnTo>
                  <a:pt x="199" y="212"/>
                </a:lnTo>
                <a:lnTo>
                  <a:pt x="197" y="176"/>
                </a:lnTo>
                <a:lnTo>
                  <a:pt x="262" y="110"/>
                </a:lnTo>
                <a:lnTo>
                  <a:pt x="266" y="88"/>
                </a:lnTo>
                <a:lnTo>
                  <a:pt x="230" y="50"/>
                </a:lnTo>
                <a:lnTo>
                  <a:pt x="148" y="0"/>
                </a:lnTo>
                <a:lnTo>
                  <a:pt x="128" y="1"/>
                </a:lnTo>
                <a:lnTo>
                  <a:pt x="139" y="28"/>
                </a:lnTo>
                <a:lnTo>
                  <a:pt x="110" y="80"/>
                </a:lnTo>
                <a:lnTo>
                  <a:pt x="128" y="105"/>
                </a:lnTo>
                <a:lnTo>
                  <a:pt x="102" y="177"/>
                </a:lnTo>
                <a:lnTo>
                  <a:pt x="0" y="21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91" name="Freeform 113"/>
          <p:cNvSpPr>
            <a:spLocks noChangeAspect="1"/>
          </p:cNvSpPr>
          <p:nvPr/>
        </p:nvSpPr>
        <p:spPr bwMode="gray">
          <a:xfrm>
            <a:off x="7796466" y="3878229"/>
            <a:ext cx="211785" cy="115390"/>
          </a:xfrm>
          <a:custGeom>
            <a:avLst/>
            <a:gdLst/>
            <a:ahLst/>
            <a:cxnLst>
              <a:cxn ang="0">
                <a:pos x="0" y="56"/>
              </a:cxn>
              <a:cxn ang="0">
                <a:pos x="34" y="0"/>
              </a:cxn>
              <a:cxn ang="0">
                <a:pos x="144" y="36"/>
              </a:cxn>
              <a:cxn ang="0">
                <a:pos x="203" y="90"/>
              </a:cxn>
              <a:cxn ang="0">
                <a:pos x="278" y="90"/>
              </a:cxn>
              <a:cxn ang="0">
                <a:pos x="274" y="143"/>
              </a:cxn>
              <a:cxn ang="0">
                <a:pos x="93" y="109"/>
              </a:cxn>
              <a:cxn ang="0">
                <a:pos x="0" y="56"/>
              </a:cxn>
            </a:cxnLst>
            <a:rect l="0" t="0" r="r" b="b"/>
            <a:pathLst>
              <a:path w="278" h="143">
                <a:moveTo>
                  <a:pt x="0" y="56"/>
                </a:moveTo>
                <a:lnTo>
                  <a:pt x="34" y="0"/>
                </a:lnTo>
                <a:lnTo>
                  <a:pt x="144" y="36"/>
                </a:lnTo>
                <a:lnTo>
                  <a:pt x="203" y="90"/>
                </a:lnTo>
                <a:lnTo>
                  <a:pt x="278" y="90"/>
                </a:lnTo>
                <a:lnTo>
                  <a:pt x="274" y="143"/>
                </a:lnTo>
                <a:lnTo>
                  <a:pt x="93" y="109"/>
                </a:lnTo>
                <a:lnTo>
                  <a:pt x="0" y="5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92" name="Freeform 114"/>
          <p:cNvSpPr>
            <a:spLocks noChangeAspect="1"/>
          </p:cNvSpPr>
          <p:nvPr/>
        </p:nvSpPr>
        <p:spPr bwMode="gray">
          <a:xfrm>
            <a:off x="5792356" y="3118722"/>
            <a:ext cx="90205" cy="89556"/>
          </a:xfrm>
          <a:custGeom>
            <a:avLst/>
            <a:gdLst/>
            <a:ahLst/>
            <a:cxnLst>
              <a:cxn ang="0">
                <a:pos x="0" y="86"/>
              </a:cxn>
              <a:cxn ang="0">
                <a:pos x="47" y="72"/>
              </a:cxn>
              <a:cxn ang="0">
                <a:pos x="22" y="58"/>
              </a:cxn>
              <a:cxn ang="0">
                <a:pos x="46" y="18"/>
              </a:cxn>
              <a:cxn ang="0">
                <a:pos x="64" y="44"/>
              </a:cxn>
              <a:cxn ang="0">
                <a:pos x="67" y="0"/>
              </a:cxn>
              <a:cxn ang="0">
                <a:pos x="123" y="0"/>
              </a:cxn>
              <a:cxn ang="0">
                <a:pos x="118" y="44"/>
              </a:cxn>
              <a:cxn ang="0">
                <a:pos x="82" y="61"/>
              </a:cxn>
              <a:cxn ang="0">
                <a:pos x="84" y="115"/>
              </a:cxn>
              <a:cxn ang="0">
                <a:pos x="50" y="82"/>
              </a:cxn>
              <a:cxn ang="0">
                <a:pos x="0" y="86"/>
              </a:cxn>
            </a:cxnLst>
            <a:rect l="0" t="0" r="r" b="b"/>
            <a:pathLst>
              <a:path w="123" h="115">
                <a:moveTo>
                  <a:pt x="0" y="86"/>
                </a:moveTo>
                <a:lnTo>
                  <a:pt x="47" y="72"/>
                </a:lnTo>
                <a:lnTo>
                  <a:pt x="22" y="58"/>
                </a:lnTo>
                <a:lnTo>
                  <a:pt x="46" y="18"/>
                </a:lnTo>
                <a:lnTo>
                  <a:pt x="64" y="44"/>
                </a:lnTo>
                <a:lnTo>
                  <a:pt x="67" y="0"/>
                </a:lnTo>
                <a:lnTo>
                  <a:pt x="123" y="0"/>
                </a:lnTo>
                <a:lnTo>
                  <a:pt x="118" y="44"/>
                </a:lnTo>
                <a:lnTo>
                  <a:pt x="82" y="61"/>
                </a:lnTo>
                <a:lnTo>
                  <a:pt x="84" y="115"/>
                </a:lnTo>
                <a:lnTo>
                  <a:pt x="50" y="82"/>
                </a:lnTo>
                <a:lnTo>
                  <a:pt x="0" y="86"/>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93" name="Freeform 115"/>
          <p:cNvSpPr>
            <a:spLocks noChangeAspect="1"/>
          </p:cNvSpPr>
          <p:nvPr/>
        </p:nvSpPr>
        <p:spPr bwMode="gray">
          <a:xfrm>
            <a:off x="10065306" y="5922524"/>
            <a:ext cx="201980" cy="198057"/>
          </a:xfrm>
          <a:custGeom>
            <a:avLst/>
            <a:gdLst/>
            <a:ahLst/>
            <a:cxnLst>
              <a:cxn ang="0">
                <a:pos x="0" y="220"/>
              </a:cxn>
              <a:cxn ang="0">
                <a:pos x="56" y="143"/>
              </a:cxn>
              <a:cxn ang="0">
                <a:pos x="153" y="86"/>
              </a:cxn>
              <a:cxn ang="0">
                <a:pos x="202" y="0"/>
              </a:cxn>
              <a:cxn ang="0">
                <a:pos x="233" y="26"/>
              </a:cxn>
              <a:cxn ang="0">
                <a:pos x="266" y="15"/>
              </a:cxn>
              <a:cxn ang="0">
                <a:pos x="268" y="44"/>
              </a:cxn>
              <a:cxn ang="0">
                <a:pos x="218" y="104"/>
              </a:cxn>
              <a:cxn ang="0">
                <a:pos x="229" y="132"/>
              </a:cxn>
              <a:cxn ang="0">
                <a:pos x="173" y="142"/>
              </a:cxn>
              <a:cxn ang="0">
                <a:pos x="144" y="226"/>
              </a:cxn>
              <a:cxn ang="0">
                <a:pos x="87" y="252"/>
              </a:cxn>
              <a:cxn ang="0">
                <a:pos x="0" y="220"/>
              </a:cxn>
            </a:cxnLst>
            <a:rect l="0" t="0" r="r" b="b"/>
            <a:pathLst>
              <a:path w="268" h="252">
                <a:moveTo>
                  <a:pt x="0" y="220"/>
                </a:moveTo>
                <a:lnTo>
                  <a:pt x="56" y="143"/>
                </a:lnTo>
                <a:lnTo>
                  <a:pt x="153" y="86"/>
                </a:lnTo>
                <a:lnTo>
                  <a:pt x="202" y="0"/>
                </a:lnTo>
                <a:lnTo>
                  <a:pt x="233" y="26"/>
                </a:lnTo>
                <a:lnTo>
                  <a:pt x="266" y="15"/>
                </a:lnTo>
                <a:lnTo>
                  <a:pt x="268" y="44"/>
                </a:lnTo>
                <a:lnTo>
                  <a:pt x="218" y="104"/>
                </a:lnTo>
                <a:lnTo>
                  <a:pt x="229" y="132"/>
                </a:lnTo>
                <a:lnTo>
                  <a:pt x="173" y="142"/>
                </a:lnTo>
                <a:lnTo>
                  <a:pt x="144" y="226"/>
                </a:lnTo>
                <a:lnTo>
                  <a:pt x="87" y="252"/>
                </a:lnTo>
                <a:lnTo>
                  <a:pt x="0" y="22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94" name="Freeform 116"/>
          <p:cNvSpPr>
            <a:spLocks noChangeAspect="1"/>
          </p:cNvSpPr>
          <p:nvPr/>
        </p:nvSpPr>
        <p:spPr bwMode="gray">
          <a:xfrm>
            <a:off x="10224142" y="5724466"/>
            <a:ext cx="152956" cy="218725"/>
          </a:xfrm>
          <a:custGeom>
            <a:avLst/>
            <a:gdLst/>
            <a:ahLst/>
            <a:cxnLst>
              <a:cxn ang="0">
                <a:pos x="0" y="0"/>
              </a:cxn>
              <a:cxn ang="0">
                <a:pos x="56" y="32"/>
              </a:cxn>
              <a:cxn ang="0">
                <a:pos x="71" y="93"/>
              </a:cxn>
              <a:cxn ang="0">
                <a:pos x="94" y="110"/>
              </a:cxn>
              <a:cxn ang="0">
                <a:pos x="109" y="84"/>
              </a:cxn>
              <a:cxn ang="0">
                <a:pos x="120" y="126"/>
              </a:cxn>
              <a:cxn ang="0">
                <a:pos x="202" y="126"/>
              </a:cxn>
              <a:cxn ang="0">
                <a:pos x="184" y="187"/>
              </a:cxn>
              <a:cxn ang="0">
                <a:pos x="144" y="196"/>
              </a:cxn>
              <a:cxn ang="0">
                <a:pos x="110" y="275"/>
              </a:cxn>
              <a:cxn ang="0">
                <a:pos x="72" y="278"/>
              </a:cxn>
              <a:cxn ang="0">
                <a:pos x="89" y="248"/>
              </a:cxn>
              <a:cxn ang="0">
                <a:pos x="39" y="192"/>
              </a:cxn>
              <a:cxn ang="0">
                <a:pos x="79" y="142"/>
              </a:cxn>
              <a:cxn ang="0">
                <a:pos x="72" y="100"/>
              </a:cxn>
              <a:cxn ang="0">
                <a:pos x="0" y="0"/>
              </a:cxn>
            </a:cxnLst>
            <a:rect l="0" t="0" r="r" b="b"/>
            <a:pathLst>
              <a:path w="202" h="278">
                <a:moveTo>
                  <a:pt x="0" y="0"/>
                </a:moveTo>
                <a:lnTo>
                  <a:pt x="56" y="32"/>
                </a:lnTo>
                <a:lnTo>
                  <a:pt x="71" y="93"/>
                </a:lnTo>
                <a:lnTo>
                  <a:pt x="94" y="110"/>
                </a:lnTo>
                <a:lnTo>
                  <a:pt x="109" y="84"/>
                </a:lnTo>
                <a:lnTo>
                  <a:pt x="120" y="126"/>
                </a:lnTo>
                <a:lnTo>
                  <a:pt x="202" y="126"/>
                </a:lnTo>
                <a:lnTo>
                  <a:pt x="184" y="187"/>
                </a:lnTo>
                <a:lnTo>
                  <a:pt x="144" y="196"/>
                </a:lnTo>
                <a:lnTo>
                  <a:pt x="110" y="275"/>
                </a:lnTo>
                <a:lnTo>
                  <a:pt x="72" y="278"/>
                </a:lnTo>
                <a:lnTo>
                  <a:pt x="89" y="248"/>
                </a:lnTo>
                <a:lnTo>
                  <a:pt x="39" y="192"/>
                </a:lnTo>
                <a:lnTo>
                  <a:pt x="79" y="142"/>
                </a:lnTo>
                <a:lnTo>
                  <a:pt x="72" y="100"/>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95" name="Freeform 117"/>
          <p:cNvSpPr>
            <a:spLocks noChangeAspect="1"/>
          </p:cNvSpPr>
          <p:nvPr/>
        </p:nvSpPr>
        <p:spPr bwMode="gray">
          <a:xfrm>
            <a:off x="3405856" y="4324288"/>
            <a:ext cx="103932" cy="113667"/>
          </a:xfrm>
          <a:custGeom>
            <a:avLst/>
            <a:gdLst/>
            <a:ahLst/>
            <a:cxnLst>
              <a:cxn ang="0">
                <a:pos x="0" y="72"/>
              </a:cxn>
              <a:cxn ang="0">
                <a:pos x="55" y="140"/>
              </a:cxn>
              <a:cxn ang="0">
                <a:pos x="127" y="144"/>
              </a:cxn>
              <a:cxn ang="0">
                <a:pos x="138" y="0"/>
              </a:cxn>
              <a:cxn ang="0">
                <a:pos x="88" y="6"/>
              </a:cxn>
              <a:cxn ang="0">
                <a:pos x="0" y="72"/>
              </a:cxn>
            </a:cxnLst>
            <a:rect l="0" t="0" r="r" b="b"/>
            <a:pathLst>
              <a:path w="138" h="144">
                <a:moveTo>
                  <a:pt x="0" y="72"/>
                </a:moveTo>
                <a:lnTo>
                  <a:pt x="55" y="140"/>
                </a:lnTo>
                <a:lnTo>
                  <a:pt x="127" y="144"/>
                </a:lnTo>
                <a:lnTo>
                  <a:pt x="138" y="0"/>
                </a:lnTo>
                <a:lnTo>
                  <a:pt x="88" y="6"/>
                </a:lnTo>
                <a:lnTo>
                  <a:pt x="0" y="7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96" name="Freeform 118"/>
          <p:cNvSpPr>
            <a:spLocks noChangeAspect="1"/>
          </p:cNvSpPr>
          <p:nvPr/>
        </p:nvSpPr>
        <p:spPr bwMode="gray">
          <a:xfrm>
            <a:off x="5829614" y="2352326"/>
            <a:ext cx="678495" cy="575227"/>
          </a:xfrm>
          <a:custGeom>
            <a:avLst/>
            <a:gdLst/>
            <a:ahLst/>
            <a:cxnLst>
              <a:cxn ang="0">
                <a:pos x="2" y="568"/>
              </a:cxn>
              <a:cxn ang="0">
                <a:pos x="87" y="560"/>
              </a:cxn>
              <a:cxn ang="0">
                <a:pos x="22" y="592"/>
              </a:cxn>
              <a:cxn ang="0">
                <a:pos x="71" y="598"/>
              </a:cxn>
              <a:cxn ang="0">
                <a:pos x="44" y="653"/>
              </a:cxn>
              <a:cxn ang="0">
                <a:pos x="109" y="719"/>
              </a:cxn>
              <a:cxn ang="0">
                <a:pos x="191" y="632"/>
              </a:cxn>
              <a:cxn ang="0">
                <a:pos x="253" y="622"/>
              </a:cxn>
              <a:cxn ang="0">
                <a:pos x="264" y="556"/>
              </a:cxn>
              <a:cxn ang="0">
                <a:pos x="248" y="433"/>
              </a:cxn>
              <a:cxn ang="0">
                <a:pos x="300" y="376"/>
              </a:cxn>
              <a:cxn ang="0">
                <a:pos x="389" y="241"/>
              </a:cxn>
              <a:cxn ang="0">
                <a:pos x="444" y="184"/>
              </a:cxn>
              <a:cxn ang="0">
                <a:pos x="521" y="162"/>
              </a:cxn>
              <a:cxn ang="0">
                <a:pos x="538" y="123"/>
              </a:cxn>
              <a:cxn ang="0">
                <a:pos x="603" y="140"/>
              </a:cxn>
              <a:cxn ang="0">
                <a:pos x="717" y="125"/>
              </a:cxn>
              <a:cxn ang="0">
                <a:pos x="797" y="65"/>
              </a:cxn>
              <a:cxn ang="0">
                <a:pos x="830" y="123"/>
              </a:cxn>
              <a:cxn ang="0">
                <a:pos x="851" y="85"/>
              </a:cxn>
              <a:cxn ang="0">
                <a:pos x="818" y="61"/>
              </a:cxn>
              <a:cxn ang="0">
                <a:pos x="834" y="12"/>
              </a:cxn>
              <a:cxn ang="0">
                <a:pos x="815" y="3"/>
              </a:cxn>
              <a:cxn ang="0">
                <a:pos x="760" y="39"/>
              </a:cxn>
              <a:cxn ang="0">
                <a:pos x="749" y="8"/>
              </a:cxn>
              <a:cxn ang="0">
                <a:pos x="722" y="13"/>
              </a:cxn>
              <a:cxn ang="0">
                <a:pos x="630" y="68"/>
              </a:cxn>
              <a:cxn ang="0">
                <a:pos x="587" y="83"/>
              </a:cxn>
              <a:cxn ang="0">
                <a:pos x="522" y="107"/>
              </a:cxn>
              <a:cxn ang="0">
                <a:pos x="505" y="103"/>
              </a:cxn>
              <a:cxn ang="0">
                <a:pos x="500" y="112"/>
              </a:cxn>
              <a:cxn ang="0">
                <a:pos x="440" y="142"/>
              </a:cxn>
              <a:cxn ang="0">
                <a:pos x="437" y="161"/>
              </a:cxn>
              <a:cxn ang="0">
                <a:pos x="352" y="213"/>
              </a:cxn>
              <a:cxn ang="0">
                <a:pos x="287" y="263"/>
              </a:cxn>
              <a:cxn ang="0">
                <a:pos x="160" y="419"/>
              </a:cxn>
              <a:cxn ang="0">
                <a:pos x="218" y="425"/>
              </a:cxn>
              <a:cxn ang="0">
                <a:pos x="71" y="476"/>
              </a:cxn>
              <a:cxn ang="0">
                <a:pos x="46" y="491"/>
              </a:cxn>
              <a:cxn ang="0">
                <a:pos x="4" y="513"/>
              </a:cxn>
              <a:cxn ang="0">
                <a:pos x="0" y="538"/>
              </a:cxn>
            </a:cxnLst>
            <a:rect l="0" t="0" r="r" b="b"/>
            <a:pathLst>
              <a:path w="897" h="719">
                <a:moveTo>
                  <a:pt x="0" y="538"/>
                </a:moveTo>
                <a:lnTo>
                  <a:pt x="2" y="568"/>
                </a:lnTo>
                <a:lnTo>
                  <a:pt x="84" y="548"/>
                </a:lnTo>
                <a:lnTo>
                  <a:pt x="87" y="560"/>
                </a:lnTo>
                <a:lnTo>
                  <a:pt x="1" y="581"/>
                </a:lnTo>
                <a:lnTo>
                  <a:pt x="22" y="592"/>
                </a:lnTo>
                <a:lnTo>
                  <a:pt x="13" y="631"/>
                </a:lnTo>
                <a:lnTo>
                  <a:pt x="71" y="598"/>
                </a:lnTo>
                <a:lnTo>
                  <a:pt x="9" y="653"/>
                </a:lnTo>
                <a:lnTo>
                  <a:pt x="44" y="653"/>
                </a:lnTo>
                <a:lnTo>
                  <a:pt x="22" y="699"/>
                </a:lnTo>
                <a:lnTo>
                  <a:pt x="109" y="719"/>
                </a:lnTo>
                <a:lnTo>
                  <a:pt x="177" y="674"/>
                </a:lnTo>
                <a:lnTo>
                  <a:pt x="191" y="632"/>
                </a:lnTo>
                <a:lnTo>
                  <a:pt x="213" y="674"/>
                </a:lnTo>
                <a:lnTo>
                  <a:pt x="253" y="622"/>
                </a:lnTo>
                <a:lnTo>
                  <a:pt x="246" y="577"/>
                </a:lnTo>
                <a:lnTo>
                  <a:pt x="264" y="556"/>
                </a:lnTo>
                <a:lnTo>
                  <a:pt x="246" y="535"/>
                </a:lnTo>
                <a:lnTo>
                  <a:pt x="248" y="433"/>
                </a:lnTo>
                <a:lnTo>
                  <a:pt x="313" y="408"/>
                </a:lnTo>
                <a:lnTo>
                  <a:pt x="300" y="376"/>
                </a:lnTo>
                <a:lnTo>
                  <a:pt x="328" y="298"/>
                </a:lnTo>
                <a:lnTo>
                  <a:pt x="389" y="241"/>
                </a:lnTo>
                <a:lnTo>
                  <a:pt x="401" y="193"/>
                </a:lnTo>
                <a:lnTo>
                  <a:pt x="444" y="184"/>
                </a:lnTo>
                <a:lnTo>
                  <a:pt x="457" y="155"/>
                </a:lnTo>
                <a:lnTo>
                  <a:pt x="521" y="162"/>
                </a:lnTo>
                <a:lnTo>
                  <a:pt x="522" y="123"/>
                </a:lnTo>
                <a:lnTo>
                  <a:pt x="538" y="123"/>
                </a:lnTo>
                <a:lnTo>
                  <a:pt x="563" y="106"/>
                </a:lnTo>
                <a:lnTo>
                  <a:pt x="603" y="140"/>
                </a:lnTo>
                <a:lnTo>
                  <a:pt x="675" y="147"/>
                </a:lnTo>
                <a:lnTo>
                  <a:pt x="717" y="125"/>
                </a:lnTo>
                <a:lnTo>
                  <a:pt x="729" y="78"/>
                </a:lnTo>
                <a:lnTo>
                  <a:pt x="797" y="65"/>
                </a:lnTo>
                <a:lnTo>
                  <a:pt x="834" y="83"/>
                </a:lnTo>
                <a:lnTo>
                  <a:pt x="830" y="123"/>
                </a:lnTo>
                <a:lnTo>
                  <a:pt x="894" y="78"/>
                </a:lnTo>
                <a:lnTo>
                  <a:pt x="851" y="85"/>
                </a:lnTo>
                <a:lnTo>
                  <a:pt x="862" y="73"/>
                </a:lnTo>
                <a:lnTo>
                  <a:pt x="818" y="61"/>
                </a:lnTo>
                <a:lnTo>
                  <a:pt x="897" y="39"/>
                </a:lnTo>
                <a:lnTo>
                  <a:pt x="834" y="12"/>
                </a:lnTo>
                <a:lnTo>
                  <a:pt x="793" y="39"/>
                </a:lnTo>
                <a:lnTo>
                  <a:pt x="815" y="3"/>
                </a:lnTo>
                <a:lnTo>
                  <a:pt x="782" y="0"/>
                </a:lnTo>
                <a:lnTo>
                  <a:pt x="760" y="39"/>
                </a:lnTo>
                <a:lnTo>
                  <a:pt x="749" y="43"/>
                </a:lnTo>
                <a:lnTo>
                  <a:pt x="749" y="8"/>
                </a:lnTo>
                <a:lnTo>
                  <a:pt x="691" y="65"/>
                </a:lnTo>
                <a:lnTo>
                  <a:pt x="722" y="13"/>
                </a:lnTo>
                <a:lnTo>
                  <a:pt x="691" y="5"/>
                </a:lnTo>
                <a:lnTo>
                  <a:pt x="630" y="68"/>
                </a:lnTo>
                <a:lnTo>
                  <a:pt x="571" y="48"/>
                </a:lnTo>
                <a:lnTo>
                  <a:pt x="587" y="83"/>
                </a:lnTo>
                <a:lnTo>
                  <a:pt x="563" y="65"/>
                </a:lnTo>
                <a:lnTo>
                  <a:pt x="522" y="107"/>
                </a:lnTo>
                <a:lnTo>
                  <a:pt x="527" y="72"/>
                </a:lnTo>
                <a:lnTo>
                  <a:pt x="505" y="103"/>
                </a:lnTo>
                <a:lnTo>
                  <a:pt x="487" y="81"/>
                </a:lnTo>
                <a:lnTo>
                  <a:pt x="500" y="112"/>
                </a:lnTo>
                <a:lnTo>
                  <a:pt x="453" y="99"/>
                </a:lnTo>
                <a:lnTo>
                  <a:pt x="440" y="142"/>
                </a:lnTo>
                <a:lnTo>
                  <a:pt x="398" y="158"/>
                </a:lnTo>
                <a:lnTo>
                  <a:pt x="437" y="161"/>
                </a:lnTo>
                <a:lnTo>
                  <a:pt x="366" y="182"/>
                </a:lnTo>
                <a:lnTo>
                  <a:pt x="352" y="213"/>
                </a:lnTo>
                <a:lnTo>
                  <a:pt x="374" y="213"/>
                </a:lnTo>
                <a:lnTo>
                  <a:pt x="287" y="263"/>
                </a:lnTo>
                <a:lnTo>
                  <a:pt x="254" y="348"/>
                </a:lnTo>
                <a:lnTo>
                  <a:pt x="160" y="419"/>
                </a:lnTo>
                <a:lnTo>
                  <a:pt x="177" y="438"/>
                </a:lnTo>
                <a:lnTo>
                  <a:pt x="218" y="425"/>
                </a:lnTo>
                <a:lnTo>
                  <a:pt x="122" y="446"/>
                </a:lnTo>
                <a:lnTo>
                  <a:pt x="71" y="476"/>
                </a:lnTo>
                <a:lnTo>
                  <a:pt x="84" y="491"/>
                </a:lnTo>
                <a:lnTo>
                  <a:pt x="46" y="491"/>
                </a:lnTo>
                <a:lnTo>
                  <a:pt x="50" y="513"/>
                </a:lnTo>
                <a:lnTo>
                  <a:pt x="4" y="513"/>
                </a:lnTo>
                <a:lnTo>
                  <a:pt x="46" y="526"/>
                </a:lnTo>
                <a:lnTo>
                  <a:pt x="0" y="538"/>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97" name="Freeform 119"/>
          <p:cNvSpPr>
            <a:spLocks noChangeAspect="1"/>
          </p:cNvSpPr>
          <p:nvPr/>
        </p:nvSpPr>
        <p:spPr bwMode="gray">
          <a:xfrm>
            <a:off x="7296417" y="3671563"/>
            <a:ext cx="439257" cy="399559"/>
          </a:xfrm>
          <a:custGeom>
            <a:avLst/>
            <a:gdLst/>
            <a:ahLst/>
            <a:cxnLst>
              <a:cxn ang="0">
                <a:pos x="0" y="277"/>
              </a:cxn>
              <a:cxn ang="0">
                <a:pos x="55" y="295"/>
              </a:cxn>
              <a:cxn ang="0">
                <a:pos x="182" y="277"/>
              </a:cxn>
              <a:cxn ang="0">
                <a:pos x="206" y="226"/>
              </a:cxn>
              <a:cxn ang="0">
                <a:pos x="292" y="198"/>
              </a:cxn>
              <a:cxn ang="0">
                <a:pos x="300" y="155"/>
              </a:cxn>
              <a:cxn ang="0">
                <a:pos x="329" y="143"/>
              </a:cxn>
              <a:cxn ang="0">
                <a:pos x="316" y="121"/>
              </a:cxn>
              <a:cxn ang="0">
                <a:pos x="347" y="118"/>
              </a:cxn>
              <a:cxn ang="0">
                <a:pos x="370" y="74"/>
              </a:cxn>
              <a:cxn ang="0">
                <a:pos x="360" y="32"/>
              </a:cxn>
              <a:cxn ang="0">
                <a:pos x="475" y="0"/>
              </a:cxn>
              <a:cxn ang="0">
                <a:pos x="582" y="65"/>
              </a:cxn>
              <a:cxn ang="0">
                <a:pos x="552" y="92"/>
              </a:cxn>
              <a:cxn ang="0">
                <a:pos x="453" y="92"/>
              </a:cxn>
              <a:cxn ang="0">
                <a:pos x="455" y="149"/>
              </a:cxn>
              <a:cxn ang="0">
                <a:pos x="500" y="184"/>
              </a:cxn>
              <a:cxn ang="0">
                <a:pos x="473" y="203"/>
              </a:cxn>
              <a:cxn ang="0">
                <a:pos x="480" y="235"/>
              </a:cxn>
              <a:cxn ang="0">
                <a:pos x="378" y="351"/>
              </a:cxn>
              <a:cxn ang="0">
                <a:pos x="331" y="347"/>
              </a:cxn>
              <a:cxn ang="0">
                <a:pos x="300" y="376"/>
              </a:cxn>
              <a:cxn ang="0">
                <a:pos x="354" y="482"/>
              </a:cxn>
              <a:cxn ang="0">
                <a:pos x="276" y="482"/>
              </a:cxn>
              <a:cxn ang="0">
                <a:pos x="247" y="505"/>
              </a:cxn>
              <a:cxn ang="0">
                <a:pos x="189" y="441"/>
              </a:cxn>
              <a:cxn ang="0">
                <a:pos x="28" y="453"/>
              </a:cxn>
              <a:cxn ang="0">
                <a:pos x="82" y="380"/>
              </a:cxn>
              <a:cxn ang="0">
                <a:pos x="0" y="277"/>
              </a:cxn>
            </a:cxnLst>
            <a:rect l="0" t="0" r="r" b="b"/>
            <a:pathLst>
              <a:path w="582" h="505">
                <a:moveTo>
                  <a:pt x="0" y="277"/>
                </a:moveTo>
                <a:lnTo>
                  <a:pt x="55" y="295"/>
                </a:lnTo>
                <a:lnTo>
                  <a:pt x="182" y="277"/>
                </a:lnTo>
                <a:lnTo>
                  <a:pt x="206" y="226"/>
                </a:lnTo>
                <a:lnTo>
                  <a:pt x="292" y="198"/>
                </a:lnTo>
                <a:lnTo>
                  <a:pt x="300" y="155"/>
                </a:lnTo>
                <a:lnTo>
                  <a:pt x="329" y="143"/>
                </a:lnTo>
                <a:lnTo>
                  <a:pt x="316" y="121"/>
                </a:lnTo>
                <a:lnTo>
                  <a:pt x="347" y="118"/>
                </a:lnTo>
                <a:lnTo>
                  <a:pt x="370" y="74"/>
                </a:lnTo>
                <a:lnTo>
                  <a:pt x="360" y="32"/>
                </a:lnTo>
                <a:lnTo>
                  <a:pt x="475" y="0"/>
                </a:lnTo>
                <a:lnTo>
                  <a:pt x="582" y="65"/>
                </a:lnTo>
                <a:lnTo>
                  <a:pt x="552" y="92"/>
                </a:lnTo>
                <a:lnTo>
                  <a:pt x="453" y="92"/>
                </a:lnTo>
                <a:lnTo>
                  <a:pt x="455" y="149"/>
                </a:lnTo>
                <a:lnTo>
                  <a:pt x="500" y="184"/>
                </a:lnTo>
                <a:lnTo>
                  <a:pt x="473" y="203"/>
                </a:lnTo>
                <a:lnTo>
                  <a:pt x="480" y="235"/>
                </a:lnTo>
                <a:lnTo>
                  <a:pt x="378" y="351"/>
                </a:lnTo>
                <a:lnTo>
                  <a:pt x="331" y="347"/>
                </a:lnTo>
                <a:lnTo>
                  <a:pt x="300" y="376"/>
                </a:lnTo>
                <a:lnTo>
                  <a:pt x="354" y="482"/>
                </a:lnTo>
                <a:lnTo>
                  <a:pt x="276" y="482"/>
                </a:lnTo>
                <a:lnTo>
                  <a:pt x="247" y="505"/>
                </a:lnTo>
                <a:lnTo>
                  <a:pt x="189" y="441"/>
                </a:lnTo>
                <a:lnTo>
                  <a:pt x="28" y="453"/>
                </a:lnTo>
                <a:lnTo>
                  <a:pt x="82" y="380"/>
                </a:lnTo>
                <a:lnTo>
                  <a:pt x="0" y="27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98" name="Freeform 120"/>
          <p:cNvSpPr>
            <a:spLocks noChangeAspect="1"/>
          </p:cNvSpPr>
          <p:nvPr/>
        </p:nvSpPr>
        <p:spPr bwMode="gray">
          <a:xfrm>
            <a:off x="3517630" y="4470679"/>
            <a:ext cx="149034" cy="68889"/>
          </a:xfrm>
          <a:custGeom>
            <a:avLst/>
            <a:gdLst/>
            <a:ahLst/>
            <a:cxnLst>
              <a:cxn ang="0">
                <a:pos x="0" y="46"/>
              </a:cxn>
              <a:cxn ang="0">
                <a:pos x="16" y="0"/>
              </a:cxn>
              <a:cxn ang="0">
                <a:pos x="58" y="28"/>
              </a:cxn>
              <a:cxn ang="0">
                <a:pos x="132" y="1"/>
              </a:cxn>
              <a:cxn ang="0">
                <a:pos x="196" y="34"/>
              </a:cxn>
              <a:cxn ang="0">
                <a:pos x="179" y="84"/>
              </a:cxn>
              <a:cxn ang="0">
                <a:pos x="174" y="43"/>
              </a:cxn>
              <a:cxn ang="0">
                <a:pos x="132" y="27"/>
              </a:cxn>
              <a:cxn ang="0">
                <a:pos x="92" y="52"/>
              </a:cxn>
              <a:cxn ang="0">
                <a:pos x="102" y="76"/>
              </a:cxn>
              <a:cxn ang="0">
                <a:pos x="84" y="87"/>
              </a:cxn>
              <a:cxn ang="0">
                <a:pos x="0" y="46"/>
              </a:cxn>
            </a:cxnLst>
            <a:rect l="0" t="0" r="r" b="b"/>
            <a:pathLst>
              <a:path w="196" h="87">
                <a:moveTo>
                  <a:pt x="0" y="46"/>
                </a:moveTo>
                <a:lnTo>
                  <a:pt x="16" y="0"/>
                </a:lnTo>
                <a:lnTo>
                  <a:pt x="58" y="28"/>
                </a:lnTo>
                <a:lnTo>
                  <a:pt x="132" y="1"/>
                </a:lnTo>
                <a:lnTo>
                  <a:pt x="196" y="34"/>
                </a:lnTo>
                <a:lnTo>
                  <a:pt x="179" y="84"/>
                </a:lnTo>
                <a:lnTo>
                  <a:pt x="174" y="43"/>
                </a:lnTo>
                <a:lnTo>
                  <a:pt x="132" y="27"/>
                </a:lnTo>
                <a:lnTo>
                  <a:pt x="92" y="52"/>
                </a:lnTo>
                <a:lnTo>
                  <a:pt x="102" y="76"/>
                </a:lnTo>
                <a:lnTo>
                  <a:pt x="84" y="87"/>
                </a:lnTo>
                <a:lnTo>
                  <a:pt x="0" y="4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199" name="Freeform 121"/>
          <p:cNvSpPr>
            <a:spLocks noChangeAspect="1"/>
          </p:cNvSpPr>
          <p:nvPr/>
        </p:nvSpPr>
        <p:spPr bwMode="gray">
          <a:xfrm>
            <a:off x="9398577" y="4809960"/>
            <a:ext cx="264731" cy="211837"/>
          </a:xfrm>
          <a:custGeom>
            <a:avLst/>
            <a:gdLst/>
            <a:ahLst/>
            <a:cxnLst>
              <a:cxn ang="0">
                <a:pos x="0" y="0"/>
              </a:cxn>
              <a:cxn ang="0">
                <a:pos x="5" y="224"/>
              </a:cxn>
              <a:cxn ang="0">
                <a:pos x="61" y="231"/>
              </a:cxn>
              <a:cxn ang="0">
                <a:pos x="116" y="170"/>
              </a:cxn>
              <a:cxn ang="0">
                <a:pos x="178" y="197"/>
              </a:cxn>
              <a:cxn ang="0">
                <a:pos x="235" y="257"/>
              </a:cxn>
              <a:cxn ang="0">
                <a:pos x="343" y="268"/>
              </a:cxn>
              <a:cxn ang="0">
                <a:pos x="220" y="167"/>
              </a:cxn>
              <a:cxn ang="0">
                <a:pos x="228" y="120"/>
              </a:cxn>
              <a:cxn ang="0">
                <a:pos x="170" y="103"/>
              </a:cxn>
              <a:cxn ang="0">
                <a:pos x="115" y="40"/>
              </a:cxn>
              <a:cxn ang="0">
                <a:pos x="0" y="0"/>
              </a:cxn>
            </a:cxnLst>
            <a:rect l="0" t="0" r="r" b="b"/>
            <a:pathLst>
              <a:path w="343" h="268">
                <a:moveTo>
                  <a:pt x="0" y="0"/>
                </a:moveTo>
                <a:lnTo>
                  <a:pt x="5" y="224"/>
                </a:lnTo>
                <a:lnTo>
                  <a:pt x="61" y="231"/>
                </a:lnTo>
                <a:lnTo>
                  <a:pt x="116" y="170"/>
                </a:lnTo>
                <a:lnTo>
                  <a:pt x="178" y="197"/>
                </a:lnTo>
                <a:lnTo>
                  <a:pt x="235" y="257"/>
                </a:lnTo>
                <a:lnTo>
                  <a:pt x="343" y="268"/>
                </a:lnTo>
                <a:lnTo>
                  <a:pt x="220" y="167"/>
                </a:lnTo>
                <a:lnTo>
                  <a:pt x="228" y="120"/>
                </a:lnTo>
                <a:lnTo>
                  <a:pt x="170" y="103"/>
                </a:lnTo>
                <a:lnTo>
                  <a:pt x="115" y="40"/>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00" name="Freeform 122"/>
          <p:cNvSpPr>
            <a:spLocks noChangeAspect="1"/>
          </p:cNvSpPr>
          <p:nvPr/>
        </p:nvSpPr>
        <p:spPr bwMode="gray">
          <a:xfrm>
            <a:off x="9590750" y="4856458"/>
            <a:ext cx="111776" cy="53390"/>
          </a:xfrm>
          <a:custGeom>
            <a:avLst/>
            <a:gdLst/>
            <a:ahLst/>
            <a:cxnLst>
              <a:cxn ang="0">
                <a:pos x="0" y="47"/>
              </a:cxn>
              <a:cxn ang="0">
                <a:pos x="84" y="71"/>
              </a:cxn>
              <a:cxn ang="0">
                <a:pos x="143" y="22"/>
              </a:cxn>
              <a:cxn ang="0">
                <a:pos x="119" y="0"/>
              </a:cxn>
              <a:cxn ang="0">
                <a:pos x="101" y="28"/>
              </a:cxn>
              <a:cxn ang="0">
                <a:pos x="0" y="47"/>
              </a:cxn>
            </a:cxnLst>
            <a:rect l="0" t="0" r="r" b="b"/>
            <a:pathLst>
              <a:path w="143" h="71">
                <a:moveTo>
                  <a:pt x="0" y="47"/>
                </a:moveTo>
                <a:lnTo>
                  <a:pt x="84" y="71"/>
                </a:lnTo>
                <a:lnTo>
                  <a:pt x="143" y="22"/>
                </a:lnTo>
                <a:lnTo>
                  <a:pt x="119" y="0"/>
                </a:lnTo>
                <a:lnTo>
                  <a:pt x="101" y="28"/>
                </a:lnTo>
                <a:lnTo>
                  <a:pt x="0" y="4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01" name="Freeform 123"/>
          <p:cNvSpPr>
            <a:spLocks noChangeAspect="1"/>
          </p:cNvSpPr>
          <p:nvPr/>
        </p:nvSpPr>
        <p:spPr bwMode="gray">
          <a:xfrm>
            <a:off x="9657424" y="4813401"/>
            <a:ext cx="56869" cy="53390"/>
          </a:xfrm>
          <a:custGeom>
            <a:avLst/>
            <a:gdLst/>
            <a:ahLst/>
            <a:cxnLst>
              <a:cxn ang="0">
                <a:pos x="0" y="0"/>
              </a:cxn>
              <a:cxn ang="0">
                <a:pos x="56" y="31"/>
              </a:cxn>
              <a:cxn ang="0">
                <a:pos x="74" y="68"/>
              </a:cxn>
              <a:cxn ang="0">
                <a:pos x="73" y="41"/>
              </a:cxn>
              <a:cxn ang="0">
                <a:pos x="0" y="0"/>
              </a:cxn>
            </a:cxnLst>
            <a:rect l="0" t="0" r="r" b="b"/>
            <a:pathLst>
              <a:path w="74" h="68">
                <a:moveTo>
                  <a:pt x="0" y="0"/>
                </a:moveTo>
                <a:lnTo>
                  <a:pt x="56" y="31"/>
                </a:lnTo>
                <a:lnTo>
                  <a:pt x="74" y="68"/>
                </a:lnTo>
                <a:lnTo>
                  <a:pt x="73" y="41"/>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02" name="Freeform 124"/>
          <p:cNvSpPr>
            <a:spLocks noChangeAspect="1"/>
          </p:cNvSpPr>
          <p:nvPr/>
        </p:nvSpPr>
        <p:spPr bwMode="gray">
          <a:xfrm>
            <a:off x="4054936" y="5273242"/>
            <a:ext cx="209824" cy="234224"/>
          </a:xfrm>
          <a:custGeom>
            <a:avLst/>
            <a:gdLst/>
            <a:ahLst/>
            <a:cxnLst>
              <a:cxn ang="0">
                <a:pos x="0" y="110"/>
              </a:cxn>
              <a:cxn ang="0">
                <a:pos x="21" y="17"/>
              </a:cxn>
              <a:cxn ang="0">
                <a:pos x="123" y="0"/>
              </a:cxn>
              <a:cxn ang="0">
                <a:pos x="157" y="32"/>
              </a:cxn>
              <a:cxn ang="0">
                <a:pos x="166" y="101"/>
              </a:cxn>
              <a:cxn ang="0">
                <a:pos x="238" y="114"/>
              </a:cxn>
              <a:cxn ang="0">
                <a:pos x="248" y="161"/>
              </a:cxn>
              <a:cxn ang="0">
                <a:pos x="283" y="170"/>
              </a:cxn>
              <a:cxn ang="0">
                <a:pos x="277" y="232"/>
              </a:cxn>
              <a:cxn ang="0">
                <a:pos x="241" y="295"/>
              </a:cxn>
              <a:cxn ang="0">
                <a:pos x="147" y="290"/>
              </a:cxn>
              <a:cxn ang="0">
                <a:pos x="167" y="220"/>
              </a:cxn>
              <a:cxn ang="0">
                <a:pos x="0" y="110"/>
              </a:cxn>
            </a:cxnLst>
            <a:rect l="0" t="0" r="r" b="b"/>
            <a:pathLst>
              <a:path w="283" h="295">
                <a:moveTo>
                  <a:pt x="0" y="110"/>
                </a:moveTo>
                <a:lnTo>
                  <a:pt x="21" y="17"/>
                </a:lnTo>
                <a:lnTo>
                  <a:pt x="123" y="0"/>
                </a:lnTo>
                <a:lnTo>
                  <a:pt x="157" y="32"/>
                </a:lnTo>
                <a:lnTo>
                  <a:pt x="166" y="101"/>
                </a:lnTo>
                <a:lnTo>
                  <a:pt x="238" y="114"/>
                </a:lnTo>
                <a:lnTo>
                  <a:pt x="248" y="161"/>
                </a:lnTo>
                <a:lnTo>
                  <a:pt x="283" y="170"/>
                </a:lnTo>
                <a:lnTo>
                  <a:pt x="277" y="232"/>
                </a:lnTo>
                <a:lnTo>
                  <a:pt x="241" y="295"/>
                </a:lnTo>
                <a:lnTo>
                  <a:pt x="147" y="290"/>
                </a:lnTo>
                <a:lnTo>
                  <a:pt x="167" y="220"/>
                </a:lnTo>
                <a:lnTo>
                  <a:pt x="0" y="11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03" name="Freeform 125"/>
          <p:cNvSpPr>
            <a:spLocks noChangeAspect="1"/>
          </p:cNvSpPr>
          <p:nvPr/>
        </p:nvSpPr>
        <p:spPr bwMode="gray">
          <a:xfrm>
            <a:off x="3560773" y="4742793"/>
            <a:ext cx="329443" cy="497727"/>
          </a:xfrm>
          <a:custGeom>
            <a:avLst/>
            <a:gdLst/>
            <a:ahLst/>
            <a:cxnLst>
              <a:cxn ang="0">
                <a:pos x="0" y="146"/>
              </a:cxn>
              <a:cxn ang="0">
                <a:pos x="8" y="196"/>
              </a:cxn>
              <a:cxn ang="0">
                <a:pos x="87" y="283"/>
              </a:cxn>
              <a:cxn ang="0">
                <a:pos x="175" y="489"/>
              </a:cxn>
              <a:cxn ang="0">
                <a:pos x="373" y="627"/>
              </a:cxn>
              <a:cxn ang="0">
                <a:pos x="407" y="602"/>
              </a:cxn>
              <a:cxn ang="0">
                <a:pos x="425" y="558"/>
              </a:cxn>
              <a:cxn ang="0">
                <a:pos x="396" y="543"/>
              </a:cxn>
              <a:cxn ang="0">
                <a:pos x="414" y="530"/>
              </a:cxn>
              <a:cxn ang="0">
                <a:pos x="435" y="424"/>
              </a:cxn>
              <a:cxn ang="0">
                <a:pos x="405" y="374"/>
              </a:cxn>
              <a:cxn ang="0">
                <a:pos x="374" y="374"/>
              </a:cxn>
              <a:cxn ang="0">
                <a:pos x="374" y="316"/>
              </a:cxn>
              <a:cxn ang="0">
                <a:pos x="337" y="341"/>
              </a:cxn>
              <a:cxn ang="0">
                <a:pos x="290" y="319"/>
              </a:cxn>
              <a:cxn ang="0">
                <a:pos x="260" y="255"/>
              </a:cxn>
              <a:cxn ang="0">
                <a:pos x="308" y="174"/>
              </a:cxn>
              <a:cxn ang="0">
                <a:pos x="396" y="139"/>
              </a:cxn>
              <a:cxn ang="0">
                <a:pos x="372" y="124"/>
              </a:cxn>
              <a:cxn ang="0">
                <a:pos x="386" y="84"/>
              </a:cxn>
              <a:cxn ang="0">
                <a:pos x="287" y="77"/>
              </a:cxn>
              <a:cxn ang="0">
                <a:pos x="211" y="0"/>
              </a:cxn>
              <a:cxn ang="0">
                <a:pos x="194" y="56"/>
              </a:cxn>
              <a:cxn ang="0">
                <a:pos x="116" y="104"/>
              </a:cxn>
              <a:cxn ang="0">
                <a:pos x="76" y="163"/>
              </a:cxn>
              <a:cxn ang="0">
                <a:pos x="30" y="154"/>
              </a:cxn>
              <a:cxn ang="0">
                <a:pos x="35" y="118"/>
              </a:cxn>
              <a:cxn ang="0">
                <a:pos x="0" y="146"/>
              </a:cxn>
            </a:cxnLst>
            <a:rect l="0" t="0" r="r" b="b"/>
            <a:pathLst>
              <a:path w="435" h="627">
                <a:moveTo>
                  <a:pt x="0" y="146"/>
                </a:moveTo>
                <a:lnTo>
                  <a:pt x="8" y="196"/>
                </a:lnTo>
                <a:lnTo>
                  <a:pt x="87" y="283"/>
                </a:lnTo>
                <a:lnTo>
                  <a:pt x="175" y="489"/>
                </a:lnTo>
                <a:lnTo>
                  <a:pt x="373" y="627"/>
                </a:lnTo>
                <a:lnTo>
                  <a:pt x="407" y="602"/>
                </a:lnTo>
                <a:lnTo>
                  <a:pt x="425" y="558"/>
                </a:lnTo>
                <a:lnTo>
                  <a:pt x="396" y="543"/>
                </a:lnTo>
                <a:lnTo>
                  <a:pt x="414" y="530"/>
                </a:lnTo>
                <a:lnTo>
                  <a:pt x="435" y="424"/>
                </a:lnTo>
                <a:lnTo>
                  <a:pt x="405" y="374"/>
                </a:lnTo>
                <a:lnTo>
                  <a:pt x="374" y="374"/>
                </a:lnTo>
                <a:lnTo>
                  <a:pt x="374" y="316"/>
                </a:lnTo>
                <a:lnTo>
                  <a:pt x="337" y="341"/>
                </a:lnTo>
                <a:lnTo>
                  <a:pt x="290" y="319"/>
                </a:lnTo>
                <a:lnTo>
                  <a:pt x="260" y="255"/>
                </a:lnTo>
                <a:lnTo>
                  <a:pt x="308" y="174"/>
                </a:lnTo>
                <a:lnTo>
                  <a:pt x="396" y="139"/>
                </a:lnTo>
                <a:lnTo>
                  <a:pt x="372" y="124"/>
                </a:lnTo>
                <a:lnTo>
                  <a:pt x="386" y="84"/>
                </a:lnTo>
                <a:lnTo>
                  <a:pt x="287" y="77"/>
                </a:lnTo>
                <a:lnTo>
                  <a:pt x="211" y="0"/>
                </a:lnTo>
                <a:lnTo>
                  <a:pt x="194" y="56"/>
                </a:lnTo>
                <a:lnTo>
                  <a:pt x="116" y="104"/>
                </a:lnTo>
                <a:lnTo>
                  <a:pt x="76" y="163"/>
                </a:lnTo>
                <a:lnTo>
                  <a:pt x="30" y="154"/>
                </a:lnTo>
                <a:lnTo>
                  <a:pt x="35" y="118"/>
                </a:lnTo>
                <a:lnTo>
                  <a:pt x="0" y="14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04" name="Freeform 126"/>
          <p:cNvSpPr>
            <a:spLocks noChangeAspect="1"/>
          </p:cNvSpPr>
          <p:nvPr/>
        </p:nvSpPr>
        <p:spPr bwMode="gray">
          <a:xfrm>
            <a:off x="8773028" y="4424176"/>
            <a:ext cx="60791" cy="80946"/>
          </a:xfrm>
          <a:custGeom>
            <a:avLst/>
            <a:gdLst/>
            <a:ahLst/>
            <a:cxnLst>
              <a:cxn ang="0">
                <a:pos x="0" y="100"/>
              </a:cxn>
              <a:cxn ang="0">
                <a:pos x="55" y="53"/>
              </a:cxn>
              <a:cxn ang="0">
                <a:pos x="80" y="0"/>
              </a:cxn>
              <a:cxn ang="0">
                <a:pos x="0" y="100"/>
              </a:cxn>
            </a:cxnLst>
            <a:rect l="0" t="0" r="r" b="b"/>
            <a:pathLst>
              <a:path w="80" h="100">
                <a:moveTo>
                  <a:pt x="0" y="100"/>
                </a:moveTo>
                <a:lnTo>
                  <a:pt x="55" y="53"/>
                </a:lnTo>
                <a:lnTo>
                  <a:pt x="80" y="0"/>
                </a:lnTo>
                <a:lnTo>
                  <a:pt x="0" y="10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05" name="Freeform 127"/>
          <p:cNvSpPr>
            <a:spLocks noChangeAspect="1"/>
          </p:cNvSpPr>
          <p:nvPr/>
        </p:nvSpPr>
        <p:spPr bwMode="gray">
          <a:xfrm>
            <a:off x="7365052" y="3893731"/>
            <a:ext cx="103932" cy="172223"/>
          </a:xfrm>
          <a:custGeom>
            <a:avLst/>
            <a:gdLst/>
            <a:ahLst/>
            <a:cxnLst>
              <a:cxn ang="0">
                <a:pos x="0" y="83"/>
              </a:cxn>
              <a:cxn ang="0">
                <a:pos x="27" y="0"/>
              </a:cxn>
              <a:cxn ang="0">
                <a:pos x="78" y="2"/>
              </a:cxn>
              <a:cxn ang="0">
                <a:pos x="90" y="57"/>
              </a:cxn>
              <a:cxn ang="0">
                <a:pos x="52" y="113"/>
              </a:cxn>
              <a:cxn ang="0">
                <a:pos x="60" y="146"/>
              </a:cxn>
              <a:cxn ang="0">
                <a:pos x="136" y="167"/>
              </a:cxn>
              <a:cxn ang="0">
                <a:pos x="142" y="211"/>
              </a:cxn>
              <a:cxn ang="0">
                <a:pos x="96" y="167"/>
              </a:cxn>
              <a:cxn ang="0">
                <a:pos x="96" y="188"/>
              </a:cxn>
              <a:cxn ang="0">
                <a:pos x="27" y="167"/>
              </a:cxn>
              <a:cxn ang="0">
                <a:pos x="0" y="83"/>
              </a:cxn>
            </a:cxnLst>
            <a:rect l="0" t="0" r="r" b="b"/>
            <a:pathLst>
              <a:path w="142" h="211">
                <a:moveTo>
                  <a:pt x="0" y="83"/>
                </a:moveTo>
                <a:lnTo>
                  <a:pt x="27" y="0"/>
                </a:lnTo>
                <a:lnTo>
                  <a:pt x="78" y="2"/>
                </a:lnTo>
                <a:lnTo>
                  <a:pt x="90" y="57"/>
                </a:lnTo>
                <a:lnTo>
                  <a:pt x="52" y="113"/>
                </a:lnTo>
                <a:lnTo>
                  <a:pt x="60" y="146"/>
                </a:lnTo>
                <a:lnTo>
                  <a:pt x="136" y="167"/>
                </a:lnTo>
                <a:lnTo>
                  <a:pt x="142" y="211"/>
                </a:lnTo>
                <a:lnTo>
                  <a:pt x="96" y="167"/>
                </a:lnTo>
                <a:lnTo>
                  <a:pt x="96" y="188"/>
                </a:lnTo>
                <a:lnTo>
                  <a:pt x="27" y="167"/>
                </a:lnTo>
                <a:lnTo>
                  <a:pt x="0" y="8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06" name="Freeform 128"/>
          <p:cNvSpPr>
            <a:spLocks noChangeAspect="1"/>
          </p:cNvSpPr>
          <p:nvPr/>
        </p:nvSpPr>
        <p:spPr bwMode="gray">
          <a:xfrm>
            <a:off x="8853427" y="4367343"/>
            <a:ext cx="31375" cy="31000"/>
          </a:xfrm>
          <a:custGeom>
            <a:avLst/>
            <a:gdLst/>
            <a:ahLst/>
            <a:cxnLst>
              <a:cxn ang="0">
                <a:pos x="0" y="0"/>
              </a:cxn>
              <a:cxn ang="0">
                <a:pos x="21" y="0"/>
              </a:cxn>
              <a:cxn ang="0">
                <a:pos x="40" y="8"/>
              </a:cxn>
              <a:cxn ang="0">
                <a:pos x="30" y="42"/>
              </a:cxn>
              <a:cxn ang="0">
                <a:pos x="0" y="0"/>
              </a:cxn>
            </a:cxnLst>
            <a:rect l="0" t="0" r="r" b="b"/>
            <a:pathLst>
              <a:path w="40" h="42">
                <a:moveTo>
                  <a:pt x="0" y="0"/>
                </a:moveTo>
                <a:lnTo>
                  <a:pt x="21" y="0"/>
                </a:lnTo>
                <a:lnTo>
                  <a:pt x="40" y="8"/>
                </a:lnTo>
                <a:lnTo>
                  <a:pt x="30" y="42"/>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07" name="Freeform 129"/>
          <p:cNvSpPr>
            <a:spLocks noChangeAspect="1"/>
          </p:cNvSpPr>
          <p:nvPr/>
        </p:nvSpPr>
        <p:spPr bwMode="gray">
          <a:xfrm>
            <a:off x="8896567" y="4408677"/>
            <a:ext cx="27454" cy="43056"/>
          </a:xfrm>
          <a:custGeom>
            <a:avLst/>
            <a:gdLst/>
            <a:ahLst/>
            <a:cxnLst>
              <a:cxn ang="0">
                <a:pos x="0" y="0"/>
              </a:cxn>
              <a:cxn ang="0">
                <a:pos x="2" y="55"/>
              </a:cxn>
              <a:cxn ang="0">
                <a:pos x="37" y="32"/>
              </a:cxn>
              <a:cxn ang="0">
                <a:pos x="0" y="0"/>
              </a:cxn>
            </a:cxnLst>
            <a:rect l="0" t="0" r="r" b="b"/>
            <a:pathLst>
              <a:path w="37" h="55">
                <a:moveTo>
                  <a:pt x="0" y="0"/>
                </a:moveTo>
                <a:lnTo>
                  <a:pt x="2" y="55"/>
                </a:lnTo>
                <a:lnTo>
                  <a:pt x="37" y="32"/>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08" name="Freeform 130"/>
          <p:cNvSpPr>
            <a:spLocks noChangeAspect="1"/>
          </p:cNvSpPr>
          <p:nvPr/>
        </p:nvSpPr>
        <p:spPr bwMode="gray">
          <a:xfrm>
            <a:off x="8896567" y="4467233"/>
            <a:ext cx="113736" cy="115390"/>
          </a:xfrm>
          <a:custGeom>
            <a:avLst/>
            <a:gdLst/>
            <a:ahLst/>
            <a:cxnLst>
              <a:cxn ang="0">
                <a:pos x="0" y="99"/>
              </a:cxn>
              <a:cxn ang="0">
                <a:pos x="33" y="48"/>
              </a:cxn>
              <a:cxn ang="0">
                <a:pos x="73" y="56"/>
              </a:cxn>
              <a:cxn ang="0">
                <a:pos x="126" y="0"/>
              </a:cxn>
              <a:cxn ang="0">
                <a:pos x="152" y="33"/>
              </a:cxn>
              <a:cxn ang="0">
                <a:pos x="148" y="119"/>
              </a:cxn>
              <a:cxn ang="0">
                <a:pos x="135" y="83"/>
              </a:cxn>
              <a:cxn ang="0">
                <a:pos x="120" y="144"/>
              </a:cxn>
              <a:cxn ang="0">
                <a:pos x="82" y="127"/>
              </a:cxn>
              <a:cxn ang="0">
                <a:pos x="59" y="65"/>
              </a:cxn>
              <a:cxn ang="0">
                <a:pos x="0" y="99"/>
              </a:cxn>
            </a:cxnLst>
            <a:rect l="0" t="0" r="r" b="b"/>
            <a:pathLst>
              <a:path w="152" h="144">
                <a:moveTo>
                  <a:pt x="0" y="99"/>
                </a:moveTo>
                <a:lnTo>
                  <a:pt x="33" y="48"/>
                </a:lnTo>
                <a:lnTo>
                  <a:pt x="73" y="56"/>
                </a:lnTo>
                <a:lnTo>
                  <a:pt x="126" y="0"/>
                </a:lnTo>
                <a:lnTo>
                  <a:pt x="152" y="33"/>
                </a:lnTo>
                <a:lnTo>
                  <a:pt x="148" y="119"/>
                </a:lnTo>
                <a:lnTo>
                  <a:pt x="135" y="83"/>
                </a:lnTo>
                <a:lnTo>
                  <a:pt x="120" y="144"/>
                </a:lnTo>
                <a:lnTo>
                  <a:pt x="82" y="127"/>
                </a:lnTo>
                <a:lnTo>
                  <a:pt x="59" y="65"/>
                </a:lnTo>
                <a:lnTo>
                  <a:pt x="0" y="9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09" name="Freeform 131"/>
          <p:cNvSpPr>
            <a:spLocks noChangeAspect="1"/>
          </p:cNvSpPr>
          <p:nvPr/>
        </p:nvSpPr>
        <p:spPr bwMode="gray">
          <a:xfrm>
            <a:off x="8912255" y="4441401"/>
            <a:ext cx="23532" cy="48222"/>
          </a:xfrm>
          <a:custGeom>
            <a:avLst/>
            <a:gdLst/>
            <a:ahLst/>
            <a:cxnLst>
              <a:cxn ang="0">
                <a:pos x="0" y="38"/>
              </a:cxn>
              <a:cxn ang="0">
                <a:pos x="8" y="25"/>
              </a:cxn>
              <a:cxn ang="0">
                <a:pos x="34" y="0"/>
              </a:cxn>
              <a:cxn ang="0">
                <a:pos x="23" y="58"/>
              </a:cxn>
              <a:cxn ang="0">
                <a:pos x="0" y="38"/>
              </a:cxn>
            </a:cxnLst>
            <a:rect l="0" t="0" r="r" b="b"/>
            <a:pathLst>
              <a:path w="34" h="58">
                <a:moveTo>
                  <a:pt x="0" y="38"/>
                </a:moveTo>
                <a:lnTo>
                  <a:pt x="8" y="25"/>
                </a:lnTo>
                <a:lnTo>
                  <a:pt x="34" y="0"/>
                </a:lnTo>
                <a:lnTo>
                  <a:pt x="23" y="58"/>
                </a:lnTo>
                <a:lnTo>
                  <a:pt x="0" y="3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10" name="Freeform 133"/>
          <p:cNvSpPr>
            <a:spLocks noChangeAspect="1"/>
          </p:cNvSpPr>
          <p:nvPr/>
        </p:nvSpPr>
        <p:spPr bwMode="gray">
          <a:xfrm>
            <a:off x="5455068" y="3518279"/>
            <a:ext cx="82361" cy="153280"/>
          </a:xfrm>
          <a:custGeom>
            <a:avLst/>
            <a:gdLst/>
            <a:ahLst/>
            <a:cxnLst>
              <a:cxn ang="0">
                <a:pos x="0" y="125"/>
              </a:cxn>
              <a:cxn ang="0">
                <a:pos x="19" y="0"/>
              </a:cxn>
              <a:cxn ang="0">
                <a:pos x="109" y="8"/>
              </a:cxn>
              <a:cxn ang="0">
                <a:pos x="69" y="88"/>
              </a:cxn>
              <a:cxn ang="0">
                <a:pos x="69" y="187"/>
              </a:cxn>
              <a:cxn ang="0">
                <a:pos x="16" y="192"/>
              </a:cxn>
              <a:cxn ang="0">
                <a:pos x="23" y="132"/>
              </a:cxn>
              <a:cxn ang="0">
                <a:pos x="0" y="125"/>
              </a:cxn>
            </a:cxnLst>
            <a:rect l="0" t="0" r="r" b="b"/>
            <a:pathLst>
              <a:path w="109" h="192">
                <a:moveTo>
                  <a:pt x="0" y="125"/>
                </a:moveTo>
                <a:lnTo>
                  <a:pt x="19" y="0"/>
                </a:lnTo>
                <a:lnTo>
                  <a:pt x="109" y="8"/>
                </a:lnTo>
                <a:lnTo>
                  <a:pt x="69" y="88"/>
                </a:lnTo>
                <a:lnTo>
                  <a:pt x="69" y="187"/>
                </a:lnTo>
                <a:lnTo>
                  <a:pt x="16" y="192"/>
                </a:lnTo>
                <a:lnTo>
                  <a:pt x="23" y="132"/>
                </a:lnTo>
                <a:lnTo>
                  <a:pt x="0" y="12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11" name="Freeform 134"/>
          <p:cNvSpPr>
            <a:spLocks noChangeAspect="1"/>
          </p:cNvSpPr>
          <p:nvPr/>
        </p:nvSpPr>
        <p:spPr bwMode="gray">
          <a:xfrm>
            <a:off x="6223767" y="3297836"/>
            <a:ext cx="252966" cy="155001"/>
          </a:xfrm>
          <a:custGeom>
            <a:avLst/>
            <a:gdLst/>
            <a:ahLst/>
            <a:cxnLst>
              <a:cxn ang="0">
                <a:pos x="0" y="94"/>
              </a:cxn>
              <a:cxn ang="0">
                <a:pos x="89" y="174"/>
              </a:cxn>
              <a:cxn ang="0">
                <a:pos x="293" y="193"/>
              </a:cxn>
              <a:cxn ang="0">
                <a:pos x="329" y="126"/>
              </a:cxn>
              <a:cxn ang="0">
                <a:pos x="277" y="122"/>
              </a:cxn>
              <a:cxn ang="0">
                <a:pos x="272" y="63"/>
              </a:cxn>
              <a:cxn ang="0">
                <a:pos x="226" y="0"/>
              </a:cxn>
              <a:cxn ang="0">
                <a:pos x="89" y="13"/>
              </a:cxn>
              <a:cxn ang="0">
                <a:pos x="0" y="94"/>
              </a:cxn>
            </a:cxnLst>
            <a:rect l="0" t="0" r="r" b="b"/>
            <a:pathLst>
              <a:path w="329" h="193">
                <a:moveTo>
                  <a:pt x="0" y="94"/>
                </a:moveTo>
                <a:lnTo>
                  <a:pt x="89" y="174"/>
                </a:lnTo>
                <a:lnTo>
                  <a:pt x="293" y="193"/>
                </a:lnTo>
                <a:lnTo>
                  <a:pt x="329" y="126"/>
                </a:lnTo>
                <a:lnTo>
                  <a:pt x="277" y="122"/>
                </a:lnTo>
                <a:lnTo>
                  <a:pt x="272" y="63"/>
                </a:lnTo>
                <a:lnTo>
                  <a:pt x="226" y="0"/>
                </a:lnTo>
                <a:lnTo>
                  <a:pt x="89" y="13"/>
                </a:lnTo>
                <a:lnTo>
                  <a:pt x="0" y="9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12" name="Freeform 135"/>
          <p:cNvSpPr>
            <a:spLocks noChangeAspect="1"/>
          </p:cNvSpPr>
          <p:nvPr/>
        </p:nvSpPr>
        <p:spPr bwMode="gray">
          <a:xfrm>
            <a:off x="6610080" y="3821395"/>
            <a:ext cx="547111" cy="482226"/>
          </a:xfrm>
          <a:custGeom>
            <a:avLst/>
            <a:gdLst/>
            <a:ahLst/>
            <a:cxnLst>
              <a:cxn ang="0">
                <a:pos x="0" y="158"/>
              </a:cxn>
              <a:cxn ang="0">
                <a:pos x="10" y="106"/>
              </a:cxn>
              <a:cxn ang="0">
                <a:pos x="49" y="117"/>
              </a:cxn>
              <a:cxn ang="0">
                <a:pos x="96" y="85"/>
              </a:cxn>
              <a:cxn ang="0">
                <a:pos x="115" y="61"/>
              </a:cxn>
              <a:cxn ang="0">
                <a:pos x="77" y="26"/>
              </a:cxn>
              <a:cxn ang="0">
                <a:pos x="156" y="0"/>
              </a:cxn>
              <a:cxn ang="0">
                <a:pos x="312" y="70"/>
              </a:cxn>
              <a:cxn ang="0">
                <a:pos x="314" y="96"/>
              </a:cxn>
              <a:cxn ang="0">
                <a:pos x="350" y="113"/>
              </a:cxn>
              <a:cxn ang="0">
                <a:pos x="383" y="130"/>
              </a:cxn>
              <a:cxn ang="0">
                <a:pos x="414" y="117"/>
              </a:cxn>
              <a:cxn ang="0">
                <a:pos x="476" y="137"/>
              </a:cxn>
              <a:cxn ang="0">
                <a:pos x="561" y="276"/>
              </a:cxn>
              <a:cxn ang="0">
                <a:pos x="570" y="285"/>
              </a:cxn>
              <a:cxn ang="0">
                <a:pos x="603" y="340"/>
              </a:cxn>
              <a:cxn ang="0">
                <a:pos x="713" y="353"/>
              </a:cxn>
              <a:cxn ang="0">
                <a:pos x="731" y="378"/>
              </a:cxn>
              <a:cxn ang="0">
                <a:pos x="705" y="450"/>
              </a:cxn>
              <a:cxn ang="0">
                <a:pos x="603" y="486"/>
              </a:cxn>
              <a:cxn ang="0">
                <a:pos x="492" y="510"/>
              </a:cxn>
              <a:cxn ang="0">
                <a:pos x="403" y="607"/>
              </a:cxn>
              <a:cxn ang="0">
                <a:pos x="403" y="570"/>
              </a:cxn>
              <a:cxn ang="0">
                <a:pos x="340" y="546"/>
              </a:cxn>
              <a:cxn ang="0">
                <a:pos x="278" y="579"/>
              </a:cxn>
              <a:cxn ang="0">
                <a:pos x="214" y="469"/>
              </a:cxn>
              <a:cxn ang="0">
                <a:pos x="163" y="426"/>
              </a:cxn>
              <a:cxn ang="0">
                <a:pos x="130" y="311"/>
              </a:cxn>
              <a:cxn ang="0">
                <a:pos x="0" y="158"/>
              </a:cxn>
            </a:cxnLst>
            <a:rect l="0" t="0" r="r" b="b"/>
            <a:pathLst>
              <a:path w="731" h="607">
                <a:moveTo>
                  <a:pt x="0" y="158"/>
                </a:moveTo>
                <a:lnTo>
                  <a:pt x="10" y="106"/>
                </a:lnTo>
                <a:lnTo>
                  <a:pt x="49" y="117"/>
                </a:lnTo>
                <a:lnTo>
                  <a:pt x="96" y="85"/>
                </a:lnTo>
                <a:lnTo>
                  <a:pt x="115" y="61"/>
                </a:lnTo>
                <a:lnTo>
                  <a:pt x="77" y="26"/>
                </a:lnTo>
                <a:lnTo>
                  <a:pt x="156" y="0"/>
                </a:lnTo>
                <a:lnTo>
                  <a:pt x="312" y="70"/>
                </a:lnTo>
                <a:lnTo>
                  <a:pt x="314" y="96"/>
                </a:lnTo>
                <a:lnTo>
                  <a:pt x="350" y="113"/>
                </a:lnTo>
                <a:lnTo>
                  <a:pt x="383" y="130"/>
                </a:lnTo>
                <a:lnTo>
                  <a:pt x="414" y="117"/>
                </a:lnTo>
                <a:lnTo>
                  <a:pt x="476" y="137"/>
                </a:lnTo>
                <a:lnTo>
                  <a:pt x="561" y="276"/>
                </a:lnTo>
                <a:lnTo>
                  <a:pt x="570" y="285"/>
                </a:lnTo>
                <a:lnTo>
                  <a:pt x="603" y="340"/>
                </a:lnTo>
                <a:lnTo>
                  <a:pt x="713" y="353"/>
                </a:lnTo>
                <a:lnTo>
                  <a:pt x="731" y="378"/>
                </a:lnTo>
                <a:lnTo>
                  <a:pt x="705" y="450"/>
                </a:lnTo>
                <a:lnTo>
                  <a:pt x="603" y="486"/>
                </a:lnTo>
                <a:lnTo>
                  <a:pt x="492" y="510"/>
                </a:lnTo>
                <a:lnTo>
                  <a:pt x="403" y="607"/>
                </a:lnTo>
                <a:lnTo>
                  <a:pt x="403" y="570"/>
                </a:lnTo>
                <a:lnTo>
                  <a:pt x="340" y="546"/>
                </a:lnTo>
                <a:lnTo>
                  <a:pt x="278" y="579"/>
                </a:lnTo>
                <a:lnTo>
                  <a:pt x="214" y="469"/>
                </a:lnTo>
                <a:lnTo>
                  <a:pt x="163" y="426"/>
                </a:lnTo>
                <a:lnTo>
                  <a:pt x="130" y="311"/>
                </a:lnTo>
                <a:lnTo>
                  <a:pt x="0" y="15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13" name="Freeform 136"/>
          <p:cNvSpPr>
            <a:spLocks noChangeAspect="1"/>
          </p:cNvSpPr>
          <p:nvPr/>
        </p:nvSpPr>
        <p:spPr bwMode="gray">
          <a:xfrm>
            <a:off x="6921871" y="1796044"/>
            <a:ext cx="127464" cy="60278"/>
          </a:xfrm>
          <a:custGeom>
            <a:avLst/>
            <a:gdLst/>
            <a:ahLst/>
            <a:cxnLst>
              <a:cxn ang="0">
                <a:pos x="0" y="53"/>
              </a:cxn>
              <a:cxn ang="0">
                <a:pos x="35" y="36"/>
              </a:cxn>
              <a:cxn ang="0">
                <a:pos x="9" y="22"/>
              </a:cxn>
              <a:cxn ang="0">
                <a:pos x="132" y="0"/>
              </a:cxn>
              <a:cxn ang="0">
                <a:pos x="154" y="1"/>
              </a:cxn>
              <a:cxn ang="0">
                <a:pos x="130" y="20"/>
              </a:cxn>
              <a:cxn ang="0">
                <a:pos x="172" y="18"/>
              </a:cxn>
              <a:cxn ang="0">
                <a:pos x="61" y="62"/>
              </a:cxn>
              <a:cxn ang="0">
                <a:pos x="35" y="74"/>
              </a:cxn>
              <a:cxn ang="0">
                <a:pos x="42" y="56"/>
              </a:cxn>
              <a:cxn ang="0">
                <a:pos x="0" y="53"/>
              </a:cxn>
            </a:cxnLst>
            <a:rect l="0" t="0" r="r" b="b"/>
            <a:pathLst>
              <a:path w="172" h="74">
                <a:moveTo>
                  <a:pt x="0" y="53"/>
                </a:moveTo>
                <a:lnTo>
                  <a:pt x="35" y="36"/>
                </a:lnTo>
                <a:lnTo>
                  <a:pt x="9" y="22"/>
                </a:lnTo>
                <a:lnTo>
                  <a:pt x="132" y="0"/>
                </a:lnTo>
                <a:lnTo>
                  <a:pt x="154" y="1"/>
                </a:lnTo>
                <a:lnTo>
                  <a:pt x="130" y="20"/>
                </a:lnTo>
                <a:lnTo>
                  <a:pt x="172" y="18"/>
                </a:lnTo>
                <a:lnTo>
                  <a:pt x="61" y="62"/>
                </a:lnTo>
                <a:lnTo>
                  <a:pt x="35" y="74"/>
                </a:lnTo>
                <a:lnTo>
                  <a:pt x="42" y="56"/>
                </a:lnTo>
                <a:lnTo>
                  <a:pt x="0" y="5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14" name="Freeform 137"/>
          <p:cNvSpPr>
            <a:spLocks noChangeAspect="1"/>
          </p:cNvSpPr>
          <p:nvPr/>
        </p:nvSpPr>
        <p:spPr bwMode="gray">
          <a:xfrm>
            <a:off x="6961093" y="2429827"/>
            <a:ext cx="52947" cy="36168"/>
          </a:xfrm>
          <a:custGeom>
            <a:avLst/>
            <a:gdLst/>
            <a:ahLst/>
            <a:cxnLst>
              <a:cxn ang="0">
                <a:pos x="0" y="39"/>
              </a:cxn>
              <a:cxn ang="0">
                <a:pos x="19" y="0"/>
              </a:cxn>
              <a:cxn ang="0">
                <a:pos x="68" y="22"/>
              </a:cxn>
              <a:cxn ang="0">
                <a:pos x="0" y="39"/>
              </a:cxn>
            </a:cxnLst>
            <a:rect l="0" t="0" r="r" b="b"/>
            <a:pathLst>
              <a:path w="68" h="39">
                <a:moveTo>
                  <a:pt x="0" y="39"/>
                </a:moveTo>
                <a:lnTo>
                  <a:pt x="19" y="0"/>
                </a:lnTo>
                <a:lnTo>
                  <a:pt x="68" y="22"/>
                </a:lnTo>
                <a:lnTo>
                  <a:pt x="0" y="3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15" name="Freeform 138"/>
          <p:cNvSpPr>
            <a:spLocks noChangeAspect="1"/>
          </p:cNvSpPr>
          <p:nvPr/>
        </p:nvSpPr>
        <p:spPr bwMode="gray">
          <a:xfrm>
            <a:off x="7049337" y="2242106"/>
            <a:ext cx="160799" cy="130889"/>
          </a:xfrm>
          <a:custGeom>
            <a:avLst/>
            <a:gdLst/>
            <a:ahLst/>
            <a:cxnLst>
              <a:cxn ang="0">
                <a:pos x="0" y="79"/>
              </a:cxn>
              <a:cxn ang="0">
                <a:pos x="17" y="113"/>
              </a:cxn>
              <a:cxn ang="0">
                <a:pos x="41" y="101"/>
              </a:cxn>
              <a:cxn ang="0">
                <a:pos x="66" y="124"/>
              </a:cxn>
              <a:cxn ang="0">
                <a:pos x="86" y="113"/>
              </a:cxn>
              <a:cxn ang="0">
                <a:pos x="79" y="152"/>
              </a:cxn>
              <a:cxn ang="0">
                <a:pos x="212" y="160"/>
              </a:cxn>
              <a:cxn ang="0">
                <a:pos x="160" y="132"/>
              </a:cxn>
              <a:cxn ang="0">
                <a:pos x="135" y="82"/>
              </a:cxn>
              <a:cxn ang="0">
                <a:pos x="137" y="30"/>
              </a:cxn>
              <a:cxn ang="0">
                <a:pos x="170" y="0"/>
              </a:cxn>
              <a:cxn ang="0">
                <a:pos x="54" y="11"/>
              </a:cxn>
              <a:cxn ang="0">
                <a:pos x="27" y="79"/>
              </a:cxn>
              <a:cxn ang="0">
                <a:pos x="0" y="79"/>
              </a:cxn>
            </a:cxnLst>
            <a:rect l="0" t="0" r="r" b="b"/>
            <a:pathLst>
              <a:path w="212" h="160">
                <a:moveTo>
                  <a:pt x="0" y="79"/>
                </a:moveTo>
                <a:lnTo>
                  <a:pt x="17" y="113"/>
                </a:lnTo>
                <a:lnTo>
                  <a:pt x="41" y="101"/>
                </a:lnTo>
                <a:lnTo>
                  <a:pt x="66" y="124"/>
                </a:lnTo>
                <a:lnTo>
                  <a:pt x="86" y="113"/>
                </a:lnTo>
                <a:lnTo>
                  <a:pt x="79" y="152"/>
                </a:lnTo>
                <a:lnTo>
                  <a:pt x="212" y="160"/>
                </a:lnTo>
                <a:lnTo>
                  <a:pt x="160" y="132"/>
                </a:lnTo>
                <a:lnTo>
                  <a:pt x="135" y="82"/>
                </a:lnTo>
                <a:lnTo>
                  <a:pt x="137" y="30"/>
                </a:lnTo>
                <a:lnTo>
                  <a:pt x="170" y="0"/>
                </a:lnTo>
                <a:lnTo>
                  <a:pt x="54" y="11"/>
                </a:lnTo>
                <a:lnTo>
                  <a:pt x="27" y="79"/>
                </a:lnTo>
                <a:lnTo>
                  <a:pt x="0" y="7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16" name="Freeform 139"/>
          <p:cNvSpPr>
            <a:spLocks noChangeAspect="1"/>
          </p:cNvSpPr>
          <p:nvPr/>
        </p:nvSpPr>
        <p:spPr bwMode="gray">
          <a:xfrm>
            <a:off x="7104242" y="2035435"/>
            <a:ext cx="400038" cy="206668"/>
          </a:xfrm>
          <a:custGeom>
            <a:avLst/>
            <a:gdLst/>
            <a:ahLst/>
            <a:cxnLst>
              <a:cxn ang="0">
                <a:pos x="0" y="222"/>
              </a:cxn>
              <a:cxn ang="0">
                <a:pos x="50" y="229"/>
              </a:cxn>
              <a:cxn ang="0">
                <a:pos x="17" y="251"/>
              </a:cxn>
              <a:cxn ang="0">
                <a:pos x="105" y="258"/>
              </a:cxn>
              <a:cxn ang="0">
                <a:pos x="107" y="229"/>
              </a:cxn>
              <a:cxn ang="0">
                <a:pos x="132" y="234"/>
              </a:cxn>
              <a:cxn ang="0">
                <a:pos x="106" y="217"/>
              </a:cxn>
              <a:cxn ang="0">
                <a:pos x="143" y="223"/>
              </a:cxn>
              <a:cxn ang="0">
                <a:pos x="133" y="190"/>
              </a:cxn>
              <a:cxn ang="0">
                <a:pos x="153" y="209"/>
              </a:cxn>
              <a:cxn ang="0">
                <a:pos x="177" y="191"/>
              </a:cxn>
              <a:cxn ang="0">
                <a:pos x="161" y="170"/>
              </a:cxn>
              <a:cxn ang="0">
                <a:pos x="215" y="173"/>
              </a:cxn>
              <a:cxn ang="0">
                <a:pos x="200" y="161"/>
              </a:cxn>
              <a:cxn ang="0">
                <a:pos x="225" y="163"/>
              </a:cxn>
              <a:cxn ang="0">
                <a:pos x="240" y="137"/>
              </a:cxn>
              <a:cxn ang="0">
                <a:pos x="505" y="54"/>
              </a:cxn>
              <a:cxn ang="0">
                <a:pos x="532" y="22"/>
              </a:cxn>
              <a:cxn ang="0">
                <a:pos x="481" y="0"/>
              </a:cxn>
              <a:cxn ang="0">
                <a:pos x="369" y="52"/>
              </a:cxn>
              <a:cxn ang="0">
                <a:pos x="254" y="52"/>
              </a:cxn>
              <a:cxn ang="0">
                <a:pos x="131" y="121"/>
              </a:cxn>
              <a:cxn ang="0">
                <a:pos x="63" y="130"/>
              </a:cxn>
              <a:cxn ang="0">
                <a:pos x="67" y="161"/>
              </a:cxn>
              <a:cxn ang="0">
                <a:pos x="104" y="163"/>
              </a:cxn>
              <a:cxn ang="0">
                <a:pos x="62" y="164"/>
              </a:cxn>
              <a:cxn ang="0">
                <a:pos x="81" y="178"/>
              </a:cxn>
              <a:cxn ang="0">
                <a:pos x="50" y="191"/>
              </a:cxn>
              <a:cxn ang="0">
                <a:pos x="85" y="206"/>
              </a:cxn>
              <a:cxn ang="0">
                <a:pos x="0" y="222"/>
              </a:cxn>
            </a:cxnLst>
            <a:rect l="0" t="0" r="r" b="b"/>
            <a:pathLst>
              <a:path w="532" h="258">
                <a:moveTo>
                  <a:pt x="0" y="222"/>
                </a:moveTo>
                <a:lnTo>
                  <a:pt x="50" y="229"/>
                </a:lnTo>
                <a:lnTo>
                  <a:pt x="17" y="251"/>
                </a:lnTo>
                <a:lnTo>
                  <a:pt x="105" y="258"/>
                </a:lnTo>
                <a:lnTo>
                  <a:pt x="107" y="229"/>
                </a:lnTo>
                <a:lnTo>
                  <a:pt x="132" y="234"/>
                </a:lnTo>
                <a:lnTo>
                  <a:pt x="106" y="217"/>
                </a:lnTo>
                <a:lnTo>
                  <a:pt x="143" y="223"/>
                </a:lnTo>
                <a:lnTo>
                  <a:pt x="133" y="190"/>
                </a:lnTo>
                <a:lnTo>
                  <a:pt x="153" y="209"/>
                </a:lnTo>
                <a:lnTo>
                  <a:pt x="177" y="191"/>
                </a:lnTo>
                <a:lnTo>
                  <a:pt x="161" y="170"/>
                </a:lnTo>
                <a:lnTo>
                  <a:pt x="215" y="173"/>
                </a:lnTo>
                <a:lnTo>
                  <a:pt x="200" y="161"/>
                </a:lnTo>
                <a:lnTo>
                  <a:pt x="225" y="163"/>
                </a:lnTo>
                <a:lnTo>
                  <a:pt x="240" y="137"/>
                </a:lnTo>
                <a:lnTo>
                  <a:pt x="505" y="54"/>
                </a:lnTo>
                <a:lnTo>
                  <a:pt x="532" y="22"/>
                </a:lnTo>
                <a:lnTo>
                  <a:pt x="481" y="0"/>
                </a:lnTo>
                <a:lnTo>
                  <a:pt x="369" y="52"/>
                </a:lnTo>
                <a:lnTo>
                  <a:pt x="254" y="52"/>
                </a:lnTo>
                <a:lnTo>
                  <a:pt x="131" y="121"/>
                </a:lnTo>
                <a:lnTo>
                  <a:pt x="63" y="130"/>
                </a:lnTo>
                <a:lnTo>
                  <a:pt x="67" y="161"/>
                </a:lnTo>
                <a:lnTo>
                  <a:pt x="104" y="163"/>
                </a:lnTo>
                <a:lnTo>
                  <a:pt x="62" y="164"/>
                </a:lnTo>
                <a:lnTo>
                  <a:pt x="81" y="178"/>
                </a:lnTo>
                <a:lnTo>
                  <a:pt x="50" y="191"/>
                </a:lnTo>
                <a:lnTo>
                  <a:pt x="85" y="206"/>
                </a:lnTo>
                <a:lnTo>
                  <a:pt x="0" y="22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17" name="Freeform 140"/>
          <p:cNvSpPr>
            <a:spLocks noChangeAspect="1"/>
          </p:cNvSpPr>
          <p:nvPr/>
        </p:nvSpPr>
        <p:spPr bwMode="gray">
          <a:xfrm>
            <a:off x="7337598" y="1765044"/>
            <a:ext cx="76478" cy="41334"/>
          </a:xfrm>
          <a:custGeom>
            <a:avLst/>
            <a:gdLst/>
            <a:ahLst/>
            <a:cxnLst>
              <a:cxn ang="0">
                <a:pos x="0" y="37"/>
              </a:cxn>
              <a:cxn ang="0">
                <a:pos x="30" y="53"/>
              </a:cxn>
              <a:cxn ang="0">
                <a:pos x="102" y="35"/>
              </a:cxn>
              <a:cxn ang="0">
                <a:pos x="60" y="0"/>
              </a:cxn>
              <a:cxn ang="0">
                <a:pos x="0" y="37"/>
              </a:cxn>
            </a:cxnLst>
            <a:rect l="0" t="0" r="r" b="b"/>
            <a:pathLst>
              <a:path w="102" h="53">
                <a:moveTo>
                  <a:pt x="0" y="37"/>
                </a:moveTo>
                <a:lnTo>
                  <a:pt x="30" y="53"/>
                </a:lnTo>
                <a:lnTo>
                  <a:pt x="102" y="35"/>
                </a:lnTo>
                <a:lnTo>
                  <a:pt x="60" y="0"/>
                </a:lnTo>
                <a:lnTo>
                  <a:pt x="0" y="3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18" name="Freeform 141"/>
          <p:cNvSpPr>
            <a:spLocks noChangeAspect="1"/>
          </p:cNvSpPr>
          <p:nvPr/>
        </p:nvSpPr>
        <p:spPr bwMode="gray">
          <a:xfrm>
            <a:off x="8086688" y="1845991"/>
            <a:ext cx="70595" cy="29279"/>
          </a:xfrm>
          <a:custGeom>
            <a:avLst/>
            <a:gdLst/>
            <a:ahLst/>
            <a:cxnLst>
              <a:cxn ang="0">
                <a:pos x="0" y="0"/>
              </a:cxn>
              <a:cxn ang="0">
                <a:pos x="42" y="27"/>
              </a:cxn>
              <a:cxn ang="0">
                <a:pos x="28" y="35"/>
              </a:cxn>
              <a:cxn ang="0">
                <a:pos x="65" y="33"/>
              </a:cxn>
              <a:cxn ang="0">
                <a:pos x="93" y="16"/>
              </a:cxn>
              <a:cxn ang="0">
                <a:pos x="0" y="0"/>
              </a:cxn>
            </a:cxnLst>
            <a:rect l="0" t="0" r="r" b="b"/>
            <a:pathLst>
              <a:path w="93" h="35">
                <a:moveTo>
                  <a:pt x="0" y="0"/>
                </a:moveTo>
                <a:lnTo>
                  <a:pt x="42" y="27"/>
                </a:lnTo>
                <a:lnTo>
                  <a:pt x="28" y="35"/>
                </a:lnTo>
                <a:lnTo>
                  <a:pt x="65" y="33"/>
                </a:lnTo>
                <a:lnTo>
                  <a:pt x="93" y="16"/>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19" name="Freeform 142"/>
          <p:cNvSpPr>
            <a:spLocks noChangeAspect="1"/>
          </p:cNvSpPr>
          <p:nvPr/>
        </p:nvSpPr>
        <p:spPr bwMode="gray">
          <a:xfrm>
            <a:off x="8096493" y="1775377"/>
            <a:ext cx="166683" cy="72334"/>
          </a:xfrm>
          <a:custGeom>
            <a:avLst/>
            <a:gdLst/>
            <a:ahLst/>
            <a:cxnLst>
              <a:cxn ang="0">
                <a:pos x="0" y="78"/>
              </a:cxn>
              <a:cxn ang="0">
                <a:pos x="59" y="25"/>
              </a:cxn>
              <a:cxn ang="0">
                <a:pos x="142" y="0"/>
              </a:cxn>
              <a:cxn ang="0">
                <a:pos x="220" y="45"/>
              </a:cxn>
              <a:cxn ang="0">
                <a:pos x="194" y="55"/>
              </a:cxn>
              <a:cxn ang="0">
                <a:pos x="202" y="75"/>
              </a:cxn>
              <a:cxn ang="0">
                <a:pos x="88" y="95"/>
              </a:cxn>
              <a:cxn ang="0">
                <a:pos x="0" y="78"/>
              </a:cxn>
            </a:cxnLst>
            <a:rect l="0" t="0" r="r" b="b"/>
            <a:pathLst>
              <a:path w="220" h="95">
                <a:moveTo>
                  <a:pt x="0" y="78"/>
                </a:moveTo>
                <a:lnTo>
                  <a:pt x="59" y="25"/>
                </a:lnTo>
                <a:lnTo>
                  <a:pt x="142" y="0"/>
                </a:lnTo>
                <a:lnTo>
                  <a:pt x="220" y="45"/>
                </a:lnTo>
                <a:lnTo>
                  <a:pt x="194" y="55"/>
                </a:lnTo>
                <a:lnTo>
                  <a:pt x="202" y="75"/>
                </a:lnTo>
                <a:lnTo>
                  <a:pt x="88" y="95"/>
                </a:lnTo>
                <a:lnTo>
                  <a:pt x="0" y="7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20" name="Freeform 143"/>
          <p:cNvSpPr>
            <a:spLocks noChangeAspect="1"/>
          </p:cNvSpPr>
          <p:nvPr/>
        </p:nvSpPr>
        <p:spPr bwMode="gray">
          <a:xfrm>
            <a:off x="8131791" y="1840822"/>
            <a:ext cx="188253" cy="89556"/>
          </a:xfrm>
          <a:custGeom>
            <a:avLst/>
            <a:gdLst/>
            <a:ahLst/>
            <a:cxnLst>
              <a:cxn ang="0">
                <a:pos x="0" y="49"/>
              </a:cxn>
              <a:cxn ang="0">
                <a:pos x="45" y="54"/>
              </a:cxn>
              <a:cxn ang="0">
                <a:pos x="77" y="93"/>
              </a:cxn>
              <a:cxn ang="0">
                <a:pos x="101" y="80"/>
              </a:cxn>
              <a:cxn ang="0">
                <a:pos x="204" y="111"/>
              </a:cxn>
              <a:cxn ang="0">
                <a:pos x="238" y="99"/>
              </a:cxn>
              <a:cxn ang="0">
                <a:pos x="213" y="69"/>
              </a:cxn>
              <a:cxn ang="0">
                <a:pos x="232" y="77"/>
              </a:cxn>
              <a:cxn ang="0">
                <a:pos x="248" y="33"/>
              </a:cxn>
              <a:cxn ang="0">
                <a:pos x="194" y="10"/>
              </a:cxn>
              <a:cxn ang="0">
                <a:pos x="142" y="41"/>
              </a:cxn>
              <a:cxn ang="0">
                <a:pos x="184" y="24"/>
              </a:cxn>
              <a:cxn ang="0">
                <a:pos x="159" y="0"/>
              </a:cxn>
              <a:cxn ang="0">
                <a:pos x="72" y="8"/>
              </a:cxn>
              <a:cxn ang="0">
                <a:pos x="0" y="49"/>
              </a:cxn>
            </a:cxnLst>
            <a:rect l="0" t="0" r="r" b="b"/>
            <a:pathLst>
              <a:path w="248" h="111">
                <a:moveTo>
                  <a:pt x="0" y="49"/>
                </a:moveTo>
                <a:lnTo>
                  <a:pt x="45" y="54"/>
                </a:lnTo>
                <a:lnTo>
                  <a:pt x="77" y="93"/>
                </a:lnTo>
                <a:lnTo>
                  <a:pt x="101" y="80"/>
                </a:lnTo>
                <a:lnTo>
                  <a:pt x="204" y="111"/>
                </a:lnTo>
                <a:lnTo>
                  <a:pt x="238" y="99"/>
                </a:lnTo>
                <a:lnTo>
                  <a:pt x="213" y="69"/>
                </a:lnTo>
                <a:lnTo>
                  <a:pt x="232" y="77"/>
                </a:lnTo>
                <a:lnTo>
                  <a:pt x="248" y="33"/>
                </a:lnTo>
                <a:lnTo>
                  <a:pt x="194" y="10"/>
                </a:lnTo>
                <a:lnTo>
                  <a:pt x="142" y="41"/>
                </a:lnTo>
                <a:lnTo>
                  <a:pt x="184" y="24"/>
                </a:lnTo>
                <a:lnTo>
                  <a:pt x="159" y="0"/>
                </a:lnTo>
                <a:lnTo>
                  <a:pt x="72" y="8"/>
                </a:lnTo>
                <a:lnTo>
                  <a:pt x="0" y="4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21" name="Freeform 144"/>
          <p:cNvSpPr>
            <a:spLocks noChangeAspect="1"/>
          </p:cNvSpPr>
          <p:nvPr/>
        </p:nvSpPr>
        <p:spPr bwMode="gray">
          <a:xfrm>
            <a:off x="8306316" y="1887324"/>
            <a:ext cx="156877" cy="91278"/>
          </a:xfrm>
          <a:custGeom>
            <a:avLst/>
            <a:gdLst/>
            <a:ahLst/>
            <a:cxnLst>
              <a:cxn ang="0">
                <a:pos x="0" y="96"/>
              </a:cxn>
              <a:cxn ang="0">
                <a:pos x="16" y="113"/>
              </a:cxn>
              <a:cxn ang="0">
                <a:pos x="191" y="90"/>
              </a:cxn>
              <a:cxn ang="0">
                <a:pos x="208" y="53"/>
              </a:cxn>
              <a:cxn ang="0">
                <a:pos x="159" y="22"/>
              </a:cxn>
              <a:cxn ang="0">
                <a:pos x="117" y="35"/>
              </a:cxn>
              <a:cxn ang="0">
                <a:pos x="125" y="10"/>
              </a:cxn>
              <a:cxn ang="0">
                <a:pos x="100" y="0"/>
              </a:cxn>
              <a:cxn ang="0">
                <a:pos x="21" y="85"/>
              </a:cxn>
              <a:cxn ang="0">
                <a:pos x="0" y="96"/>
              </a:cxn>
            </a:cxnLst>
            <a:rect l="0" t="0" r="r" b="b"/>
            <a:pathLst>
              <a:path w="208" h="113">
                <a:moveTo>
                  <a:pt x="0" y="96"/>
                </a:moveTo>
                <a:lnTo>
                  <a:pt x="16" y="113"/>
                </a:lnTo>
                <a:lnTo>
                  <a:pt x="191" y="90"/>
                </a:lnTo>
                <a:lnTo>
                  <a:pt x="208" y="53"/>
                </a:lnTo>
                <a:lnTo>
                  <a:pt x="159" y="22"/>
                </a:lnTo>
                <a:lnTo>
                  <a:pt x="117" y="35"/>
                </a:lnTo>
                <a:lnTo>
                  <a:pt x="125" y="10"/>
                </a:lnTo>
                <a:lnTo>
                  <a:pt x="100" y="0"/>
                </a:lnTo>
                <a:lnTo>
                  <a:pt x="21" y="85"/>
                </a:lnTo>
                <a:lnTo>
                  <a:pt x="0" y="9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22" name="Freeform 145"/>
          <p:cNvSpPr>
            <a:spLocks noChangeAspect="1"/>
          </p:cNvSpPr>
          <p:nvPr/>
        </p:nvSpPr>
        <p:spPr bwMode="gray">
          <a:xfrm>
            <a:off x="9282877" y="2080216"/>
            <a:ext cx="174527" cy="86111"/>
          </a:xfrm>
          <a:custGeom>
            <a:avLst/>
            <a:gdLst/>
            <a:ahLst/>
            <a:cxnLst>
              <a:cxn ang="0">
                <a:pos x="0" y="59"/>
              </a:cxn>
              <a:cxn ang="0">
                <a:pos x="48" y="5"/>
              </a:cxn>
              <a:cxn ang="0">
                <a:pos x="81" y="0"/>
              </a:cxn>
              <a:cxn ang="0">
                <a:pos x="134" y="42"/>
              </a:cxn>
              <a:cxn ang="0">
                <a:pos x="142" y="11"/>
              </a:cxn>
              <a:cxn ang="0">
                <a:pos x="201" y="36"/>
              </a:cxn>
              <a:cxn ang="0">
                <a:pos x="195" y="75"/>
              </a:cxn>
              <a:cxn ang="0">
                <a:pos x="233" y="89"/>
              </a:cxn>
              <a:cxn ang="0">
                <a:pos x="110" y="96"/>
              </a:cxn>
              <a:cxn ang="0">
                <a:pos x="103" y="78"/>
              </a:cxn>
              <a:cxn ang="0">
                <a:pos x="83" y="108"/>
              </a:cxn>
              <a:cxn ang="0">
                <a:pos x="0" y="59"/>
              </a:cxn>
            </a:cxnLst>
            <a:rect l="0" t="0" r="r" b="b"/>
            <a:pathLst>
              <a:path w="233" h="108">
                <a:moveTo>
                  <a:pt x="0" y="59"/>
                </a:moveTo>
                <a:lnTo>
                  <a:pt x="48" y="5"/>
                </a:lnTo>
                <a:lnTo>
                  <a:pt x="81" y="0"/>
                </a:lnTo>
                <a:lnTo>
                  <a:pt x="134" y="42"/>
                </a:lnTo>
                <a:lnTo>
                  <a:pt x="142" y="11"/>
                </a:lnTo>
                <a:lnTo>
                  <a:pt x="201" y="36"/>
                </a:lnTo>
                <a:lnTo>
                  <a:pt x="195" y="75"/>
                </a:lnTo>
                <a:lnTo>
                  <a:pt x="233" y="89"/>
                </a:lnTo>
                <a:lnTo>
                  <a:pt x="110" y="96"/>
                </a:lnTo>
                <a:lnTo>
                  <a:pt x="103" y="78"/>
                </a:lnTo>
                <a:lnTo>
                  <a:pt x="83" y="108"/>
                </a:lnTo>
                <a:lnTo>
                  <a:pt x="0" y="5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23" name="Freeform 146"/>
          <p:cNvSpPr>
            <a:spLocks noChangeAspect="1"/>
          </p:cNvSpPr>
          <p:nvPr/>
        </p:nvSpPr>
        <p:spPr bwMode="gray">
          <a:xfrm>
            <a:off x="9404457" y="2081936"/>
            <a:ext cx="109814" cy="58556"/>
          </a:xfrm>
          <a:custGeom>
            <a:avLst/>
            <a:gdLst/>
            <a:ahLst/>
            <a:cxnLst>
              <a:cxn ang="0">
                <a:pos x="0" y="0"/>
              </a:cxn>
              <a:cxn ang="0">
                <a:pos x="47" y="27"/>
              </a:cxn>
              <a:cxn ang="0">
                <a:pos x="34" y="51"/>
              </a:cxn>
              <a:cxn ang="0">
                <a:pos x="58" y="72"/>
              </a:cxn>
              <a:cxn ang="0">
                <a:pos x="101" y="72"/>
              </a:cxn>
              <a:cxn ang="0">
                <a:pos x="143" y="45"/>
              </a:cxn>
              <a:cxn ang="0">
                <a:pos x="0" y="0"/>
              </a:cxn>
            </a:cxnLst>
            <a:rect l="0" t="0" r="r" b="b"/>
            <a:pathLst>
              <a:path w="143" h="72">
                <a:moveTo>
                  <a:pt x="0" y="0"/>
                </a:moveTo>
                <a:lnTo>
                  <a:pt x="47" y="27"/>
                </a:lnTo>
                <a:lnTo>
                  <a:pt x="34" y="51"/>
                </a:lnTo>
                <a:lnTo>
                  <a:pt x="58" y="72"/>
                </a:lnTo>
                <a:lnTo>
                  <a:pt x="101" y="72"/>
                </a:lnTo>
                <a:lnTo>
                  <a:pt x="143" y="45"/>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24" name="Freeform 147"/>
          <p:cNvSpPr>
            <a:spLocks noChangeAspect="1"/>
          </p:cNvSpPr>
          <p:nvPr/>
        </p:nvSpPr>
        <p:spPr bwMode="gray">
          <a:xfrm>
            <a:off x="9414264" y="3079112"/>
            <a:ext cx="82361" cy="297947"/>
          </a:xfrm>
          <a:custGeom>
            <a:avLst/>
            <a:gdLst/>
            <a:ahLst/>
            <a:cxnLst>
              <a:cxn ang="0">
                <a:pos x="0" y="96"/>
              </a:cxn>
              <a:cxn ang="0">
                <a:pos x="19" y="142"/>
              </a:cxn>
              <a:cxn ang="0">
                <a:pos x="19" y="377"/>
              </a:cxn>
              <a:cxn ang="0">
                <a:pos x="37" y="349"/>
              </a:cxn>
              <a:cxn ang="0">
                <a:pos x="65" y="367"/>
              </a:cxn>
              <a:cxn ang="0">
                <a:pos x="33" y="302"/>
              </a:cxn>
              <a:cxn ang="0">
                <a:pos x="50" y="237"/>
              </a:cxn>
              <a:cxn ang="0">
                <a:pos x="108" y="257"/>
              </a:cxn>
              <a:cxn ang="0">
                <a:pos x="53" y="132"/>
              </a:cxn>
              <a:cxn ang="0">
                <a:pos x="37" y="0"/>
              </a:cxn>
              <a:cxn ang="0">
                <a:pos x="0" y="96"/>
              </a:cxn>
            </a:cxnLst>
            <a:rect l="0" t="0" r="r" b="b"/>
            <a:pathLst>
              <a:path w="108" h="377">
                <a:moveTo>
                  <a:pt x="0" y="96"/>
                </a:moveTo>
                <a:lnTo>
                  <a:pt x="19" y="142"/>
                </a:lnTo>
                <a:lnTo>
                  <a:pt x="19" y="377"/>
                </a:lnTo>
                <a:lnTo>
                  <a:pt x="37" y="349"/>
                </a:lnTo>
                <a:lnTo>
                  <a:pt x="65" y="367"/>
                </a:lnTo>
                <a:lnTo>
                  <a:pt x="33" y="302"/>
                </a:lnTo>
                <a:lnTo>
                  <a:pt x="50" y="237"/>
                </a:lnTo>
                <a:lnTo>
                  <a:pt x="108" y="257"/>
                </a:lnTo>
                <a:lnTo>
                  <a:pt x="53" y="132"/>
                </a:lnTo>
                <a:lnTo>
                  <a:pt x="37" y="0"/>
                </a:lnTo>
                <a:lnTo>
                  <a:pt x="0" y="9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25" name="Freeform 148"/>
          <p:cNvSpPr>
            <a:spLocks noChangeAspect="1"/>
          </p:cNvSpPr>
          <p:nvPr/>
        </p:nvSpPr>
        <p:spPr bwMode="gray">
          <a:xfrm>
            <a:off x="9531920" y="2114657"/>
            <a:ext cx="125502" cy="43056"/>
          </a:xfrm>
          <a:custGeom>
            <a:avLst/>
            <a:gdLst/>
            <a:ahLst/>
            <a:cxnLst>
              <a:cxn ang="0">
                <a:pos x="0" y="0"/>
              </a:cxn>
              <a:cxn ang="0">
                <a:pos x="28" y="38"/>
              </a:cxn>
              <a:cxn ang="0">
                <a:pos x="103" y="55"/>
              </a:cxn>
              <a:cxn ang="0">
                <a:pos x="162" y="44"/>
              </a:cxn>
              <a:cxn ang="0">
                <a:pos x="0" y="0"/>
              </a:cxn>
            </a:cxnLst>
            <a:rect l="0" t="0" r="r" b="b"/>
            <a:pathLst>
              <a:path w="162" h="55">
                <a:moveTo>
                  <a:pt x="0" y="0"/>
                </a:moveTo>
                <a:lnTo>
                  <a:pt x="28" y="38"/>
                </a:lnTo>
                <a:lnTo>
                  <a:pt x="103" y="55"/>
                </a:lnTo>
                <a:lnTo>
                  <a:pt x="162" y="44"/>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26" name="Freeform 149"/>
          <p:cNvSpPr>
            <a:spLocks noChangeAspect="1"/>
          </p:cNvSpPr>
          <p:nvPr/>
        </p:nvSpPr>
        <p:spPr bwMode="gray">
          <a:xfrm>
            <a:off x="5457031" y="3458002"/>
            <a:ext cx="325521" cy="244558"/>
          </a:xfrm>
          <a:custGeom>
            <a:avLst/>
            <a:gdLst/>
            <a:ahLst/>
            <a:cxnLst>
              <a:cxn ang="0">
                <a:pos x="0" y="26"/>
              </a:cxn>
              <a:cxn ang="0">
                <a:pos x="14" y="76"/>
              </a:cxn>
              <a:cxn ang="0">
                <a:pos x="104" y="84"/>
              </a:cxn>
              <a:cxn ang="0">
                <a:pos x="64" y="164"/>
              </a:cxn>
              <a:cxn ang="0">
                <a:pos x="64" y="263"/>
              </a:cxn>
              <a:cxn ang="0">
                <a:pos x="128" y="307"/>
              </a:cxn>
              <a:cxn ang="0">
                <a:pos x="253" y="279"/>
              </a:cxn>
              <a:cxn ang="0">
                <a:pos x="322" y="204"/>
              </a:cxn>
              <a:cxn ang="0">
                <a:pos x="308" y="174"/>
              </a:cxn>
              <a:cxn ang="0">
                <a:pos x="346" y="120"/>
              </a:cxn>
              <a:cxn ang="0">
                <a:pos x="425" y="77"/>
              </a:cxn>
              <a:cxn ang="0">
                <a:pos x="426" y="53"/>
              </a:cxn>
              <a:cxn ang="0">
                <a:pos x="375" y="46"/>
              </a:cxn>
              <a:cxn ang="0">
                <a:pos x="364" y="43"/>
              </a:cxn>
              <a:cxn ang="0">
                <a:pos x="255" y="11"/>
              </a:cxn>
              <a:cxn ang="0">
                <a:pos x="36" y="0"/>
              </a:cxn>
              <a:cxn ang="0">
                <a:pos x="0" y="26"/>
              </a:cxn>
            </a:cxnLst>
            <a:rect l="0" t="0" r="r" b="b"/>
            <a:pathLst>
              <a:path w="426" h="307">
                <a:moveTo>
                  <a:pt x="0" y="26"/>
                </a:moveTo>
                <a:lnTo>
                  <a:pt x="14" y="76"/>
                </a:lnTo>
                <a:lnTo>
                  <a:pt x="104" y="84"/>
                </a:lnTo>
                <a:lnTo>
                  <a:pt x="64" y="164"/>
                </a:lnTo>
                <a:lnTo>
                  <a:pt x="64" y="263"/>
                </a:lnTo>
                <a:lnTo>
                  <a:pt x="128" y="307"/>
                </a:lnTo>
                <a:lnTo>
                  <a:pt x="253" y="279"/>
                </a:lnTo>
                <a:lnTo>
                  <a:pt x="322" y="204"/>
                </a:lnTo>
                <a:lnTo>
                  <a:pt x="308" y="174"/>
                </a:lnTo>
                <a:lnTo>
                  <a:pt x="346" y="120"/>
                </a:lnTo>
                <a:lnTo>
                  <a:pt x="425" y="77"/>
                </a:lnTo>
                <a:lnTo>
                  <a:pt x="426" y="53"/>
                </a:lnTo>
                <a:lnTo>
                  <a:pt x="375" y="46"/>
                </a:lnTo>
                <a:lnTo>
                  <a:pt x="364" y="43"/>
                </a:lnTo>
                <a:lnTo>
                  <a:pt x="255" y="11"/>
                </a:lnTo>
                <a:lnTo>
                  <a:pt x="36" y="0"/>
                </a:lnTo>
                <a:lnTo>
                  <a:pt x="0" y="26"/>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27" name="Freeform 150"/>
          <p:cNvSpPr>
            <a:spLocks noChangeAspect="1"/>
          </p:cNvSpPr>
          <p:nvPr/>
        </p:nvSpPr>
        <p:spPr bwMode="gray">
          <a:xfrm>
            <a:off x="4170633" y="4575734"/>
            <a:ext cx="109814" cy="110223"/>
          </a:xfrm>
          <a:custGeom>
            <a:avLst/>
            <a:gdLst/>
            <a:ahLst/>
            <a:cxnLst>
              <a:cxn ang="0">
                <a:pos x="0" y="63"/>
              </a:cxn>
              <a:cxn ang="0">
                <a:pos x="39" y="0"/>
              </a:cxn>
              <a:cxn ang="0">
                <a:pos x="143" y="12"/>
              </a:cxn>
              <a:cxn ang="0">
                <a:pos x="128" y="126"/>
              </a:cxn>
              <a:cxn ang="0">
                <a:pos x="56" y="136"/>
              </a:cxn>
              <a:cxn ang="0">
                <a:pos x="0" y="63"/>
              </a:cxn>
            </a:cxnLst>
            <a:rect l="0" t="0" r="r" b="b"/>
            <a:pathLst>
              <a:path w="143" h="136">
                <a:moveTo>
                  <a:pt x="0" y="63"/>
                </a:moveTo>
                <a:lnTo>
                  <a:pt x="39" y="0"/>
                </a:lnTo>
                <a:lnTo>
                  <a:pt x="143" y="12"/>
                </a:lnTo>
                <a:lnTo>
                  <a:pt x="128" y="126"/>
                </a:lnTo>
                <a:lnTo>
                  <a:pt x="56" y="136"/>
                </a:lnTo>
                <a:lnTo>
                  <a:pt x="0" y="6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28" name="Freeform 151"/>
          <p:cNvSpPr>
            <a:spLocks noChangeAspect="1"/>
          </p:cNvSpPr>
          <p:nvPr/>
        </p:nvSpPr>
        <p:spPr bwMode="gray">
          <a:xfrm>
            <a:off x="5980608" y="1845990"/>
            <a:ext cx="278458" cy="211837"/>
          </a:xfrm>
          <a:custGeom>
            <a:avLst/>
            <a:gdLst/>
            <a:ahLst/>
            <a:cxnLst>
              <a:cxn ang="0">
                <a:pos x="0" y="33"/>
              </a:cxn>
              <a:cxn ang="0">
                <a:pos x="3" y="64"/>
              </a:cxn>
              <a:cxn ang="0">
                <a:pos x="41" y="64"/>
              </a:cxn>
              <a:cxn ang="0">
                <a:pos x="28" y="80"/>
              </a:cxn>
              <a:cxn ang="0">
                <a:pos x="56" y="91"/>
              </a:cxn>
              <a:cxn ang="0">
                <a:pos x="20" y="88"/>
              </a:cxn>
              <a:cxn ang="0">
                <a:pos x="86" y="117"/>
              </a:cxn>
              <a:cxn ang="0">
                <a:pos x="58" y="126"/>
              </a:cxn>
              <a:cxn ang="0">
                <a:pos x="77" y="146"/>
              </a:cxn>
              <a:cxn ang="0">
                <a:pos x="135" y="135"/>
              </a:cxn>
              <a:cxn ang="0">
                <a:pos x="133" y="108"/>
              </a:cxn>
              <a:cxn ang="0">
                <a:pos x="163" y="97"/>
              </a:cxn>
              <a:cxn ang="0">
                <a:pos x="168" y="128"/>
              </a:cxn>
              <a:cxn ang="0">
                <a:pos x="203" y="108"/>
              </a:cxn>
              <a:cxn ang="0">
                <a:pos x="196" y="128"/>
              </a:cxn>
              <a:cxn ang="0">
                <a:pos x="229" y="129"/>
              </a:cxn>
              <a:cxn ang="0">
                <a:pos x="102" y="159"/>
              </a:cxn>
              <a:cxn ang="0">
                <a:pos x="108" y="181"/>
              </a:cxn>
              <a:cxn ang="0">
                <a:pos x="212" y="164"/>
              </a:cxn>
              <a:cxn ang="0">
                <a:pos x="141" y="186"/>
              </a:cxn>
              <a:cxn ang="0">
                <a:pos x="182" y="198"/>
              </a:cxn>
              <a:cxn ang="0">
                <a:pos x="110" y="208"/>
              </a:cxn>
              <a:cxn ang="0">
                <a:pos x="218" y="262"/>
              </a:cxn>
              <a:cxn ang="0">
                <a:pos x="286" y="128"/>
              </a:cxn>
              <a:cxn ang="0">
                <a:pos x="367" y="96"/>
              </a:cxn>
              <a:cxn ang="0">
                <a:pos x="278" y="72"/>
              </a:cxn>
              <a:cxn ang="0">
                <a:pos x="264" y="38"/>
              </a:cxn>
              <a:cxn ang="0">
                <a:pos x="239" y="59"/>
              </a:cxn>
              <a:cxn ang="0">
                <a:pos x="251" y="27"/>
              </a:cxn>
              <a:cxn ang="0">
                <a:pos x="188" y="0"/>
              </a:cxn>
              <a:cxn ang="0">
                <a:pos x="169" y="27"/>
              </a:cxn>
              <a:cxn ang="0">
                <a:pos x="197" y="91"/>
              </a:cxn>
              <a:cxn ang="0">
                <a:pos x="129" y="26"/>
              </a:cxn>
              <a:cxn ang="0">
                <a:pos x="108" y="38"/>
              </a:cxn>
              <a:cxn ang="0">
                <a:pos x="121" y="71"/>
              </a:cxn>
              <a:cxn ang="0">
                <a:pos x="55" y="42"/>
              </a:cxn>
              <a:cxn ang="0">
                <a:pos x="102" y="24"/>
              </a:cxn>
              <a:cxn ang="0">
                <a:pos x="0" y="33"/>
              </a:cxn>
            </a:cxnLst>
            <a:rect l="0" t="0" r="r" b="b"/>
            <a:pathLst>
              <a:path w="367" h="262">
                <a:moveTo>
                  <a:pt x="0" y="33"/>
                </a:moveTo>
                <a:lnTo>
                  <a:pt x="3" y="64"/>
                </a:lnTo>
                <a:lnTo>
                  <a:pt x="41" y="64"/>
                </a:lnTo>
                <a:lnTo>
                  <a:pt x="28" y="80"/>
                </a:lnTo>
                <a:lnTo>
                  <a:pt x="56" y="91"/>
                </a:lnTo>
                <a:lnTo>
                  <a:pt x="20" y="88"/>
                </a:lnTo>
                <a:lnTo>
                  <a:pt x="86" y="117"/>
                </a:lnTo>
                <a:lnTo>
                  <a:pt x="58" y="126"/>
                </a:lnTo>
                <a:lnTo>
                  <a:pt x="77" y="146"/>
                </a:lnTo>
                <a:lnTo>
                  <a:pt x="135" y="135"/>
                </a:lnTo>
                <a:lnTo>
                  <a:pt x="133" y="108"/>
                </a:lnTo>
                <a:lnTo>
                  <a:pt x="163" y="97"/>
                </a:lnTo>
                <a:lnTo>
                  <a:pt x="168" y="128"/>
                </a:lnTo>
                <a:lnTo>
                  <a:pt x="203" y="108"/>
                </a:lnTo>
                <a:lnTo>
                  <a:pt x="196" y="128"/>
                </a:lnTo>
                <a:lnTo>
                  <a:pt x="229" y="129"/>
                </a:lnTo>
                <a:lnTo>
                  <a:pt x="102" y="159"/>
                </a:lnTo>
                <a:lnTo>
                  <a:pt x="108" y="181"/>
                </a:lnTo>
                <a:lnTo>
                  <a:pt x="212" y="164"/>
                </a:lnTo>
                <a:lnTo>
                  <a:pt x="141" y="186"/>
                </a:lnTo>
                <a:lnTo>
                  <a:pt x="182" y="198"/>
                </a:lnTo>
                <a:lnTo>
                  <a:pt x="110" y="208"/>
                </a:lnTo>
                <a:lnTo>
                  <a:pt x="218" y="262"/>
                </a:lnTo>
                <a:lnTo>
                  <a:pt x="286" y="128"/>
                </a:lnTo>
                <a:lnTo>
                  <a:pt x="367" y="96"/>
                </a:lnTo>
                <a:lnTo>
                  <a:pt x="278" y="72"/>
                </a:lnTo>
                <a:lnTo>
                  <a:pt x="264" y="38"/>
                </a:lnTo>
                <a:lnTo>
                  <a:pt x="239" y="59"/>
                </a:lnTo>
                <a:lnTo>
                  <a:pt x="251" y="27"/>
                </a:lnTo>
                <a:lnTo>
                  <a:pt x="188" y="0"/>
                </a:lnTo>
                <a:lnTo>
                  <a:pt x="169" y="27"/>
                </a:lnTo>
                <a:lnTo>
                  <a:pt x="197" y="91"/>
                </a:lnTo>
                <a:lnTo>
                  <a:pt x="129" y="26"/>
                </a:lnTo>
                <a:lnTo>
                  <a:pt x="108" y="38"/>
                </a:lnTo>
                <a:lnTo>
                  <a:pt x="121" y="71"/>
                </a:lnTo>
                <a:lnTo>
                  <a:pt x="55" y="42"/>
                </a:lnTo>
                <a:lnTo>
                  <a:pt x="102" y="24"/>
                </a:lnTo>
                <a:lnTo>
                  <a:pt x="0" y="3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29" name="Freeform 152"/>
          <p:cNvSpPr>
            <a:spLocks noChangeAspect="1"/>
          </p:cNvSpPr>
          <p:nvPr/>
        </p:nvSpPr>
        <p:spPr bwMode="gray">
          <a:xfrm>
            <a:off x="6157093" y="1818433"/>
            <a:ext cx="252966" cy="89556"/>
          </a:xfrm>
          <a:custGeom>
            <a:avLst/>
            <a:gdLst/>
            <a:ahLst/>
            <a:cxnLst>
              <a:cxn ang="0">
                <a:pos x="0" y="29"/>
              </a:cxn>
              <a:cxn ang="0">
                <a:pos x="49" y="38"/>
              </a:cxn>
              <a:cxn ang="0">
                <a:pos x="17" y="51"/>
              </a:cxn>
              <a:cxn ang="0">
                <a:pos x="30" y="61"/>
              </a:cxn>
              <a:cxn ang="0">
                <a:pos x="153" y="60"/>
              </a:cxn>
              <a:cxn ang="0">
                <a:pos x="76" y="76"/>
              </a:cxn>
              <a:cxn ang="0">
                <a:pos x="198" y="110"/>
              </a:cxn>
              <a:cxn ang="0">
                <a:pos x="280" y="89"/>
              </a:cxn>
              <a:cxn ang="0">
                <a:pos x="333" y="51"/>
              </a:cxn>
              <a:cxn ang="0">
                <a:pos x="318" y="33"/>
              </a:cxn>
              <a:cxn ang="0">
                <a:pos x="240" y="34"/>
              </a:cxn>
              <a:cxn ang="0">
                <a:pos x="253" y="13"/>
              </a:cxn>
              <a:cxn ang="0">
                <a:pos x="189" y="34"/>
              </a:cxn>
              <a:cxn ang="0">
                <a:pos x="180" y="0"/>
              </a:cxn>
              <a:cxn ang="0">
                <a:pos x="164" y="44"/>
              </a:cxn>
              <a:cxn ang="0">
                <a:pos x="76" y="0"/>
              </a:cxn>
              <a:cxn ang="0">
                <a:pos x="78" y="27"/>
              </a:cxn>
              <a:cxn ang="0">
                <a:pos x="52" y="13"/>
              </a:cxn>
              <a:cxn ang="0">
                <a:pos x="63" y="39"/>
              </a:cxn>
              <a:cxn ang="0">
                <a:pos x="0" y="29"/>
              </a:cxn>
            </a:cxnLst>
            <a:rect l="0" t="0" r="r" b="b"/>
            <a:pathLst>
              <a:path w="333" h="110">
                <a:moveTo>
                  <a:pt x="0" y="29"/>
                </a:moveTo>
                <a:lnTo>
                  <a:pt x="49" y="38"/>
                </a:lnTo>
                <a:lnTo>
                  <a:pt x="17" y="51"/>
                </a:lnTo>
                <a:lnTo>
                  <a:pt x="30" y="61"/>
                </a:lnTo>
                <a:lnTo>
                  <a:pt x="153" y="60"/>
                </a:lnTo>
                <a:lnTo>
                  <a:pt x="76" y="76"/>
                </a:lnTo>
                <a:lnTo>
                  <a:pt x="198" y="110"/>
                </a:lnTo>
                <a:lnTo>
                  <a:pt x="280" y="89"/>
                </a:lnTo>
                <a:lnTo>
                  <a:pt x="333" y="51"/>
                </a:lnTo>
                <a:lnTo>
                  <a:pt x="318" y="33"/>
                </a:lnTo>
                <a:lnTo>
                  <a:pt x="240" y="34"/>
                </a:lnTo>
                <a:lnTo>
                  <a:pt x="253" y="13"/>
                </a:lnTo>
                <a:lnTo>
                  <a:pt x="189" y="34"/>
                </a:lnTo>
                <a:lnTo>
                  <a:pt x="180" y="0"/>
                </a:lnTo>
                <a:lnTo>
                  <a:pt x="164" y="44"/>
                </a:lnTo>
                <a:lnTo>
                  <a:pt x="76" y="0"/>
                </a:lnTo>
                <a:lnTo>
                  <a:pt x="78" y="27"/>
                </a:lnTo>
                <a:lnTo>
                  <a:pt x="52" y="13"/>
                </a:lnTo>
                <a:lnTo>
                  <a:pt x="63" y="39"/>
                </a:lnTo>
                <a:lnTo>
                  <a:pt x="0" y="2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30" name="Freeform 153"/>
          <p:cNvSpPr>
            <a:spLocks noChangeAspect="1"/>
          </p:cNvSpPr>
          <p:nvPr/>
        </p:nvSpPr>
        <p:spPr bwMode="gray">
          <a:xfrm>
            <a:off x="6245339" y="1961380"/>
            <a:ext cx="107854" cy="56834"/>
          </a:xfrm>
          <a:custGeom>
            <a:avLst/>
            <a:gdLst/>
            <a:ahLst/>
            <a:cxnLst>
              <a:cxn ang="0">
                <a:pos x="0" y="57"/>
              </a:cxn>
              <a:cxn ang="0">
                <a:pos x="12" y="20"/>
              </a:cxn>
              <a:cxn ang="0">
                <a:pos x="71" y="0"/>
              </a:cxn>
              <a:cxn ang="0">
                <a:pos x="81" y="20"/>
              </a:cxn>
              <a:cxn ang="0">
                <a:pos x="143" y="37"/>
              </a:cxn>
              <a:cxn ang="0">
                <a:pos x="56" y="71"/>
              </a:cxn>
              <a:cxn ang="0">
                <a:pos x="71" y="53"/>
              </a:cxn>
              <a:cxn ang="0">
                <a:pos x="0" y="57"/>
              </a:cxn>
            </a:cxnLst>
            <a:rect l="0" t="0" r="r" b="b"/>
            <a:pathLst>
              <a:path w="143" h="71">
                <a:moveTo>
                  <a:pt x="0" y="57"/>
                </a:moveTo>
                <a:lnTo>
                  <a:pt x="12" y="20"/>
                </a:lnTo>
                <a:lnTo>
                  <a:pt x="71" y="0"/>
                </a:lnTo>
                <a:lnTo>
                  <a:pt x="81" y="20"/>
                </a:lnTo>
                <a:lnTo>
                  <a:pt x="143" y="37"/>
                </a:lnTo>
                <a:lnTo>
                  <a:pt x="56" y="71"/>
                </a:lnTo>
                <a:lnTo>
                  <a:pt x="71" y="53"/>
                </a:lnTo>
                <a:lnTo>
                  <a:pt x="0" y="5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31" name="Freeform 154"/>
          <p:cNvSpPr>
            <a:spLocks noChangeAspect="1"/>
          </p:cNvSpPr>
          <p:nvPr/>
        </p:nvSpPr>
        <p:spPr bwMode="gray">
          <a:xfrm>
            <a:off x="5990413" y="2452216"/>
            <a:ext cx="339248" cy="583840"/>
          </a:xfrm>
          <a:custGeom>
            <a:avLst/>
            <a:gdLst/>
            <a:ahLst/>
            <a:cxnLst>
              <a:cxn ang="0">
                <a:pos x="0" y="551"/>
              </a:cxn>
              <a:cxn ang="0">
                <a:pos x="18" y="635"/>
              </a:cxn>
              <a:cxn ang="0">
                <a:pos x="57" y="675"/>
              </a:cxn>
              <a:cxn ang="0">
                <a:pos x="52" y="733"/>
              </a:cxn>
              <a:cxn ang="0">
                <a:pos x="161" y="694"/>
              </a:cxn>
              <a:cxn ang="0">
                <a:pos x="189" y="578"/>
              </a:cxn>
              <a:cxn ang="0">
                <a:pos x="169" y="574"/>
              </a:cxn>
              <a:cxn ang="0">
                <a:pos x="249" y="538"/>
              </a:cxn>
              <a:cxn ang="0">
                <a:pos x="172" y="530"/>
              </a:cxn>
              <a:cxn ang="0">
                <a:pos x="231" y="538"/>
              </a:cxn>
              <a:cxn ang="0">
                <a:pos x="263" y="508"/>
              </a:cxn>
              <a:cxn ang="0">
                <a:pos x="215" y="471"/>
              </a:cxn>
              <a:cxn ang="0">
                <a:pos x="171" y="497"/>
              </a:cxn>
              <a:cxn ang="0">
                <a:pos x="207" y="474"/>
              </a:cxn>
              <a:cxn ang="0">
                <a:pos x="208" y="368"/>
              </a:cxn>
              <a:cxn ang="0">
                <a:pos x="358" y="268"/>
              </a:cxn>
              <a:cxn ang="0">
                <a:pos x="347" y="246"/>
              </a:cxn>
              <a:cxn ang="0">
                <a:pos x="373" y="196"/>
              </a:cxn>
              <a:cxn ang="0">
                <a:pos x="445" y="180"/>
              </a:cxn>
              <a:cxn ang="0">
                <a:pos x="427" y="61"/>
              </a:cxn>
              <a:cxn ang="0">
                <a:pos x="325" y="0"/>
              </a:cxn>
              <a:cxn ang="0">
                <a:pos x="309" y="0"/>
              </a:cxn>
              <a:cxn ang="0">
                <a:pos x="308" y="39"/>
              </a:cxn>
              <a:cxn ang="0">
                <a:pos x="244" y="32"/>
              </a:cxn>
              <a:cxn ang="0">
                <a:pos x="231" y="61"/>
              </a:cxn>
              <a:cxn ang="0">
                <a:pos x="188" y="70"/>
              </a:cxn>
              <a:cxn ang="0">
                <a:pos x="176" y="118"/>
              </a:cxn>
              <a:cxn ang="0">
                <a:pos x="115" y="175"/>
              </a:cxn>
              <a:cxn ang="0">
                <a:pos x="87" y="253"/>
              </a:cxn>
              <a:cxn ang="0">
                <a:pos x="100" y="285"/>
              </a:cxn>
              <a:cxn ang="0">
                <a:pos x="35" y="310"/>
              </a:cxn>
              <a:cxn ang="0">
                <a:pos x="33" y="412"/>
              </a:cxn>
              <a:cxn ang="0">
                <a:pos x="51" y="433"/>
              </a:cxn>
              <a:cxn ang="0">
                <a:pos x="33" y="454"/>
              </a:cxn>
              <a:cxn ang="0">
                <a:pos x="40" y="499"/>
              </a:cxn>
              <a:cxn ang="0">
                <a:pos x="0" y="551"/>
              </a:cxn>
            </a:cxnLst>
            <a:rect l="0" t="0" r="r" b="b"/>
            <a:pathLst>
              <a:path w="445" h="733">
                <a:moveTo>
                  <a:pt x="0" y="551"/>
                </a:moveTo>
                <a:lnTo>
                  <a:pt x="18" y="635"/>
                </a:lnTo>
                <a:lnTo>
                  <a:pt x="57" y="675"/>
                </a:lnTo>
                <a:lnTo>
                  <a:pt x="52" y="733"/>
                </a:lnTo>
                <a:lnTo>
                  <a:pt x="161" y="694"/>
                </a:lnTo>
                <a:lnTo>
                  <a:pt x="189" y="578"/>
                </a:lnTo>
                <a:lnTo>
                  <a:pt x="169" y="574"/>
                </a:lnTo>
                <a:lnTo>
                  <a:pt x="249" y="538"/>
                </a:lnTo>
                <a:lnTo>
                  <a:pt x="172" y="530"/>
                </a:lnTo>
                <a:lnTo>
                  <a:pt x="231" y="538"/>
                </a:lnTo>
                <a:lnTo>
                  <a:pt x="263" y="508"/>
                </a:lnTo>
                <a:lnTo>
                  <a:pt x="215" y="471"/>
                </a:lnTo>
                <a:lnTo>
                  <a:pt x="171" y="497"/>
                </a:lnTo>
                <a:lnTo>
                  <a:pt x="207" y="474"/>
                </a:lnTo>
                <a:lnTo>
                  <a:pt x="208" y="368"/>
                </a:lnTo>
                <a:lnTo>
                  <a:pt x="358" y="268"/>
                </a:lnTo>
                <a:lnTo>
                  <a:pt x="347" y="246"/>
                </a:lnTo>
                <a:lnTo>
                  <a:pt x="373" y="196"/>
                </a:lnTo>
                <a:lnTo>
                  <a:pt x="445" y="180"/>
                </a:lnTo>
                <a:lnTo>
                  <a:pt x="427" y="61"/>
                </a:lnTo>
                <a:lnTo>
                  <a:pt x="325" y="0"/>
                </a:lnTo>
                <a:lnTo>
                  <a:pt x="309" y="0"/>
                </a:lnTo>
                <a:lnTo>
                  <a:pt x="308" y="39"/>
                </a:lnTo>
                <a:lnTo>
                  <a:pt x="244" y="32"/>
                </a:lnTo>
                <a:lnTo>
                  <a:pt x="231" y="61"/>
                </a:lnTo>
                <a:lnTo>
                  <a:pt x="188" y="70"/>
                </a:lnTo>
                <a:lnTo>
                  <a:pt x="176" y="118"/>
                </a:lnTo>
                <a:lnTo>
                  <a:pt x="115" y="175"/>
                </a:lnTo>
                <a:lnTo>
                  <a:pt x="87" y="253"/>
                </a:lnTo>
                <a:lnTo>
                  <a:pt x="100" y="285"/>
                </a:lnTo>
                <a:lnTo>
                  <a:pt x="35" y="310"/>
                </a:lnTo>
                <a:lnTo>
                  <a:pt x="33" y="412"/>
                </a:lnTo>
                <a:lnTo>
                  <a:pt x="51" y="433"/>
                </a:lnTo>
                <a:lnTo>
                  <a:pt x="33" y="454"/>
                </a:lnTo>
                <a:lnTo>
                  <a:pt x="40" y="499"/>
                </a:lnTo>
                <a:lnTo>
                  <a:pt x="0" y="551"/>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32" name="Freeform 155"/>
          <p:cNvSpPr>
            <a:spLocks noChangeAspect="1"/>
          </p:cNvSpPr>
          <p:nvPr/>
        </p:nvSpPr>
        <p:spPr bwMode="gray">
          <a:xfrm>
            <a:off x="5851184" y="3318501"/>
            <a:ext cx="117658" cy="60278"/>
          </a:xfrm>
          <a:custGeom>
            <a:avLst/>
            <a:gdLst/>
            <a:ahLst/>
            <a:cxnLst>
              <a:cxn ang="0">
                <a:pos x="0" y="52"/>
              </a:cxn>
              <a:cxn ang="0">
                <a:pos x="34" y="76"/>
              </a:cxn>
              <a:cxn ang="0">
                <a:pos x="82" y="55"/>
              </a:cxn>
              <a:cxn ang="0">
                <a:pos x="104" y="75"/>
              </a:cxn>
              <a:cxn ang="0">
                <a:pos x="153" y="35"/>
              </a:cxn>
              <a:cxn ang="0">
                <a:pos x="124" y="31"/>
              </a:cxn>
              <a:cxn ang="0">
                <a:pos x="122" y="13"/>
              </a:cxn>
              <a:cxn ang="0">
                <a:pos x="119" y="8"/>
              </a:cxn>
              <a:cxn ang="0">
                <a:pos x="51" y="0"/>
              </a:cxn>
              <a:cxn ang="0">
                <a:pos x="0" y="52"/>
              </a:cxn>
            </a:cxnLst>
            <a:rect l="0" t="0" r="r" b="b"/>
            <a:pathLst>
              <a:path w="153" h="76">
                <a:moveTo>
                  <a:pt x="0" y="52"/>
                </a:moveTo>
                <a:lnTo>
                  <a:pt x="34" y="76"/>
                </a:lnTo>
                <a:lnTo>
                  <a:pt x="82" y="55"/>
                </a:lnTo>
                <a:lnTo>
                  <a:pt x="104" y="75"/>
                </a:lnTo>
                <a:lnTo>
                  <a:pt x="153" y="35"/>
                </a:lnTo>
                <a:lnTo>
                  <a:pt x="124" y="31"/>
                </a:lnTo>
                <a:lnTo>
                  <a:pt x="122" y="13"/>
                </a:lnTo>
                <a:lnTo>
                  <a:pt x="119" y="8"/>
                </a:lnTo>
                <a:lnTo>
                  <a:pt x="51" y="0"/>
                </a:lnTo>
                <a:lnTo>
                  <a:pt x="0" y="52"/>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33" name="Freeform 156"/>
          <p:cNvSpPr>
            <a:spLocks noChangeAspect="1"/>
          </p:cNvSpPr>
          <p:nvPr/>
        </p:nvSpPr>
        <p:spPr bwMode="gray">
          <a:xfrm>
            <a:off x="6625768" y="3666395"/>
            <a:ext cx="186293" cy="149835"/>
          </a:xfrm>
          <a:custGeom>
            <a:avLst/>
            <a:gdLst/>
            <a:ahLst/>
            <a:cxnLst>
              <a:cxn ang="0">
                <a:pos x="0" y="175"/>
              </a:cxn>
              <a:cxn ang="0">
                <a:pos x="5" y="155"/>
              </a:cxn>
              <a:cxn ang="0">
                <a:pos x="41" y="115"/>
              </a:cxn>
              <a:cxn ang="0">
                <a:pos x="20" y="97"/>
              </a:cxn>
              <a:cxn ang="0">
                <a:pos x="19" y="48"/>
              </a:cxn>
              <a:cxn ang="0">
                <a:pos x="41" y="10"/>
              </a:cxn>
              <a:cxn ang="0">
                <a:pos x="247" y="0"/>
              </a:cxn>
              <a:cxn ang="0">
                <a:pos x="209" y="28"/>
              </a:cxn>
              <a:cxn ang="0">
                <a:pos x="196" y="104"/>
              </a:cxn>
              <a:cxn ang="0">
                <a:pos x="112" y="149"/>
              </a:cxn>
              <a:cxn ang="0">
                <a:pos x="37" y="189"/>
              </a:cxn>
              <a:cxn ang="0">
                <a:pos x="0" y="175"/>
              </a:cxn>
            </a:cxnLst>
            <a:rect l="0" t="0" r="r" b="b"/>
            <a:pathLst>
              <a:path w="247" h="189">
                <a:moveTo>
                  <a:pt x="0" y="175"/>
                </a:moveTo>
                <a:lnTo>
                  <a:pt x="5" y="155"/>
                </a:lnTo>
                <a:lnTo>
                  <a:pt x="41" y="115"/>
                </a:lnTo>
                <a:lnTo>
                  <a:pt x="20" y="97"/>
                </a:lnTo>
                <a:lnTo>
                  <a:pt x="19" y="48"/>
                </a:lnTo>
                <a:lnTo>
                  <a:pt x="41" y="10"/>
                </a:lnTo>
                <a:lnTo>
                  <a:pt x="247" y="0"/>
                </a:lnTo>
                <a:lnTo>
                  <a:pt x="209" y="28"/>
                </a:lnTo>
                <a:lnTo>
                  <a:pt x="196" y="104"/>
                </a:lnTo>
                <a:lnTo>
                  <a:pt x="112" y="149"/>
                </a:lnTo>
                <a:lnTo>
                  <a:pt x="37" y="189"/>
                </a:lnTo>
                <a:lnTo>
                  <a:pt x="0" y="17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34" name="Freeform 157"/>
          <p:cNvSpPr>
            <a:spLocks noChangeAspect="1"/>
          </p:cNvSpPr>
          <p:nvPr/>
        </p:nvSpPr>
        <p:spPr bwMode="gray">
          <a:xfrm>
            <a:off x="8255329" y="4160676"/>
            <a:ext cx="209824" cy="421948"/>
          </a:xfrm>
          <a:custGeom>
            <a:avLst/>
            <a:gdLst/>
            <a:ahLst/>
            <a:cxnLst>
              <a:cxn ang="0">
                <a:pos x="0" y="84"/>
              </a:cxn>
              <a:cxn ang="0">
                <a:pos x="19" y="43"/>
              </a:cxn>
              <a:cxn ang="0">
                <a:pos x="93" y="0"/>
              </a:cxn>
              <a:cxn ang="0">
                <a:pos x="126" y="41"/>
              </a:cxn>
              <a:cxn ang="0">
                <a:pos x="116" y="112"/>
              </a:cxn>
              <a:cxn ang="0">
                <a:pos x="204" y="80"/>
              </a:cxn>
              <a:cxn ang="0">
                <a:pos x="242" y="112"/>
              </a:cxn>
              <a:cxn ang="0">
                <a:pos x="275" y="182"/>
              </a:cxn>
              <a:cxn ang="0">
                <a:pos x="263" y="226"/>
              </a:cxn>
              <a:cxn ang="0">
                <a:pos x="196" y="223"/>
              </a:cxn>
              <a:cxn ang="0">
                <a:pos x="172" y="244"/>
              </a:cxn>
              <a:cxn ang="0">
                <a:pos x="185" y="318"/>
              </a:cxn>
              <a:cxn ang="0">
                <a:pos x="95" y="254"/>
              </a:cxn>
              <a:cxn ang="0">
                <a:pos x="57" y="368"/>
              </a:cxn>
              <a:cxn ang="0">
                <a:pos x="100" y="472"/>
              </a:cxn>
              <a:cxn ang="0">
                <a:pos x="161" y="510"/>
              </a:cxn>
              <a:cxn ang="0">
                <a:pos x="129" y="529"/>
              </a:cxn>
              <a:cxn ang="0">
                <a:pos x="121" y="499"/>
              </a:cxn>
              <a:cxn ang="0">
                <a:pos x="95" y="499"/>
              </a:cxn>
              <a:cxn ang="0">
                <a:pos x="26" y="440"/>
              </a:cxn>
              <a:cxn ang="0">
                <a:pos x="38" y="373"/>
              </a:cxn>
              <a:cxn ang="0">
                <a:pos x="73" y="310"/>
              </a:cxn>
              <a:cxn ang="0">
                <a:pos x="24" y="208"/>
              </a:cxn>
              <a:cxn ang="0">
                <a:pos x="40" y="162"/>
              </a:cxn>
              <a:cxn ang="0">
                <a:pos x="0" y="84"/>
              </a:cxn>
            </a:cxnLst>
            <a:rect l="0" t="0" r="r" b="b"/>
            <a:pathLst>
              <a:path w="275" h="529">
                <a:moveTo>
                  <a:pt x="0" y="84"/>
                </a:moveTo>
                <a:lnTo>
                  <a:pt x="19" y="43"/>
                </a:lnTo>
                <a:lnTo>
                  <a:pt x="93" y="0"/>
                </a:lnTo>
                <a:lnTo>
                  <a:pt x="126" y="41"/>
                </a:lnTo>
                <a:lnTo>
                  <a:pt x="116" y="112"/>
                </a:lnTo>
                <a:lnTo>
                  <a:pt x="204" y="80"/>
                </a:lnTo>
                <a:lnTo>
                  <a:pt x="242" y="112"/>
                </a:lnTo>
                <a:lnTo>
                  <a:pt x="275" y="182"/>
                </a:lnTo>
                <a:lnTo>
                  <a:pt x="263" y="226"/>
                </a:lnTo>
                <a:lnTo>
                  <a:pt x="196" y="223"/>
                </a:lnTo>
                <a:lnTo>
                  <a:pt x="172" y="244"/>
                </a:lnTo>
                <a:lnTo>
                  <a:pt x="185" y="318"/>
                </a:lnTo>
                <a:lnTo>
                  <a:pt x="95" y="254"/>
                </a:lnTo>
                <a:lnTo>
                  <a:pt x="57" y="368"/>
                </a:lnTo>
                <a:lnTo>
                  <a:pt x="100" y="472"/>
                </a:lnTo>
                <a:lnTo>
                  <a:pt x="161" y="510"/>
                </a:lnTo>
                <a:lnTo>
                  <a:pt x="129" y="529"/>
                </a:lnTo>
                <a:lnTo>
                  <a:pt x="121" y="499"/>
                </a:lnTo>
                <a:lnTo>
                  <a:pt x="95" y="499"/>
                </a:lnTo>
                <a:lnTo>
                  <a:pt x="26" y="440"/>
                </a:lnTo>
                <a:lnTo>
                  <a:pt x="38" y="373"/>
                </a:lnTo>
                <a:lnTo>
                  <a:pt x="73" y="310"/>
                </a:lnTo>
                <a:lnTo>
                  <a:pt x="24" y="208"/>
                </a:lnTo>
                <a:lnTo>
                  <a:pt x="40" y="162"/>
                </a:lnTo>
                <a:lnTo>
                  <a:pt x="0" y="8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35" name="Freeform 158"/>
          <p:cNvSpPr>
            <a:spLocks noChangeAspect="1"/>
          </p:cNvSpPr>
          <p:nvPr/>
        </p:nvSpPr>
        <p:spPr bwMode="gray">
          <a:xfrm>
            <a:off x="4070626" y="4443125"/>
            <a:ext cx="25493" cy="18945"/>
          </a:xfrm>
          <a:custGeom>
            <a:avLst/>
            <a:gdLst/>
            <a:ahLst/>
            <a:cxnLst>
              <a:cxn ang="0">
                <a:pos x="0" y="24"/>
              </a:cxn>
              <a:cxn ang="0">
                <a:pos x="33" y="21"/>
              </a:cxn>
              <a:cxn ang="0">
                <a:pos x="34" y="0"/>
              </a:cxn>
              <a:cxn ang="0">
                <a:pos x="0" y="24"/>
              </a:cxn>
            </a:cxnLst>
            <a:rect l="0" t="0" r="r" b="b"/>
            <a:pathLst>
              <a:path w="34" h="24">
                <a:moveTo>
                  <a:pt x="0" y="24"/>
                </a:moveTo>
                <a:lnTo>
                  <a:pt x="33" y="21"/>
                </a:lnTo>
                <a:lnTo>
                  <a:pt x="34" y="0"/>
                </a:lnTo>
                <a:lnTo>
                  <a:pt x="0" y="2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36" name="Freeform 159"/>
          <p:cNvSpPr>
            <a:spLocks noChangeAspect="1"/>
          </p:cNvSpPr>
          <p:nvPr/>
        </p:nvSpPr>
        <p:spPr bwMode="gray">
          <a:xfrm>
            <a:off x="7035608" y="4003951"/>
            <a:ext cx="137268" cy="98168"/>
          </a:xfrm>
          <a:custGeom>
            <a:avLst/>
            <a:gdLst/>
            <a:ahLst/>
            <a:cxnLst>
              <a:cxn ang="0">
                <a:pos x="0" y="56"/>
              </a:cxn>
              <a:cxn ang="0">
                <a:pos x="10" y="54"/>
              </a:cxn>
              <a:cxn ang="0">
                <a:pos x="25" y="73"/>
              </a:cxn>
              <a:cxn ang="0">
                <a:pos x="102" y="72"/>
              </a:cxn>
              <a:cxn ang="0">
                <a:pos x="172" y="0"/>
              </a:cxn>
              <a:cxn ang="0">
                <a:pos x="181" y="44"/>
              </a:cxn>
              <a:cxn ang="0">
                <a:pos x="161" y="45"/>
              </a:cxn>
              <a:cxn ang="0">
                <a:pos x="172" y="72"/>
              </a:cxn>
              <a:cxn ang="0">
                <a:pos x="143" y="124"/>
              </a:cxn>
              <a:cxn ang="0">
                <a:pos x="33" y="111"/>
              </a:cxn>
              <a:cxn ang="0">
                <a:pos x="0" y="56"/>
              </a:cxn>
            </a:cxnLst>
            <a:rect l="0" t="0" r="r" b="b"/>
            <a:pathLst>
              <a:path w="181" h="124">
                <a:moveTo>
                  <a:pt x="0" y="56"/>
                </a:moveTo>
                <a:lnTo>
                  <a:pt x="10" y="54"/>
                </a:lnTo>
                <a:lnTo>
                  <a:pt x="25" y="73"/>
                </a:lnTo>
                <a:lnTo>
                  <a:pt x="102" y="72"/>
                </a:lnTo>
                <a:lnTo>
                  <a:pt x="172" y="0"/>
                </a:lnTo>
                <a:lnTo>
                  <a:pt x="181" y="44"/>
                </a:lnTo>
                <a:lnTo>
                  <a:pt x="161" y="45"/>
                </a:lnTo>
                <a:lnTo>
                  <a:pt x="172" y="72"/>
                </a:lnTo>
                <a:lnTo>
                  <a:pt x="143" y="124"/>
                </a:lnTo>
                <a:lnTo>
                  <a:pt x="33" y="111"/>
                </a:lnTo>
                <a:lnTo>
                  <a:pt x="0" y="5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37" name="Freeform 160"/>
          <p:cNvSpPr>
            <a:spLocks noChangeAspect="1"/>
          </p:cNvSpPr>
          <p:nvPr/>
        </p:nvSpPr>
        <p:spPr bwMode="gray">
          <a:xfrm>
            <a:off x="5890402" y="3671561"/>
            <a:ext cx="105892" cy="206668"/>
          </a:xfrm>
          <a:custGeom>
            <a:avLst/>
            <a:gdLst/>
            <a:ahLst/>
            <a:cxnLst>
              <a:cxn ang="0">
                <a:pos x="0" y="122"/>
              </a:cxn>
              <a:cxn ang="0">
                <a:pos x="30" y="98"/>
              </a:cxn>
              <a:cxn ang="0">
                <a:pos x="45" y="3"/>
              </a:cxn>
              <a:cxn ang="0">
                <a:pos x="128" y="0"/>
              </a:cxn>
              <a:cxn ang="0">
                <a:pos x="107" y="32"/>
              </a:cxn>
              <a:cxn ang="0">
                <a:pos x="132" y="72"/>
              </a:cxn>
              <a:cxn ang="0">
                <a:pos x="83" y="122"/>
              </a:cxn>
              <a:cxn ang="0">
                <a:pos x="137" y="153"/>
              </a:cxn>
              <a:cxn ang="0">
                <a:pos x="68" y="261"/>
              </a:cxn>
              <a:cxn ang="0">
                <a:pos x="58" y="192"/>
              </a:cxn>
              <a:cxn ang="0">
                <a:pos x="0" y="122"/>
              </a:cxn>
            </a:cxnLst>
            <a:rect l="0" t="0" r="r" b="b"/>
            <a:pathLst>
              <a:path w="137" h="261">
                <a:moveTo>
                  <a:pt x="0" y="122"/>
                </a:moveTo>
                <a:lnTo>
                  <a:pt x="30" y="98"/>
                </a:lnTo>
                <a:lnTo>
                  <a:pt x="45" y="3"/>
                </a:lnTo>
                <a:lnTo>
                  <a:pt x="128" y="0"/>
                </a:lnTo>
                <a:lnTo>
                  <a:pt x="107" y="32"/>
                </a:lnTo>
                <a:lnTo>
                  <a:pt x="132" y="72"/>
                </a:lnTo>
                <a:lnTo>
                  <a:pt x="83" y="122"/>
                </a:lnTo>
                <a:lnTo>
                  <a:pt x="137" y="153"/>
                </a:lnTo>
                <a:lnTo>
                  <a:pt x="68" y="261"/>
                </a:lnTo>
                <a:lnTo>
                  <a:pt x="58" y="192"/>
                </a:lnTo>
                <a:lnTo>
                  <a:pt x="0" y="12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38" name="Freeform 161"/>
          <p:cNvSpPr>
            <a:spLocks noChangeAspect="1"/>
          </p:cNvSpPr>
          <p:nvPr/>
        </p:nvSpPr>
        <p:spPr bwMode="gray">
          <a:xfrm>
            <a:off x="6384568" y="3513114"/>
            <a:ext cx="70595" cy="60278"/>
          </a:xfrm>
          <a:custGeom>
            <a:avLst/>
            <a:gdLst/>
            <a:ahLst/>
            <a:cxnLst>
              <a:cxn ang="0">
                <a:pos x="0" y="49"/>
              </a:cxn>
              <a:cxn ang="0">
                <a:pos x="11" y="4"/>
              </a:cxn>
              <a:cxn ang="0">
                <a:pos x="66" y="0"/>
              </a:cxn>
              <a:cxn ang="0">
                <a:pos x="97" y="37"/>
              </a:cxn>
              <a:cxn ang="0">
                <a:pos x="53" y="38"/>
              </a:cxn>
              <a:cxn ang="0">
                <a:pos x="4" y="73"/>
              </a:cxn>
              <a:cxn ang="0">
                <a:pos x="26" y="51"/>
              </a:cxn>
              <a:cxn ang="0">
                <a:pos x="0" y="49"/>
              </a:cxn>
            </a:cxnLst>
            <a:rect l="0" t="0" r="r" b="b"/>
            <a:pathLst>
              <a:path w="97" h="73">
                <a:moveTo>
                  <a:pt x="0" y="49"/>
                </a:moveTo>
                <a:lnTo>
                  <a:pt x="11" y="4"/>
                </a:lnTo>
                <a:lnTo>
                  <a:pt x="66" y="0"/>
                </a:lnTo>
                <a:lnTo>
                  <a:pt x="97" y="37"/>
                </a:lnTo>
                <a:lnTo>
                  <a:pt x="53" y="38"/>
                </a:lnTo>
                <a:lnTo>
                  <a:pt x="4" y="73"/>
                </a:lnTo>
                <a:lnTo>
                  <a:pt x="26" y="51"/>
                </a:lnTo>
                <a:lnTo>
                  <a:pt x="0" y="4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39" name="Freeform 162"/>
          <p:cNvSpPr>
            <a:spLocks noChangeAspect="1"/>
          </p:cNvSpPr>
          <p:nvPr/>
        </p:nvSpPr>
        <p:spPr bwMode="gray">
          <a:xfrm>
            <a:off x="6390451" y="3509671"/>
            <a:ext cx="482398" cy="192891"/>
          </a:xfrm>
          <a:custGeom>
            <a:avLst/>
            <a:gdLst/>
            <a:ahLst/>
            <a:cxnLst>
              <a:cxn ang="0">
                <a:pos x="0" y="83"/>
              </a:cxn>
              <a:cxn ang="0">
                <a:pos x="27" y="148"/>
              </a:cxn>
              <a:cxn ang="0">
                <a:pos x="1" y="154"/>
              </a:cxn>
              <a:cxn ang="0">
                <a:pos x="27" y="165"/>
              </a:cxn>
              <a:cxn ang="0">
                <a:pos x="37" y="204"/>
              </a:cxn>
              <a:cxn ang="0">
                <a:pos x="73" y="200"/>
              </a:cxn>
              <a:cxn ang="0">
                <a:pos x="37" y="217"/>
              </a:cxn>
              <a:cxn ang="0">
                <a:pos x="78" y="210"/>
              </a:cxn>
              <a:cxn ang="0">
                <a:pos x="122" y="236"/>
              </a:cxn>
              <a:cxn ang="0">
                <a:pos x="163" y="209"/>
              </a:cxn>
              <a:cxn ang="0">
                <a:pos x="226" y="244"/>
              </a:cxn>
              <a:cxn ang="0">
                <a:pos x="336" y="209"/>
              </a:cxn>
              <a:cxn ang="0">
                <a:pos x="333" y="247"/>
              </a:cxn>
              <a:cxn ang="0">
                <a:pos x="355" y="209"/>
              </a:cxn>
              <a:cxn ang="0">
                <a:pos x="561" y="199"/>
              </a:cxn>
              <a:cxn ang="0">
                <a:pos x="638" y="195"/>
              </a:cxn>
              <a:cxn ang="0">
                <a:pos x="616" y="108"/>
              </a:cxn>
              <a:cxn ang="0">
                <a:pos x="634" y="90"/>
              </a:cxn>
              <a:cxn ang="0">
                <a:pos x="567" y="17"/>
              </a:cxn>
              <a:cxn ang="0">
                <a:pos x="525" y="17"/>
              </a:cxn>
              <a:cxn ang="0">
                <a:pos x="408" y="47"/>
              </a:cxn>
              <a:cxn ang="0">
                <a:pos x="307" y="0"/>
              </a:cxn>
              <a:cxn ang="0">
                <a:pos x="245" y="1"/>
              </a:cxn>
              <a:cxn ang="0">
                <a:pos x="164" y="45"/>
              </a:cxn>
              <a:cxn ang="0">
                <a:pos x="100" y="33"/>
              </a:cxn>
              <a:cxn ang="0">
                <a:pos x="120" y="56"/>
              </a:cxn>
              <a:cxn ang="0">
                <a:pos x="0" y="83"/>
              </a:cxn>
            </a:cxnLst>
            <a:rect l="0" t="0" r="r" b="b"/>
            <a:pathLst>
              <a:path w="638" h="247">
                <a:moveTo>
                  <a:pt x="0" y="83"/>
                </a:moveTo>
                <a:lnTo>
                  <a:pt x="27" y="148"/>
                </a:lnTo>
                <a:lnTo>
                  <a:pt x="1" y="154"/>
                </a:lnTo>
                <a:lnTo>
                  <a:pt x="27" y="165"/>
                </a:lnTo>
                <a:lnTo>
                  <a:pt x="37" y="204"/>
                </a:lnTo>
                <a:lnTo>
                  <a:pt x="73" y="200"/>
                </a:lnTo>
                <a:lnTo>
                  <a:pt x="37" y="217"/>
                </a:lnTo>
                <a:lnTo>
                  <a:pt x="78" y="210"/>
                </a:lnTo>
                <a:lnTo>
                  <a:pt x="122" y="236"/>
                </a:lnTo>
                <a:lnTo>
                  <a:pt x="163" y="209"/>
                </a:lnTo>
                <a:lnTo>
                  <a:pt x="226" y="244"/>
                </a:lnTo>
                <a:lnTo>
                  <a:pt x="336" y="209"/>
                </a:lnTo>
                <a:lnTo>
                  <a:pt x="333" y="247"/>
                </a:lnTo>
                <a:lnTo>
                  <a:pt x="355" y="209"/>
                </a:lnTo>
                <a:lnTo>
                  <a:pt x="561" y="199"/>
                </a:lnTo>
                <a:lnTo>
                  <a:pt x="638" y="195"/>
                </a:lnTo>
                <a:lnTo>
                  <a:pt x="616" y="108"/>
                </a:lnTo>
                <a:lnTo>
                  <a:pt x="634" y="90"/>
                </a:lnTo>
                <a:lnTo>
                  <a:pt x="567" y="17"/>
                </a:lnTo>
                <a:lnTo>
                  <a:pt x="525" y="17"/>
                </a:lnTo>
                <a:lnTo>
                  <a:pt x="408" y="47"/>
                </a:lnTo>
                <a:lnTo>
                  <a:pt x="307" y="0"/>
                </a:lnTo>
                <a:lnTo>
                  <a:pt x="245" y="1"/>
                </a:lnTo>
                <a:lnTo>
                  <a:pt x="164" y="45"/>
                </a:lnTo>
                <a:lnTo>
                  <a:pt x="100" y="33"/>
                </a:lnTo>
                <a:lnTo>
                  <a:pt x="120" y="56"/>
                </a:lnTo>
                <a:lnTo>
                  <a:pt x="0" y="8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40" name="Freeform 163"/>
          <p:cNvSpPr>
            <a:spLocks noChangeAspect="1"/>
          </p:cNvSpPr>
          <p:nvPr/>
        </p:nvSpPr>
        <p:spPr bwMode="gray">
          <a:xfrm>
            <a:off x="5435459" y="3048114"/>
            <a:ext cx="101970" cy="130889"/>
          </a:xfrm>
          <a:custGeom>
            <a:avLst/>
            <a:gdLst/>
            <a:ahLst/>
            <a:cxnLst>
              <a:cxn ang="0">
                <a:pos x="0" y="137"/>
              </a:cxn>
              <a:cxn ang="0">
                <a:pos x="18" y="152"/>
              </a:cxn>
              <a:cxn ang="0">
                <a:pos x="4" y="165"/>
              </a:cxn>
              <a:cxn ang="0">
                <a:pos x="131" y="140"/>
              </a:cxn>
              <a:cxn ang="0">
                <a:pos x="141" y="53"/>
              </a:cxn>
              <a:cxn ang="0">
                <a:pos x="123" y="33"/>
              </a:cxn>
              <a:cxn ang="0">
                <a:pos x="87" y="43"/>
              </a:cxn>
              <a:cxn ang="0">
                <a:pos x="73" y="31"/>
              </a:cxn>
              <a:cxn ang="0">
                <a:pos x="89" y="10"/>
              </a:cxn>
              <a:cxn ang="0">
                <a:pos x="73" y="0"/>
              </a:cxn>
              <a:cxn ang="0">
                <a:pos x="57" y="42"/>
              </a:cxn>
              <a:cxn ang="0">
                <a:pos x="4" y="53"/>
              </a:cxn>
              <a:cxn ang="0">
                <a:pos x="21" y="64"/>
              </a:cxn>
              <a:cxn ang="0">
                <a:pos x="11" y="86"/>
              </a:cxn>
              <a:cxn ang="0">
                <a:pos x="45" y="92"/>
              </a:cxn>
              <a:cxn ang="0">
                <a:pos x="13" y="124"/>
              </a:cxn>
              <a:cxn ang="0">
                <a:pos x="51" y="117"/>
              </a:cxn>
              <a:cxn ang="0">
                <a:pos x="0" y="137"/>
              </a:cxn>
            </a:cxnLst>
            <a:rect l="0" t="0" r="r" b="b"/>
            <a:pathLst>
              <a:path w="141" h="165">
                <a:moveTo>
                  <a:pt x="0" y="137"/>
                </a:moveTo>
                <a:lnTo>
                  <a:pt x="18" y="152"/>
                </a:lnTo>
                <a:lnTo>
                  <a:pt x="4" y="165"/>
                </a:lnTo>
                <a:lnTo>
                  <a:pt x="131" y="140"/>
                </a:lnTo>
                <a:lnTo>
                  <a:pt x="141" y="53"/>
                </a:lnTo>
                <a:lnTo>
                  <a:pt x="123" y="33"/>
                </a:lnTo>
                <a:lnTo>
                  <a:pt x="87" y="43"/>
                </a:lnTo>
                <a:lnTo>
                  <a:pt x="73" y="31"/>
                </a:lnTo>
                <a:lnTo>
                  <a:pt x="89" y="10"/>
                </a:lnTo>
                <a:lnTo>
                  <a:pt x="73" y="0"/>
                </a:lnTo>
                <a:lnTo>
                  <a:pt x="57" y="42"/>
                </a:lnTo>
                <a:lnTo>
                  <a:pt x="4" y="53"/>
                </a:lnTo>
                <a:lnTo>
                  <a:pt x="21" y="64"/>
                </a:lnTo>
                <a:lnTo>
                  <a:pt x="11" y="86"/>
                </a:lnTo>
                <a:lnTo>
                  <a:pt x="45" y="92"/>
                </a:lnTo>
                <a:lnTo>
                  <a:pt x="13" y="124"/>
                </a:lnTo>
                <a:lnTo>
                  <a:pt x="51" y="117"/>
                </a:lnTo>
                <a:lnTo>
                  <a:pt x="0" y="13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41" name="Freeform 164"/>
          <p:cNvSpPr>
            <a:spLocks noChangeAspect="1"/>
          </p:cNvSpPr>
          <p:nvPr/>
        </p:nvSpPr>
        <p:spPr bwMode="gray">
          <a:xfrm>
            <a:off x="5486444" y="3036055"/>
            <a:ext cx="70595" cy="55112"/>
          </a:xfrm>
          <a:custGeom>
            <a:avLst/>
            <a:gdLst/>
            <a:ahLst/>
            <a:cxnLst>
              <a:cxn ang="0">
                <a:pos x="0" y="42"/>
              </a:cxn>
              <a:cxn ang="0">
                <a:pos x="14" y="54"/>
              </a:cxn>
              <a:cxn ang="0">
                <a:pos x="50" y="44"/>
              </a:cxn>
              <a:cxn ang="0">
                <a:pos x="68" y="64"/>
              </a:cxn>
              <a:cxn ang="0">
                <a:pos x="90" y="42"/>
              </a:cxn>
              <a:cxn ang="0">
                <a:pos x="69" y="10"/>
              </a:cxn>
              <a:cxn ang="0">
                <a:pos x="26" y="0"/>
              </a:cxn>
              <a:cxn ang="0">
                <a:pos x="16" y="21"/>
              </a:cxn>
              <a:cxn ang="0">
                <a:pos x="0" y="42"/>
              </a:cxn>
            </a:cxnLst>
            <a:rect l="0" t="0" r="r" b="b"/>
            <a:pathLst>
              <a:path w="90" h="64">
                <a:moveTo>
                  <a:pt x="0" y="42"/>
                </a:moveTo>
                <a:lnTo>
                  <a:pt x="14" y="54"/>
                </a:lnTo>
                <a:lnTo>
                  <a:pt x="50" y="44"/>
                </a:lnTo>
                <a:lnTo>
                  <a:pt x="68" y="64"/>
                </a:lnTo>
                <a:lnTo>
                  <a:pt x="90" y="42"/>
                </a:lnTo>
                <a:lnTo>
                  <a:pt x="69" y="10"/>
                </a:lnTo>
                <a:lnTo>
                  <a:pt x="26" y="0"/>
                </a:lnTo>
                <a:lnTo>
                  <a:pt x="16" y="21"/>
                </a:lnTo>
                <a:lnTo>
                  <a:pt x="0" y="4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42" name="Freeform 165"/>
          <p:cNvSpPr>
            <a:spLocks noChangeAspect="1"/>
          </p:cNvSpPr>
          <p:nvPr/>
        </p:nvSpPr>
        <p:spPr bwMode="gray">
          <a:xfrm>
            <a:off x="5523700" y="2946499"/>
            <a:ext cx="15688" cy="15501"/>
          </a:xfrm>
          <a:custGeom>
            <a:avLst/>
            <a:gdLst/>
            <a:ahLst/>
            <a:cxnLst>
              <a:cxn ang="0">
                <a:pos x="0" y="15"/>
              </a:cxn>
              <a:cxn ang="0">
                <a:pos x="11" y="0"/>
              </a:cxn>
              <a:cxn ang="0">
                <a:pos x="22" y="20"/>
              </a:cxn>
              <a:cxn ang="0">
                <a:pos x="0" y="15"/>
              </a:cxn>
            </a:cxnLst>
            <a:rect l="0" t="0" r="r" b="b"/>
            <a:pathLst>
              <a:path w="22" h="20">
                <a:moveTo>
                  <a:pt x="0" y="15"/>
                </a:moveTo>
                <a:lnTo>
                  <a:pt x="11" y="0"/>
                </a:lnTo>
                <a:lnTo>
                  <a:pt x="22" y="20"/>
                </a:lnTo>
                <a:lnTo>
                  <a:pt x="0" y="1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43" name="Freeform 166"/>
          <p:cNvSpPr>
            <a:spLocks noChangeAspect="1"/>
          </p:cNvSpPr>
          <p:nvPr/>
        </p:nvSpPr>
        <p:spPr bwMode="gray">
          <a:xfrm>
            <a:off x="5539389" y="2908608"/>
            <a:ext cx="203941" cy="328948"/>
          </a:xfrm>
          <a:custGeom>
            <a:avLst/>
            <a:gdLst/>
            <a:ahLst/>
            <a:cxnLst>
              <a:cxn ang="0">
                <a:pos x="0" y="96"/>
              </a:cxn>
              <a:cxn ang="0">
                <a:pos x="10" y="41"/>
              </a:cxn>
              <a:cxn ang="0">
                <a:pos x="39" y="0"/>
              </a:cxn>
              <a:cxn ang="0">
                <a:pos x="102" y="0"/>
              </a:cxn>
              <a:cxn ang="0">
                <a:pos x="65" y="49"/>
              </a:cxn>
              <a:cxn ang="0">
                <a:pos x="147" y="59"/>
              </a:cxn>
              <a:cxn ang="0">
                <a:pos x="96" y="126"/>
              </a:cxn>
              <a:cxn ang="0">
                <a:pos x="157" y="150"/>
              </a:cxn>
              <a:cxn ang="0">
                <a:pos x="215" y="234"/>
              </a:cxn>
              <a:cxn ang="0">
                <a:pos x="198" y="239"/>
              </a:cxn>
              <a:cxn ang="0">
                <a:pos x="224" y="260"/>
              </a:cxn>
              <a:cxn ang="0">
                <a:pos x="209" y="280"/>
              </a:cxn>
              <a:cxn ang="0">
                <a:pos x="268" y="285"/>
              </a:cxn>
              <a:cxn ang="0">
                <a:pos x="233" y="340"/>
              </a:cxn>
              <a:cxn ang="0">
                <a:pos x="257" y="356"/>
              </a:cxn>
              <a:cxn ang="0">
                <a:pos x="15" y="409"/>
              </a:cxn>
              <a:cxn ang="0">
                <a:pos x="122" y="333"/>
              </a:cxn>
              <a:cxn ang="0">
                <a:pos x="91" y="345"/>
              </a:cxn>
              <a:cxn ang="0">
                <a:pos x="30" y="322"/>
              </a:cxn>
              <a:cxn ang="0">
                <a:pos x="75" y="294"/>
              </a:cxn>
              <a:cxn ang="0">
                <a:pos x="47" y="280"/>
              </a:cxn>
              <a:cxn ang="0">
                <a:pos x="108" y="251"/>
              </a:cxn>
              <a:cxn ang="0">
                <a:pos x="115" y="213"/>
              </a:cxn>
              <a:cxn ang="0">
                <a:pos x="83" y="202"/>
              </a:cxn>
              <a:cxn ang="0">
                <a:pos x="102" y="180"/>
              </a:cxn>
              <a:cxn ang="0">
                <a:pos x="38" y="191"/>
              </a:cxn>
              <a:cxn ang="0">
                <a:pos x="39" y="132"/>
              </a:cxn>
              <a:cxn ang="0">
                <a:pos x="10" y="159"/>
              </a:cxn>
              <a:cxn ang="0">
                <a:pos x="27" y="99"/>
              </a:cxn>
              <a:cxn ang="0">
                <a:pos x="0" y="96"/>
              </a:cxn>
            </a:cxnLst>
            <a:rect l="0" t="0" r="r" b="b"/>
            <a:pathLst>
              <a:path w="268" h="409">
                <a:moveTo>
                  <a:pt x="0" y="96"/>
                </a:moveTo>
                <a:lnTo>
                  <a:pt x="10" y="41"/>
                </a:lnTo>
                <a:lnTo>
                  <a:pt x="39" y="0"/>
                </a:lnTo>
                <a:lnTo>
                  <a:pt x="102" y="0"/>
                </a:lnTo>
                <a:lnTo>
                  <a:pt x="65" y="49"/>
                </a:lnTo>
                <a:lnTo>
                  <a:pt x="147" y="59"/>
                </a:lnTo>
                <a:lnTo>
                  <a:pt x="96" y="126"/>
                </a:lnTo>
                <a:lnTo>
                  <a:pt x="157" y="150"/>
                </a:lnTo>
                <a:lnTo>
                  <a:pt x="215" y="234"/>
                </a:lnTo>
                <a:lnTo>
                  <a:pt x="198" y="239"/>
                </a:lnTo>
                <a:lnTo>
                  <a:pt x="224" y="260"/>
                </a:lnTo>
                <a:lnTo>
                  <a:pt x="209" y="280"/>
                </a:lnTo>
                <a:lnTo>
                  <a:pt x="268" y="285"/>
                </a:lnTo>
                <a:lnTo>
                  <a:pt x="233" y="340"/>
                </a:lnTo>
                <a:lnTo>
                  <a:pt x="257" y="356"/>
                </a:lnTo>
                <a:lnTo>
                  <a:pt x="15" y="409"/>
                </a:lnTo>
                <a:lnTo>
                  <a:pt x="122" y="333"/>
                </a:lnTo>
                <a:lnTo>
                  <a:pt x="91" y="345"/>
                </a:lnTo>
                <a:lnTo>
                  <a:pt x="30" y="322"/>
                </a:lnTo>
                <a:lnTo>
                  <a:pt x="75" y="294"/>
                </a:lnTo>
                <a:lnTo>
                  <a:pt x="47" y="280"/>
                </a:lnTo>
                <a:lnTo>
                  <a:pt x="108" y="251"/>
                </a:lnTo>
                <a:lnTo>
                  <a:pt x="115" y="213"/>
                </a:lnTo>
                <a:lnTo>
                  <a:pt x="83" y="202"/>
                </a:lnTo>
                <a:lnTo>
                  <a:pt x="102" y="180"/>
                </a:lnTo>
                <a:lnTo>
                  <a:pt x="38" y="191"/>
                </a:lnTo>
                <a:lnTo>
                  <a:pt x="39" y="132"/>
                </a:lnTo>
                <a:lnTo>
                  <a:pt x="10" y="159"/>
                </a:lnTo>
                <a:lnTo>
                  <a:pt x="27" y="99"/>
                </a:lnTo>
                <a:lnTo>
                  <a:pt x="0" y="96"/>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44" name="Freeform 167"/>
          <p:cNvSpPr>
            <a:spLocks noChangeAspect="1"/>
          </p:cNvSpPr>
          <p:nvPr/>
        </p:nvSpPr>
        <p:spPr bwMode="gray">
          <a:xfrm>
            <a:off x="1603727" y="4055950"/>
            <a:ext cx="71201" cy="281786"/>
          </a:xfrm>
          <a:custGeom>
            <a:avLst/>
            <a:gdLst/>
            <a:ahLst/>
            <a:cxnLst>
              <a:cxn ang="0">
                <a:pos x="0" y="17"/>
              </a:cxn>
              <a:cxn ang="0">
                <a:pos x="3" y="0"/>
              </a:cxn>
              <a:cxn ang="0">
                <a:pos x="40" y="28"/>
              </a:cxn>
              <a:cxn ang="0">
                <a:pos x="12" y="47"/>
              </a:cxn>
              <a:cxn ang="0">
                <a:pos x="0" y="17"/>
              </a:cxn>
            </a:cxnLst>
            <a:rect l="0" t="0" r="r" b="b"/>
            <a:pathLst>
              <a:path w="40" h="47">
                <a:moveTo>
                  <a:pt x="0" y="17"/>
                </a:moveTo>
                <a:lnTo>
                  <a:pt x="3" y="0"/>
                </a:lnTo>
                <a:lnTo>
                  <a:pt x="40" y="28"/>
                </a:lnTo>
                <a:lnTo>
                  <a:pt x="12" y="47"/>
                </a:lnTo>
                <a:lnTo>
                  <a:pt x="0" y="17"/>
                </a:lnTo>
                <a:close/>
              </a:path>
            </a:pathLst>
          </a:custGeom>
          <a:solidFill>
            <a:srgbClr val="FFFFFF"/>
          </a:solidFill>
          <a:ln w="6350" cap="flat" cmpd="sng" algn="ctr">
            <a:solidFill>
              <a:srgbClr val="00B0F0"/>
            </a:solidFill>
            <a:prstDash val="solid"/>
            <a:miter lim="800000"/>
            <a:headEnd/>
            <a:tailEnd/>
          </a:ln>
          <a:effectLst/>
        </p:spPr>
        <p:txBody>
          <a:bodyPr wrap="square" lIns="35224" tIns="17611" rIns="35224" bIns="17611" anchor="ctr">
            <a:spAutoFit/>
          </a:bodyPr>
          <a:lstStyle/>
          <a:p>
            <a:pPr defTabSz="1087349">
              <a:defRPr/>
            </a:pPr>
            <a:endParaRPr lang="en-US" sz="1600" kern="0" dirty="0">
              <a:solidFill>
                <a:srgbClr val="000000"/>
              </a:solidFill>
            </a:endParaRPr>
          </a:p>
        </p:txBody>
      </p:sp>
      <p:sp>
        <p:nvSpPr>
          <p:cNvPr id="245" name="Freeform 168"/>
          <p:cNvSpPr>
            <a:spLocks noChangeAspect="1"/>
          </p:cNvSpPr>
          <p:nvPr/>
        </p:nvSpPr>
        <p:spPr bwMode="gray">
          <a:xfrm>
            <a:off x="1633141" y="2941331"/>
            <a:ext cx="70595" cy="43056"/>
          </a:xfrm>
          <a:custGeom>
            <a:avLst/>
            <a:gdLst/>
            <a:ahLst/>
            <a:cxnLst>
              <a:cxn ang="0">
                <a:pos x="0" y="21"/>
              </a:cxn>
              <a:cxn ang="0">
                <a:pos x="26" y="53"/>
              </a:cxn>
              <a:cxn ang="0">
                <a:pos x="92" y="9"/>
              </a:cxn>
              <a:cxn ang="0">
                <a:pos x="31" y="0"/>
              </a:cxn>
              <a:cxn ang="0">
                <a:pos x="38" y="20"/>
              </a:cxn>
              <a:cxn ang="0">
                <a:pos x="0" y="21"/>
              </a:cxn>
            </a:cxnLst>
            <a:rect l="0" t="0" r="r" b="b"/>
            <a:pathLst>
              <a:path w="92" h="53">
                <a:moveTo>
                  <a:pt x="0" y="21"/>
                </a:moveTo>
                <a:lnTo>
                  <a:pt x="26" y="53"/>
                </a:lnTo>
                <a:lnTo>
                  <a:pt x="92" y="9"/>
                </a:lnTo>
                <a:lnTo>
                  <a:pt x="31" y="0"/>
                </a:lnTo>
                <a:lnTo>
                  <a:pt x="38" y="20"/>
                </a:lnTo>
                <a:lnTo>
                  <a:pt x="0" y="2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46" name="Freeform 169"/>
          <p:cNvSpPr>
            <a:spLocks noChangeAspect="1"/>
          </p:cNvSpPr>
          <p:nvPr/>
        </p:nvSpPr>
        <p:spPr bwMode="gray">
          <a:xfrm>
            <a:off x="2074359" y="2862110"/>
            <a:ext cx="209824" cy="196335"/>
          </a:xfrm>
          <a:custGeom>
            <a:avLst/>
            <a:gdLst/>
            <a:ahLst/>
            <a:cxnLst>
              <a:cxn ang="0">
                <a:pos x="0" y="24"/>
              </a:cxn>
              <a:cxn ang="0">
                <a:pos x="11" y="61"/>
              </a:cxn>
              <a:cxn ang="0">
                <a:pos x="50" y="76"/>
              </a:cxn>
              <a:cxn ang="0">
                <a:pos x="67" y="64"/>
              </a:cxn>
              <a:cxn ang="0">
                <a:pos x="34" y="45"/>
              </a:cxn>
              <a:cxn ang="0">
                <a:pos x="67" y="45"/>
              </a:cxn>
              <a:cxn ang="0">
                <a:pos x="95" y="77"/>
              </a:cxn>
              <a:cxn ang="0">
                <a:pos x="86" y="21"/>
              </a:cxn>
              <a:cxn ang="0">
                <a:pos x="110" y="70"/>
              </a:cxn>
              <a:cxn ang="0">
                <a:pos x="168" y="98"/>
              </a:cxn>
              <a:cxn ang="0">
                <a:pos x="157" y="132"/>
              </a:cxn>
              <a:cxn ang="0">
                <a:pos x="223" y="175"/>
              </a:cxn>
              <a:cxn ang="0">
                <a:pos x="205" y="212"/>
              </a:cxn>
              <a:cxn ang="0">
                <a:pos x="241" y="182"/>
              </a:cxn>
              <a:cxn ang="0">
                <a:pos x="248" y="248"/>
              </a:cxn>
              <a:cxn ang="0">
                <a:pos x="274" y="237"/>
              </a:cxn>
              <a:cxn ang="0">
                <a:pos x="277" y="187"/>
              </a:cxn>
              <a:cxn ang="0">
                <a:pos x="211" y="160"/>
              </a:cxn>
              <a:cxn ang="0">
                <a:pos x="88" y="0"/>
              </a:cxn>
              <a:cxn ang="0">
                <a:pos x="18" y="45"/>
              </a:cxn>
              <a:cxn ang="0">
                <a:pos x="0" y="24"/>
              </a:cxn>
            </a:cxnLst>
            <a:rect l="0" t="0" r="r" b="b"/>
            <a:pathLst>
              <a:path w="277" h="248">
                <a:moveTo>
                  <a:pt x="0" y="24"/>
                </a:moveTo>
                <a:lnTo>
                  <a:pt x="11" y="61"/>
                </a:lnTo>
                <a:lnTo>
                  <a:pt x="50" y="76"/>
                </a:lnTo>
                <a:lnTo>
                  <a:pt x="67" y="64"/>
                </a:lnTo>
                <a:lnTo>
                  <a:pt x="34" y="45"/>
                </a:lnTo>
                <a:lnTo>
                  <a:pt x="67" y="45"/>
                </a:lnTo>
                <a:lnTo>
                  <a:pt x="95" y="77"/>
                </a:lnTo>
                <a:lnTo>
                  <a:pt x="86" y="21"/>
                </a:lnTo>
                <a:lnTo>
                  <a:pt x="110" y="70"/>
                </a:lnTo>
                <a:lnTo>
                  <a:pt x="168" y="98"/>
                </a:lnTo>
                <a:lnTo>
                  <a:pt x="157" y="132"/>
                </a:lnTo>
                <a:lnTo>
                  <a:pt x="223" y="175"/>
                </a:lnTo>
                <a:lnTo>
                  <a:pt x="205" y="212"/>
                </a:lnTo>
                <a:lnTo>
                  <a:pt x="241" y="182"/>
                </a:lnTo>
                <a:lnTo>
                  <a:pt x="248" y="248"/>
                </a:lnTo>
                <a:lnTo>
                  <a:pt x="274" y="237"/>
                </a:lnTo>
                <a:lnTo>
                  <a:pt x="277" y="187"/>
                </a:lnTo>
                <a:lnTo>
                  <a:pt x="211" y="160"/>
                </a:lnTo>
                <a:lnTo>
                  <a:pt x="88" y="0"/>
                </a:lnTo>
                <a:lnTo>
                  <a:pt x="18" y="45"/>
                </a:lnTo>
                <a:lnTo>
                  <a:pt x="0" y="2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47" name="Freeform 170"/>
          <p:cNvSpPr>
            <a:spLocks noChangeAspect="1"/>
          </p:cNvSpPr>
          <p:nvPr/>
        </p:nvSpPr>
        <p:spPr bwMode="gray">
          <a:xfrm>
            <a:off x="2121422" y="2925832"/>
            <a:ext cx="33337" cy="31000"/>
          </a:xfrm>
          <a:custGeom>
            <a:avLst/>
            <a:gdLst/>
            <a:ahLst/>
            <a:cxnLst>
              <a:cxn ang="0">
                <a:pos x="0" y="0"/>
              </a:cxn>
              <a:cxn ang="0">
                <a:pos x="14" y="41"/>
              </a:cxn>
              <a:cxn ang="0">
                <a:pos x="17" y="21"/>
              </a:cxn>
              <a:cxn ang="0">
                <a:pos x="47" y="38"/>
              </a:cxn>
              <a:cxn ang="0">
                <a:pos x="19" y="21"/>
              </a:cxn>
              <a:cxn ang="0">
                <a:pos x="45" y="8"/>
              </a:cxn>
              <a:cxn ang="0">
                <a:pos x="0" y="0"/>
              </a:cxn>
            </a:cxnLst>
            <a:rect l="0" t="0" r="r" b="b"/>
            <a:pathLst>
              <a:path w="47" h="41">
                <a:moveTo>
                  <a:pt x="0" y="0"/>
                </a:moveTo>
                <a:lnTo>
                  <a:pt x="14" y="41"/>
                </a:lnTo>
                <a:lnTo>
                  <a:pt x="17" y="21"/>
                </a:lnTo>
                <a:lnTo>
                  <a:pt x="47" y="38"/>
                </a:lnTo>
                <a:lnTo>
                  <a:pt x="19" y="21"/>
                </a:lnTo>
                <a:lnTo>
                  <a:pt x="45" y="8"/>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48" name="Freeform 171"/>
          <p:cNvSpPr>
            <a:spLocks noChangeAspect="1"/>
          </p:cNvSpPr>
          <p:nvPr/>
        </p:nvSpPr>
        <p:spPr bwMode="gray">
          <a:xfrm>
            <a:off x="2139071" y="2955112"/>
            <a:ext cx="19610" cy="48222"/>
          </a:xfrm>
          <a:custGeom>
            <a:avLst/>
            <a:gdLst/>
            <a:ahLst/>
            <a:cxnLst>
              <a:cxn ang="0">
                <a:pos x="0" y="0"/>
              </a:cxn>
              <a:cxn ang="0">
                <a:pos x="25" y="12"/>
              </a:cxn>
              <a:cxn ang="0">
                <a:pos x="27" y="61"/>
              </a:cxn>
              <a:cxn ang="0">
                <a:pos x="0" y="0"/>
              </a:cxn>
            </a:cxnLst>
            <a:rect l="0" t="0" r="r" b="b"/>
            <a:pathLst>
              <a:path w="27" h="61">
                <a:moveTo>
                  <a:pt x="0" y="0"/>
                </a:moveTo>
                <a:lnTo>
                  <a:pt x="25" y="12"/>
                </a:lnTo>
                <a:lnTo>
                  <a:pt x="27" y="61"/>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49" name="Freeform 172"/>
          <p:cNvSpPr>
            <a:spLocks noChangeAspect="1"/>
          </p:cNvSpPr>
          <p:nvPr/>
        </p:nvSpPr>
        <p:spPr bwMode="gray">
          <a:xfrm>
            <a:off x="2158681" y="2929274"/>
            <a:ext cx="29415" cy="27556"/>
          </a:xfrm>
          <a:custGeom>
            <a:avLst/>
            <a:gdLst/>
            <a:ahLst/>
            <a:cxnLst>
              <a:cxn ang="0">
                <a:pos x="0" y="0"/>
              </a:cxn>
              <a:cxn ang="0">
                <a:pos x="7" y="37"/>
              </a:cxn>
              <a:cxn ang="0">
                <a:pos x="29" y="37"/>
              </a:cxn>
              <a:cxn ang="0">
                <a:pos x="18" y="4"/>
              </a:cxn>
              <a:cxn ang="0">
                <a:pos x="34" y="27"/>
              </a:cxn>
              <a:cxn ang="0">
                <a:pos x="21" y="0"/>
              </a:cxn>
              <a:cxn ang="0">
                <a:pos x="0" y="0"/>
              </a:cxn>
            </a:cxnLst>
            <a:rect l="0" t="0" r="r" b="b"/>
            <a:pathLst>
              <a:path w="34" h="37">
                <a:moveTo>
                  <a:pt x="0" y="0"/>
                </a:moveTo>
                <a:lnTo>
                  <a:pt x="7" y="37"/>
                </a:lnTo>
                <a:lnTo>
                  <a:pt x="29" y="37"/>
                </a:lnTo>
                <a:lnTo>
                  <a:pt x="18" y="4"/>
                </a:lnTo>
                <a:lnTo>
                  <a:pt x="34" y="27"/>
                </a:lnTo>
                <a:lnTo>
                  <a:pt x="21" y="0"/>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50" name="Freeform 173"/>
          <p:cNvSpPr>
            <a:spLocks noChangeAspect="1"/>
          </p:cNvSpPr>
          <p:nvPr/>
        </p:nvSpPr>
        <p:spPr bwMode="gray">
          <a:xfrm>
            <a:off x="2184174" y="2970609"/>
            <a:ext cx="21571" cy="25834"/>
          </a:xfrm>
          <a:custGeom>
            <a:avLst/>
            <a:gdLst/>
            <a:ahLst/>
            <a:cxnLst>
              <a:cxn ang="0">
                <a:pos x="0" y="0"/>
              </a:cxn>
              <a:cxn ang="0">
                <a:pos x="29" y="27"/>
              </a:cxn>
              <a:cxn ang="0">
                <a:pos x="30" y="3"/>
              </a:cxn>
              <a:cxn ang="0">
                <a:pos x="0" y="0"/>
              </a:cxn>
            </a:cxnLst>
            <a:rect l="0" t="0" r="r" b="b"/>
            <a:pathLst>
              <a:path w="30" h="27">
                <a:moveTo>
                  <a:pt x="0" y="0"/>
                </a:moveTo>
                <a:lnTo>
                  <a:pt x="29" y="27"/>
                </a:lnTo>
                <a:lnTo>
                  <a:pt x="30" y="3"/>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51" name="Freeform 174"/>
          <p:cNvSpPr>
            <a:spLocks noChangeAspect="1"/>
          </p:cNvSpPr>
          <p:nvPr/>
        </p:nvSpPr>
        <p:spPr bwMode="gray">
          <a:xfrm>
            <a:off x="2190056" y="3003333"/>
            <a:ext cx="33337" cy="48222"/>
          </a:xfrm>
          <a:custGeom>
            <a:avLst/>
            <a:gdLst/>
            <a:ahLst/>
            <a:cxnLst>
              <a:cxn ang="0">
                <a:pos x="0" y="0"/>
              </a:cxn>
              <a:cxn ang="0">
                <a:pos x="37" y="23"/>
              </a:cxn>
              <a:cxn ang="0">
                <a:pos x="47" y="64"/>
              </a:cxn>
              <a:cxn ang="0">
                <a:pos x="0" y="0"/>
              </a:cxn>
            </a:cxnLst>
            <a:rect l="0" t="0" r="r" b="b"/>
            <a:pathLst>
              <a:path w="47" h="64">
                <a:moveTo>
                  <a:pt x="0" y="0"/>
                </a:moveTo>
                <a:lnTo>
                  <a:pt x="37" y="23"/>
                </a:lnTo>
                <a:lnTo>
                  <a:pt x="47" y="64"/>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52" name="Freeform 175"/>
          <p:cNvSpPr>
            <a:spLocks noChangeAspect="1"/>
          </p:cNvSpPr>
          <p:nvPr/>
        </p:nvSpPr>
        <p:spPr bwMode="gray">
          <a:xfrm>
            <a:off x="2244962" y="3015390"/>
            <a:ext cx="19610" cy="29279"/>
          </a:xfrm>
          <a:custGeom>
            <a:avLst/>
            <a:gdLst/>
            <a:ahLst/>
            <a:cxnLst>
              <a:cxn ang="0">
                <a:pos x="0" y="22"/>
              </a:cxn>
              <a:cxn ang="0">
                <a:pos x="13" y="0"/>
              </a:cxn>
              <a:cxn ang="0">
                <a:pos x="25" y="38"/>
              </a:cxn>
              <a:cxn ang="0">
                <a:pos x="0" y="22"/>
              </a:cxn>
            </a:cxnLst>
            <a:rect l="0" t="0" r="r" b="b"/>
            <a:pathLst>
              <a:path w="25" h="38">
                <a:moveTo>
                  <a:pt x="0" y="22"/>
                </a:moveTo>
                <a:lnTo>
                  <a:pt x="13" y="0"/>
                </a:lnTo>
                <a:lnTo>
                  <a:pt x="25" y="38"/>
                </a:lnTo>
                <a:lnTo>
                  <a:pt x="0" y="2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53" name="Freeform 176"/>
          <p:cNvSpPr>
            <a:spLocks noChangeAspect="1"/>
          </p:cNvSpPr>
          <p:nvPr/>
        </p:nvSpPr>
        <p:spPr bwMode="gray">
          <a:xfrm>
            <a:off x="2502835" y="3249507"/>
            <a:ext cx="1401819" cy="793776"/>
          </a:xfrm>
          <a:custGeom>
            <a:avLst/>
            <a:gdLst/>
            <a:ahLst/>
            <a:cxnLst>
              <a:cxn ang="0">
                <a:pos x="23" y="134"/>
              </a:cxn>
              <a:cxn ang="0">
                <a:pos x="28" y="146"/>
              </a:cxn>
              <a:cxn ang="0">
                <a:pos x="61" y="480"/>
              </a:cxn>
              <a:cxn ang="0">
                <a:pos x="80" y="515"/>
              </a:cxn>
              <a:cxn ang="0">
                <a:pos x="211" y="640"/>
              </a:cxn>
              <a:cxn ang="0">
                <a:pos x="343" y="691"/>
              </a:cxn>
              <a:cxn ang="0">
                <a:pos x="633" y="723"/>
              </a:cxn>
              <a:cxn ang="0">
                <a:pos x="801" y="799"/>
              </a:cxn>
              <a:cxn ang="0">
                <a:pos x="957" y="947"/>
              </a:cxn>
              <a:cxn ang="0">
                <a:pos x="1021" y="833"/>
              </a:cxn>
              <a:cxn ang="0">
                <a:pos x="1132" y="799"/>
              </a:cxn>
              <a:cxn ang="0">
                <a:pos x="1224" y="785"/>
              </a:cxn>
              <a:cxn ang="0">
                <a:pos x="1264" y="778"/>
              </a:cxn>
              <a:cxn ang="0">
                <a:pos x="1274" y="782"/>
              </a:cxn>
              <a:cxn ang="0">
                <a:pos x="1453" y="825"/>
              </a:cxn>
              <a:cxn ang="0">
                <a:pos x="1504" y="971"/>
              </a:cxn>
              <a:cxn ang="0">
                <a:pos x="1543" y="905"/>
              </a:cxn>
              <a:cxn ang="0">
                <a:pos x="1525" y="696"/>
              </a:cxn>
              <a:cxn ang="0">
                <a:pos x="1665" y="564"/>
              </a:cxn>
              <a:cxn ang="0">
                <a:pos x="1673" y="519"/>
              </a:cxn>
              <a:cxn ang="0">
                <a:pos x="1643" y="458"/>
              </a:cxn>
              <a:cxn ang="0">
                <a:pos x="1667" y="433"/>
              </a:cxn>
              <a:cxn ang="0">
                <a:pos x="1697" y="515"/>
              </a:cxn>
              <a:cxn ang="0">
                <a:pos x="1707" y="415"/>
              </a:cxn>
              <a:cxn ang="0">
                <a:pos x="1762" y="365"/>
              </a:cxn>
              <a:cxn ang="0">
                <a:pos x="1866" y="310"/>
              </a:cxn>
              <a:cxn ang="0">
                <a:pos x="1997" y="208"/>
              </a:cxn>
              <a:cxn ang="0">
                <a:pos x="1975" y="163"/>
              </a:cxn>
              <a:cxn ang="0">
                <a:pos x="1917" y="90"/>
              </a:cxn>
              <a:cxn ang="0">
                <a:pos x="1697" y="214"/>
              </a:cxn>
              <a:cxn ang="0">
                <a:pos x="1584" y="271"/>
              </a:cxn>
              <a:cxn ang="0">
                <a:pos x="1487" y="339"/>
              </a:cxn>
              <a:cxn ang="0">
                <a:pos x="1442" y="321"/>
              </a:cxn>
              <a:cxn ang="0">
                <a:pos x="1460" y="293"/>
              </a:cxn>
              <a:cxn ang="0">
                <a:pos x="1450" y="234"/>
              </a:cxn>
              <a:cxn ang="0">
                <a:pos x="1427" y="182"/>
              </a:cxn>
              <a:cxn ang="0">
                <a:pos x="1333" y="208"/>
              </a:cxn>
              <a:cxn ang="0">
                <a:pos x="1286" y="327"/>
              </a:cxn>
              <a:cxn ang="0">
                <a:pos x="1301" y="185"/>
              </a:cxn>
              <a:cxn ang="0">
                <a:pos x="1321" y="153"/>
              </a:cxn>
              <a:cxn ang="0">
                <a:pos x="1395" y="129"/>
              </a:cxn>
              <a:cxn ang="0">
                <a:pos x="1256" y="116"/>
              </a:cxn>
              <a:cxn ang="0">
                <a:pos x="1195" y="125"/>
              </a:cxn>
              <a:cxn ang="0">
                <a:pos x="1208" y="65"/>
              </a:cxn>
              <a:cxn ang="0">
                <a:pos x="1023" y="0"/>
              </a:cxn>
              <a:cxn ang="0">
                <a:pos x="66" y="21"/>
              </a:cxn>
              <a:cxn ang="0">
                <a:pos x="61" y="90"/>
              </a:cxn>
              <a:cxn ang="0">
                <a:pos x="0" y="55"/>
              </a:cxn>
            </a:cxnLst>
            <a:rect l="0" t="0" r="r" b="b"/>
            <a:pathLst>
              <a:path w="2001" h="971">
                <a:moveTo>
                  <a:pt x="0" y="55"/>
                </a:moveTo>
                <a:lnTo>
                  <a:pt x="23" y="134"/>
                </a:lnTo>
                <a:lnTo>
                  <a:pt x="51" y="142"/>
                </a:lnTo>
                <a:lnTo>
                  <a:pt x="28" y="146"/>
                </a:lnTo>
                <a:lnTo>
                  <a:pt x="11" y="387"/>
                </a:lnTo>
                <a:lnTo>
                  <a:pt x="61" y="480"/>
                </a:lnTo>
                <a:lnTo>
                  <a:pt x="94" y="480"/>
                </a:lnTo>
                <a:lnTo>
                  <a:pt x="80" y="515"/>
                </a:lnTo>
                <a:lnTo>
                  <a:pt x="145" y="617"/>
                </a:lnTo>
                <a:lnTo>
                  <a:pt x="211" y="640"/>
                </a:lnTo>
                <a:lnTo>
                  <a:pt x="264" y="697"/>
                </a:lnTo>
                <a:lnTo>
                  <a:pt x="343" y="691"/>
                </a:lnTo>
                <a:lnTo>
                  <a:pt x="475" y="745"/>
                </a:lnTo>
                <a:lnTo>
                  <a:pt x="633" y="723"/>
                </a:lnTo>
                <a:lnTo>
                  <a:pt x="729" y="827"/>
                </a:lnTo>
                <a:lnTo>
                  <a:pt x="801" y="799"/>
                </a:lnTo>
                <a:lnTo>
                  <a:pt x="889" y="924"/>
                </a:lnTo>
                <a:lnTo>
                  <a:pt x="957" y="947"/>
                </a:lnTo>
                <a:lnTo>
                  <a:pt x="950" y="877"/>
                </a:lnTo>
                <a:lnTo>
                  <a:pt x="1021" y="833"/>
                </a:lnTo>
                <a:lnTo>
                  <a:pt x="1028" y="801"/>
                </a:lnTo>
                <a:lnTo>
                  <a:pt x="1132" y="799"/>
                </a:lnTo>
                <a:lnTo>
                  <a:pt x="1223" y="827"/>
                </a:lnTo>
                <a:lnTo>
                  <a:pt x="1224" y="785"/>
                </a:lnTo>
                <a:lnTo>
                  <a:pt x="1188" y="779"/>
                </a:lnTo>
                <a:lnTo>
                  <a:pt x="1264" y="778"/>
                </a:lnTo>
                <a:lnTo>
                  <a:pt x="1268" y="758"/>
                </a:lnTo>
                <a:lnTo>
                  <a:pt x="1274" y="782"/>
                </a:lnTo>
                <a:lnTo>
                  <a:pt x="1416" y="790"/>
                </a:lnTo>
                <a:lnTo>
                  <a:pt x="1453" y="825"/>
                </a:lnTo>
                <a:lnTo>
                  <a:pt x="1459" y="888"/>
                </a:lnTo>
                <a:lnTo>
                  <a:pt x="1504" y="971"/>
                </a:lnTo>
                <a:lnTo>
                  <a:pt x="1531" y="968"/>
                </a:lnTo>
                <a:lnTo>
                  <a:pt x="1543" y="905"/>
                </a:lnTo>
                <a:lnTo>
                  <a:pt x="1495" y="758"/>
                </a:lnTo>
                <a:lnTo>
                  <a:pt x="1525" y="696"/>
                </a:lnTo>
                <a:lnTo>
                  <a:pt x="1700" y="576"/>
                </a:lnTo>
                <a:lnTo>
                  <a:pt x="1665" y="564"/>
                </a:lnTo>
                <a:lnTo>
                  <a:pt x="1697" y="559"/>
                </a:lnTo>
                <a:lnTo>
                  <a:pt x="1673" y="519"/>
                </a:lnTo>
                <a:lnTo>
                  <a:pt x="1679" y="485"/>
                </a:lnTo>
                <a:lnTo>
                  <a:pt x="1643" y="458"/>
                </a:lnTo>
                <a:lnTo>
                  <a:pt x="1679" y="476"/>
                </a:lnTo>
                <a:lnTo>
                  <a:pt x="1667" y="433"/>
                </a:lnTo>
                <a:lnTo>
                  <a:pt x="1694" y="421"/>
                </a:lnTo>
                <a:lnTo>
                  <a:pt x="1697" y="515"/>
                </a:lnTo>
                <a:lnTo>
                  <a:pt x="1724" y="459"/>
                </a:lnTo>
                <a:lnTo>
                  <a:pt x="1707" y="415"/>
                </a:lnTo>
                <a:lnTo>
                  <a:pt x="1725" y="441"/>
                </a:lnTo>
                <a:lnTo>
                  <a:pt x="1762" y="365"/>
                </a:lnTo>
                <a:lnTo>
                  <a:pt x="1902" y="330"/>
                </a:lnTo>
                <a:lnTo>
                  <a:pt x="1866" y="310"/>
                </a:lnTo>
                <a:lnTo>
                  <a:pt x="1892" y="251"/>
                </a:lnTo>
                <a:lnTo>
                  <a:pt x="1997" y="208"/>
                </a:lnTo>
                <a:lnTo>
                  <a:pt x="2001" y="184"/>
                </a:lnTo>
                <a:lnTo>
                  <a:pt x="1975" y="163"/>
                </a:lnTo>
                <a:lnTo>
                  <a:pt x="1975" y="108"/>
                </a:lnTo>
                <a:lnTo>
                  <a:pt x="1917" y="90"/>
                </a:lnTo>
                <a:lnTo>
                  <a:pt x="1875" y="180"/>
                </a:lnTo>
                <a:lnTo>
                  <a:pt x="1697" y="214"/>
                </a:lnTo>
                <a:lnTo>
                  <a:pt x="1685" y="255"/>
                </a:lnTo>
                <a:lnTo>
                  <a:pt x="1584" y="271"/>
                </a:lnTo>
                <a:lnTo>
                  <a:pt x="1590" y="284"/>
                </a:lnTo>
                <a:lnTo>
                  <a:pt x="1487" y="339"/>
                </a:lnTo>
                <a:lnTo>
                  <a:pt x="1444" y="338"/>
                </a:lnTo>
                <a:lnTo>
                  <a:pt x="1442" y="321"/>
                </a:lnTo>
                <a:lnTo>
                  <a:pt x="1450" y="304"/>
                </a:lnTo>
                <a:lnTo>
                  <a:pt x="1460" y="293"/>
                </a:lnTo>
                <a:lnTo>
                  <a:pt x="1465" y="275"/>
                </a:lnTo>
                <a:lnTo>
                  <a:pt x="1450" y="234"/>
                </a:lnTo>
                <a:lnTo>
                  <a:pt x="1415" y="250"/>
                </a:lnTo>
                <a:lnTo>
                  <a:pt x="1427" y="182"/>
                </a:lnTo>
                <a:lnTo>
                  <a:pt x="1374" y="163"/>
                </a:lnTo>
                <a:lnTo>
                  <a:pt x="1333" y="208"/>
                </a:lnTo>
                <a:lnTo>
                  <a:pt x="1317" y="323"/>
                </a:lnTo>
                <a:lnTo>
                  <a:pt x="1286" y="327"/>
                </a:lnTo>
                <a:lnTo>
                  <a:pt x="1275" y="272"/>
                </a:lnTo>
                <a:lnTo>
                  <a:pt x="1301" y="185"/>
                </a:lnTo>
                <a:lnTo>
                  <a:pt x="1277" y="200"/>
                </a:lnTo>
                <a:lnTo>
                  <a:pt x="1321" y="153"/>
                </a:lnTo>
                <a:lnTo>
                  <a:pt x="1412" y="152"/>
                </a:lnTo>
                <a:lnTo>
                  <a:pt x="1395" y="129"/>
                </a:lnTo>
                <a:lnTo>
                  <a:pt x="1390" y="129"/>
                </a:lnTo>
                <a:lnTo>
                  <a:pt x="1256" y="116"/>
                </a:lnTo>
                <a:lnTo>
                  <a:pt x="1277" y="87"/>
                </a:lnTo>
                <a:lnTo>
                  <a:pt x="1195" y="125"/>
                </a:lnTo>
                <a:lnTo>
                  <a:pt x="1131" y="125"/>
                </a:lnTo>
                <a:lnTo>
                  <a:pt x="1208" y="65"/>
                </a:lnTo>
                <a:lnTo>
                  <a:pt x="1044" y="32"/>
                </a:lnTo>
                <a:lnTo>
                  <a:pt x="1023" y="0"/>
                </a:lnTo>
                <a:lnTo>
                  <a:pt x="1021" y="21"/>
                </a:lnTo>
                <a:lnTo>
                  <a:pt x="66" y="21"/>
                </a:lnTo>
                <a:lnTo>
                  <a:pt x="84" y="59"/>
                </a:lnTo>
                <a:lnTo>
                  <a:pt x="61" y="90"/>
                </a:lnTo>
                <a:lnTo>
                  <a:pt x="68" y="58"/>
                </a:lnTo>
                <a:lnTo>
                  <a:pt x="0" y="55"/>
                </a:lnTo>
                <a:close/>
              </a:path>
            </a:pathLst>
          </a:custGeom>
          <a:noFill/>
          <a:ln w="6350" cap="flat" cmpd="sng" algn="ctr">
            <a:solidFill>
              <a:srgbClr val="00B0F0"/>
            </a:solidFill>
            <a:prstDash val="solid"/>
            <a:miter lim="800000"/>
            <a:headEnd/>
            <a:tailEnd/>
          </a:ln>
          <a:effectLst/>
        </p:spPr>
        <p:txBody>
          <a:bodyPr wrap="square" lIns="35224" tIns="17611" rIns="35224" bIns="17611" anchor="ctr">
            <a:spAutoFit/>
          </a:bodyPr>
          <a:lstStyle/>
          <a:p>
            <a:pPr defTabSz="1087349">
              <a:defRPr/>
            </a:pPr>
            <a:endParaRPr lang="en-US" sz="5332" kern="0" dirty="0">
              <a:solidFill>
                <a:srgbClr val="000000"/>
              </a:solidFill>
            </a:endParaRPr>
          </a:p>
        </p:txBody>
      </p:sp>
      <p:sp>
        <p:nvSpPr>
          <p:cNvPr id="254" name="Freeform 177"/>
          <p:cNvSpPr>
            <a:spLocks noChangeAspect="1"/>
          </p:cNvSpPr>
          <p:nvPr/>
        </p:nvSpPr>
        <p:spPr bwMode="gray">
          <a:xfrm>
            <a:off x="4166713" y="5586689"/>
            <a:ext cx="137268" cy="149835"/>
          </a:xfrm>
          <a:custGeom>
            <a:avLst/>
            <a:gdLst/>
            <a:ahLst/>
            <a:cxnLst>
              <a:cxn ang="0">
                <a:pos x="0" y="151"/>
              </a:cxn>
              <a:cxn ang="0">
                <a:pos x="29" y="7"/>
              </a:cxn>
              <a:cxn ang="0">
                <a:pos x="55" y="0"/>
              </a:cxn>
              <a:cxn ang="0">
                <a:pos x="160" y="72"/>
              </a:cxn>
              <a:cxn ang="0">
                <a:pos x="181" y="103"/>
              </a:cxn>
              <a:cxn ang="0">
                <a:pos x="172" y="140"/>
              </a:cxn>
              <a:cxn ang="0">
                <a:pos x="123" y="186"/>
              </a:cxn>
              <a:cxn ang="0">
                <a:pos x="0" y="151"/>
              </a:cxn>
            </a:cxnLst>
            <a:rect l="0" t="0" r="r" b="b"/>
            <a:pathLst>
              <a:path w="181" h="186">
                <a:moveTo>
                  <a:pt x="0" y="151"/>
                </a:moveTo>
                <a:lnTo>
                  <a:pt x="29" y="7"/>
                </a:lnTo>
                <a:lnTo>
                  <a:pt x="55" y="0"/>
                </a:lnTo>
                <a:lnTo>
                  <a:pt x="160" y="72"/>
                </a:lnTo>
                <a:lnTo>
                  <a:pt x="181" y="103"/>
                </a:lnTo>
                <a:lnTo>
                  <a:pt x="172" y="140"/>
                </a:lnTo>
                <a:lnTo>
                  <a:pt x="123" y="186"/>
                </a:lnTo>
                <a:lnTo>
                  <a:pt x="0" y="15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55" name="Freeform 178"/>
          <p:cNvSpPr>
            <a:spLocks noChangeAspect="1"/>
          </p:cNvSpPr>
          <p:nvPr/>
        </p:nvSpPr>
        <p:spPr bwMode="gray">
          <a:xfrm>
            <a:off x="3776478" y="4398343"/>
            <a:ext cx="352974" cy="320336"/>
          </a:xfrm>
          <a:custGeom>
            <a:avLst/>
            <a:gdLst/>
            <a:ahLst/>
            <a:cxnLst>
              <a:cxn ang="0">
                <a:pos x="0" y="109"/>
              </a:cxn>
              <a:cxn ang="0">
                <a:pos x="43" y="178"/>
              </a:cxn>
              <a:cxn ang="0">
                <a:pos x="111" y="186"/>
              </a:cxn>
              <a:cxn ang="0">
                <a:pos x="133" y="214"/>
              </a:cxn>
              <a:cxn ang="0">
                <a:pos x="201" y="211"/>
              </a:cxn>
              <a:cxn ang="0">
                <a:pos x="191" y="331"/>
              </a:cxn>
              <a:cxn ang="0">
                <a:pos x="221" y="381"/>
              </a:cxn>
              <a:cxn ang="0">
                <a:pos x="262" y="398"/>
              </a:cxn>
              <a:cxn ang="0">
                <a:pos x="345" y="350"/>
              </a:cxn>
              <a:cxn ang="0">
                <a:pos x="312" y="342"/>
              </a:cxn>
              <a:cxn ang="0">
                <a:pos x="295" y="277"/>
              </a:cxn>
              <a:cxn ang="0">
                <a:pos x="355" y="289"/>
              </a:cxn>
              <a:cxn ang="0">
                <a:pos x="440" y="247"/>
              </a:cxn>
              <a:cxn ang="0">
                <a:pos x="416" y="214"/>
              </a:cxn>
              <a:cxn ang="0">
                <a:pos x="447" y="185"/>
              </a:cxn>
              <a:cxn ang="0">
                <a:pos x="433" y="162"/>
              </a:cxn>
              <a:cxn ang="0">
                <a:pos x="466" y="137"/>
              </a:cxn>
              <a:cxn ang="0">
                <a:pos x="424" y="132"/>
              </a:cxn>
              <a:cxn ang="0">
                <a:pos x="424" y="101"/>
              </a:cxn>
              <a:cxn ang="0">
                <a:pos x="357" y="66"/>
              </a:cxn>
              <a:cxn ang="0">
                <a:pos x="388" y="57"/>
              </a:cxn>
              <a:cxn ang="0">
                <a:pos x="184" y="64"/>
              </a:cxn>
              <a:cxn ang="0">
                <a:pos x="116" y="0"/>
              </a:cxn>
              <a:cxn ang="0">
                <a:pos x="119" y="28"/>
              </a:cxn>
              <a:cxn ang="0">
                <a:pos x="62" y="53"/>
              </a:cxn>
              <a:cxn ang="0">
                <a:pos x="80" y="101"/>
              </a:cxn>
              <a:cxn ang="0">
                <a:pos x="58" y="118"/>
              </a:cxn>
              <a:cxn ang="0">
                <a:pos x="43" y="75"/>
              </a:cxn>
              <a:cxn ang="0">
                <a:pos x="66" y="17"/>
              </a:cxn>
              <a:cxn ang="0">
                <a:pos x="0" y="109"/>
              </a:cxn>
            </a:cxnLst>
            <a:rect l="0" t="0" r="r" b="b"/>
            <a:pathLst>
              <a:path w="466" h="398">
                <a:moveTo>
                  <a:pt x="0" y="109"/>
                </a:moveTo>
                <a:lnTo>
                  <a:pt x="43" y="178"/>
                </a:lnTo>
                <a:lnTo>
                  <a:pt x="111" y="186"/>
                </a:lnTo>
                <a:lnTo>
                  <a:pt x="133" y="214"/>
                </a:lnTo>
                <a:lnTo>
                  <a:pt x="201" y="211"/>
                </a:lnTo>
                <a:lnTo>
                  <a:pt x="191" y="331"/>
                </a:lnTo>
                <a:lnTo>
                  <a:pt x="221" y="381"/>
                </a:lnTo>
                <a:lnTo>
                  <a:pt x="262" y="398"/>
                </a:lnTo>
                <a:lnTo>
                  <a:pt x="345" y="350"/>
                </a:lnTo>
                <a:lnTo>
                  <a:pt x="312" y="342"/>
                </a:lnTo>
                <a:lnTo>
                  <a:pt x="295" y="277"/>
                </a:lnTo>
                <a:lnTo>
                  <a:pt x="355" y="289"/>
                </a:lnTo>
                <a:lnTo>
                  <a:pt x="440" y="247"/>
                </a:lnTo>
                <a:lnTo>
                  <a:pt x="416" y="214"/>
                </a:lnTo>
                <a:lnTo>
                  <a:pt x="447" y="185"/>
                </a:lnTo>
                <a:lnTo>
                  <a:pt x="433" y="162"/>
                </a:lnTo>
                <a:lnTo>
                  <a:pt x="466" y="137"/>
                </a:lnTo>
                <a:lnTo>
                  <a:pt x="424" y="132"/>
                </a:lnTo>
                <a:lnTo>
                  <a:pt x="424" y="101"/>
                </a:lnTo>
                <a:lnTo>
                  <a:pt x="357" y="66"/>
                </a:lnTo>
                <a:lnTo>
                  <a:pt x="388" y="57"/>
                </a:lnTo>
                <a:lnTo>
                  <a:pt x="184" y="64"/>
                </a:lnTo>
                <a:lnTo>
                  <a:pt x="116" y="0"/>
                </a:lnTo>
                <a:lnTo>
                  <a:pt x="119" y="28"/>
                </a:lnTo>
                <a:lnTo>
                  <a:pt x="62" y="53"/>
                </a:lnTo>
                <a:lnTo>
                  <a:pt x="80" y="101"/>
                </a:lnTo>
                <a:lnTo>
                  <a:pt x="58" y="118"/>
                </a:lnTo>
                <a:lnTo>
                  <a:pt x="43" y="75"/>
                </a:lnTo>
                <a:lnTo>
                  <a:pt x="66" y="17"/>
                </a:lnTo>
                <a:lnTo>
                  <a:pt x="0" y="10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56" name="Freeform 179"/>
          <p:cNvSpPr>
            <a:spLocks noChangeAspect="1"/>
          </p:cNvSpPr>
          <p:nvPr/>
        </p:nvSpPr>
        <p:spPr bwMode="gray">
          <a:xfrm>
            <a:off x="8376911" y="4088340"/>
            <a:ext cx="184331" cy="415060"/>
          </a:xfrm>
          <a:custGeom>
            <a:avLst/>
            <a:gdLst/>
            <a:ahLst/>
            <a:cxnLst>
              <a:cxn ang="0">
                <a:pos x="0" y="26"/>
              </a:cxn>
              <a:cxn ang="0">
                <a:pos x="36" y="81"/>
              </a:cxn>
              <a:cxn ang="0">
                <a:pos x="83" y="102"/>
              </a:cxn>
              <a:cxn ang="0">
                <a:pos x="60" y="142"/>
              </a:cxn>
              <a:cxn ang="0">
                <a:pos x="144" y="211"/>
              </a:cxn>
              <a:cxn ang="0">
                <a:pos x="182" y="304"/>
              </a:cxn>
              <a:cxn ang="0">
                <a:pos x="186" y="383"/>
              </a:cxn>
              <a:cxn ang="0">
                <a:pos x="82" y="453"/>
              </a:cxn>
              <a:cxn ang="0">
                <a:pos x="99" y="517"/>
              </a:cxn>
              <a:cxn ang="0">
                <a:pos x="132" y="471"/>
              </a:cxn>
              <a:cxn ang="0">
                <a:pos x="150" y="483"/>
              </a:cxn>
              <a:cxn ang="0">
                <a:pos x="159" y="455"/>
              </a:cxn>
              <a:cxn ang="0">
                <a:pos x="242" y="408"/>
              </a:cxn>
              <a:cxn ang="0">
                <a:pos x="230" y="278"/>
              </a:cxn>
              <a:cxn ang="0">
                <a:pos x="119" y="158"/>
              </a:cxn>
              <a:cxn ang="0">
                <a:pos x="131" y="119"/>
              </a:cxn>
              <a:cxn ang="0">
                <a:pos x="198" y="60"/>
              </a:cxn>
              <a:cxn ang="0">
                <a:pos x="103" y="0"/>
              </a:cxn>
              <a:cxn ang="0">
                <a:pos x="0" y="26"/>
              </a:cxn>
            </a:cxnLst>
            <a:rect l="0" t="0" r="r" b="b"/>
            <a:pathLst>
              <a:path w="242" h="517">
                <a:moveTo>
                  <a:pt x="0" y="26"/>
                </a:moveTo>
                <a:lnTo>
                  <a:pt x="36" y="81"/>
                </a:lnTo>
                <a:lnTo>
                  <a:pt x="83" y="102"/>
                </a:lnTo>
                <a:lnTo>
                  <a:pt x="60" y="142"/>
                </a:lnTo>
                <a:lnTo>
                  <a:pt x="144" y="211"/>
                </a:lnTo>
                <a:lnTo>
                  <a:pt x="182" y="304"/>
                </a:lnTo>
                <a:lnTo>
                  <a:pt x="186" y="383"/>
                </a:lnTo>
                <a:lnTo>
                  <a:pt x="82" y="453"/>
                </a:lnTo>
                <a:lnTo>
                  <a:pt x="99" y="517"/>
                </a:lnTo>
                <a:lnTo>
                  <a:pt x="132" y="471"/>
                </a:lnTo>
                <a:lnTo>
                  <a:pt x="150" y="483"/>
                </a:lnTo>
                <a:lnTo>
                  <a:pt x="159" y="455"/>
                </a:lnTo>
                <a:lnTo>
                  <a:pt x="242" y="408"/>
                </a:lnTo>
                <a:lnTo>
                  <a:pt x="230" y="278"/>
                </a:lnTo>
                <a:lnTo>
                  <a:pt x="119" y="158"/>
                </a:lnTo>
                <a:lnTo>
                  <a:pt x="131" y="119"/>
                </a:lnTo>
                <a:lnTo>
                  <a:pt x="198" y="60"/>
                </a:lnTo>
                <a:lnTo>
                  <a:pt x="103" y="0"/>
                </a:lnTo>
                <a:lnTo>
                  <a:pt x="0" y="2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57" name="Freeform 180"/>
          <p:cNvSpPr>
            <a:spLocks noChangeAspect="1"/>
          </p:cNvSpPr>
          <p:nvPr/>
        </p:nvSpPr>
        <p:spPr bwMode="gray">
          <a:xfrm>
            <a:off x="6837550" y="4208901"/>
            <a:ext cx="251004" cy="179113"/>
          </a:xfrm>
          <a:custGeom>
            <a:avLst/>
            <a:gdLst/>
            <a:ahLst/>
            <a:cxnLst>
              <a:cxn ang="0">
                <a:pos x="0" y="224"/>
              </a:cxn>
              <a:cxn ang="0">
                <a:pos x="88" y="175"/>
              </a:cxn>
              <a:cxn ang="0">
                <a:pos x="72" y="150"/>
              </a:cxn>
              <a:cxn ang="0">
                <a:pos x="98" y="121"/>
              </a:cxn>
              <a:cxn ang="0">
                <a:pos x="187" y="24"/>
              </a:cxn>
              <a:cxn ang="0">
                <a:pos x="298" y="0"/>
              </a:cxn>
              <a:cxn ang="0">
                <a:pos x="334" y="87"/>
              </a:cxn>
              <a:cxn ang="0">
                <a:pos x="306" y="121"/>
              </a:cxn>
              <a:cxn ang="0">
                <a:pos x="179" y="181"/>
              </a:cxn>
              <a:cxn ang="0">
                <a:pos x="0" y="224"/>
              </a:cxn>
            </a:cxnLst>
            <a:rect l="0" t="0" r="r" b="b"/>
            <a:pathLst>
              <a:path w="334" h="224">
                <a:moveTo>
                  <a:pt x="0" y="224"/>
                </a:moveTo>
                <a:lnTo>
                  <a:pt x="88" y="175"/>
                </a:lnTo>
                <a:lnTo>
                  <a:pt x="72" y="150"/>
                </a:lnTo>
                <a:lnTo>
                  <a:pt x="98" y="121"/>
                </a:lnTo>
                <a:lnTo>
                  <a:pt x="187" y="24"/>
                </a:lnTo>
                <a:lnTo>
                  <a:pt x="298" y="0"/>
                </a:lnTo>
                <a:lnTo>
                  <a:pt x="334" y="87"/>
                </a:lnTo>
                <a:lnTo>
                  <a:pt x="306" y="121"/>
                </a:lnTo>
                <a:lnTo>
                  <a:pt x="179" y="181"/>
                </a:lnTo>
                <a:lnTo>
                  <a:pt x="0" y="22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58" name="Freeform 181"/>
          <p:cNvSpPr>
            <a:spLocks noChangeAspect="1"/>
          </p:cNvSpPr>
          <p:nvPr/>
        </p:nvSpPr>
        <p:spPr bwMode="gray">
          <a:xfrm>
            <a:off x="6814020" y="4257123"/>
            <a:ext cx="100010" cy="130889"/>
          </a:xfrm>
          <a:custGeom>
            <a:avLst/>
            <a:gdLst/>
            <a:ahLst/>
            <a:cxnLst>
              <a:cxn ang="0">
                <a:pos x="0" y="33"/>
              </a:cxn>
              <a:cxn ang="0">
                <a:pos x="27" y="164"/>
              </a:cxn>
              <a:cxn ang="0">
                <a:pos x="115" y="115"/>
              </a:cxn>
              <a:cxn ang="0">
                <a:pos x="99" y="90"/>
              </a:cxn>
              <a:cxn ang="0">
                <a:pos x="125" y="61"/>
              </a:cxn>
              <a:cxn ang="0">
                <a:pos x="125" y="24"/>
              </a:cxn>
              <a:cxn ang="0">
                <a:pos x="62" y="0"/>
              </a:cxn>
              <a:cxn ang="0">
                <a:pos x="0" y="33"/>
              </a:cxn>
            </a:cxnLst>
            <a:rect l="0" t="0" r="r" b="b"/>
            <a:pathLst>
              <a:path w="125" h="164">
                <a:moveTo>
                  <a:pt x="0" y="33"/>
                </a:moveTo>
                <a:lnTo>
                  <a:pt x="27" y="164"/>
                </a:lnTo>
                <a:lnTo>
                  <a:pt x="115" y="115"/>
                </a:lnTo>
                <a:lnTo>
                  <a:pt x="99" y="90"/>
                </a:lnTo>
                <a:lnTo>
                  <a:pt x="125" y="61"/>
                </a:lnTo>
                <a:lnTo>
                  <a:pt x="125" y="24"/>
                </a:lnTo>
                <a:lnTo>
                  <a:pt x="62" y="0"/>
                </a:lnTo>
                <a:lnTo>
                  <a:pt x="0" y="3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59" name="Freeform 182"/>
          <p:cNvSpPr>
            <a:spLocks noChangeAspect="1"/>
          </p:cNvSpPr>
          <p:nvPr/>
        </p:nvSpPr>
        <p:spPr bwMode="gray">
          <a:xfrm>
            <a:off x="6057084" y="3342612"/>
            <a:ext cx="241200" cy="204947"/>
          </a:xfrm>
          <a:custGeom>
            <a:avLst/>
            <a:gdLst/>
            <a:ahLst/>
            <a:cxnLst>
              <a:cxn ang="0">
                <a:pos x="0" y="60"/>
              </a:cxn>
              <a:cxn ang="0">
                <a:pos x="0" y="19"/>
              </a:cxn>
              <a:cxn ang="0">
                <a:pos x="84" y="0"/>
              </a:cxn>
              <a:cxn ang="0">
                <a:pos x="151" y="50"/>
              </a:cxn>
              <a:cxn ang="0">
                <a:pos x="227" y="36"/>
              </a:cxn>
              <a:cxn ang="0">
                <a:pos x="316" y="116"/>
              </a:cxn>
              <a:cxn ang="0">
                <a:pos x="304" y="200"/>
              </a:cxn>
              <a:cxn ang="0">
                <a:pos x="325" y="236"/>
              </a:cxn>
              <a:cxn ang="0">
                <a:pos x="256" y="255"/>
              </a:cxn>
              <a:cxn ang="0">
                <a:pos x="224" y="185"/>
              </a:cxn>
              <a:cxn ang="0">
                <a:pos x="196" y="213"/>
              </a:cxn>
              <a:cxn ang="0">
                <a:pos x="84" y="145"/>
              </a:cxn>
              <a:cxn ang="0">
                <a:pos x="30" y="72"/>
              </a:cxn>
              <a:cxn ang="0">
                <a:pos x="3" y="87"/>
              </a:cxn>
              <a:cxn ang="0">
                <a:pos x="0" y="60"/>
              </a:cxn>
            </a:cxnLst>
            <a:rect l="0" t="0" r="r" b="b"/>
            <a:pathLst>
              <a:path w="325" h="255">
                <a:moveTo>
                  <a:pt x="0" y="60"/>
                </a:moveTo>
                <a:lnTo>
                  <a:pt x="0" y="19"/>
                </a:lnTo>
                <a:lnTo>
                  <a:pt x="84" y="0"/>
                </a:lnTo>
                <a:lnTo>
                  <a:pt x="151" y="50"/>
                </a:lnTo>
                <a:lnTo>
                  <a:pt x="227" y="36"/>
                </a:lnTo>
                <a:lnTo>
                  <a:pt x="316" y="116"/>
                </a:lnTo>
                <a:lnTo>
                  <a:pt x="304" y="200"/>
                </a:lnTo>
                <a:lnTo>
                  <a:pt x="325" y="236"/>
                </a:lnTo>
                <a:lnTo>
                  <a:pt x="256" y="255"/>
                </a:lnTo>
                <a:lnTo>
                  <a:pt x="224" y="185"/>
                </a:lnTo>
                <a:lnTo>
                  <a:pt x="196" y="213"/>
                </a:lnTo>
                <a:lnTo>
                  <a:pt x="84" y="145"/>
                </a:lnTo>
                <a:lnTo>
                  <a:pt x="30" y="72"/>
                </a:lnTo>
                <a:lnTo>
                  <a:pt x="3" y="87"/>
                </a:lnTo>
                <a:lnTo>
                  <a:pt x="0" y="60"/>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60" name="Freeform 183"/>
          <p:cNvSpPr>
            <a:spLocks noChangeAspect="1"/>
          </p:cNvSpPr>
          <p:nvPr/>
        </p:nvSpPr>
        <p:spPr bwMode="gray">
          <a:xfrm>
            <a:off x="5998258" y="4897793"/>
            <a:ext cx="333365" cy="341003"/>
          </a:xfrm>
          <a:custGeom>
            <a:avLst/>
            <a:gdLst/>
            <a:ahLst/>
            <a:cxnLst>
              <a:cxn ang="0">
                <a:pos x="0" y="402"/>
              </a:cxn>
              <a:cxn ang="0">
                <a:pos x="58" y="388"/>
              </a:cxn>
              <a:cxn ang="0">
                <a:pos x="340" y="429"/>
              </a:cxn>
              <a:cxn ang="0">
                <a:pos x="405" y="411"/>
              </a:cxn>
              <a:cxn ang="0">
                <a:pos x="362" y="378"/>
              </a:cxn>
              <a:cxn ang="0">
                <a:pos x="362" y="248"/>
              </a:cxn>
              <a:cxn ang="0">
                <a:pos x="439" y="248"/>
              </a:cxn>
              <a:cxn ang="0">
                <a:pos x="433" y="176"/>
              </a:cxn>
              <a:cxn ang="0">
                <a:pos x="362" y="183"/>
              </a:cxn>
              <a:cxn ang="0">
                <a:pos x="355" y="60"/>
              </a:cxn>
              <a:cxn ang="0">
                <a:pos x="322" y="37"/>
              </a:cxn>
              <a:cxn ang="0">
                <a:pos x="278" y="39"/>
              </a:cxn>
              <a:cxn ang="0">
                <a:pos x="267" y="76"/>
              </a:cxn>
              <a:cxn ang="0">
                <a:pos x="218" y="80"/>
              </a:cxn>
              <a:cxn ang="0">
                <a:pos x="160" y="0"/>
              </a:cxn>
              <a:cxn ang="0">
                <a:pos x="28" y="17"/>
              </a:cxn>
              <a:cxn ang="0">
                <a:pos x="76" y="180"/>
              </a:cxn>
              <a:cxn ang="0">
                <a:pos x="0" y="402"/>
              </a:cxn>
            </a:cxnLst>
            <a:rect l="0" t="0" r="r" b="b"/>
            <a:pathLst>
              <a:path w="439" h="429">
                <a:moveTo>
                  <a:pt x="0" y="402"/>
                </a:moveTo>
                <a:lnTo>
                  <a:pt x="58" y="388"/>
                </a:lnTo>
                <a:lnTo>
                  <a:pt x="340" y="429"/>
                </a:lnTo>
                <a:lnTo>
                  <a:pt x="405" y="411"/>
                </a:lnTo>
                <a:lnTo>
                  <a:pt x="362" y="378"/>
                </a:lnTo>
                <a:lnTo>
                  <a:pt x="362" y="248"/>
                </a:lnTo>
                <a:lnTo>
                  <a:pt x="439" y="248"/>
                </a:lnTo>
                <a:lnTo>
                  <a:pt x="433" y="176"/>
                </a:lnTo>
                <a:lnTo>
                  <a:pt x="362" y="183"/>
                </a:lnTo>
                <a:lnTo>
                  <a:pt x="355" y="60"/>
                </a:lnTo>
                <a:lnTo>
                  <a:pt x="322" y="37"/>
                </a:lnTo>
                <a:lnTo>
                  <a:pt x="278" y="39"/>
                </a:lnTo>
                <a:lnTo>
                  <a:pt x="267" y="76"/>
                </a:lnTo>
                <a:lnTo>
                  <a:pt x="218" y="80"/>
                </a:lnTo>
                <a:lnTo>
                  <a:pt x="160" y="0"/>
                </a:lnTo>
                <a:lnTo>
                  <a:pt x="28" y="17"/>
                </a:lnTo>
                <a:lnTo>
                  <a:pt x="76" y="180"/>
                </a:lnTo>
                <a:lnTo>
                  <a:pt x="0" y="40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61" name="Freeform 184"/>
          <p:cNvSpPr>
            <a:spLocks noChangeAspect="1"/>
          </p:cNvSpPr>
          <p:nvPr/>
        </p:nvSpPr>
        <p:spPr bwMode="gray">
          <a:xfrm>
            <a:off x="6011983" y="4866792"/>
            <a:ext cx="27454" cy="31000"/>
          </a:xfrm>
          <a:custGeom>
            <a:avLst/>
            <a:gdLst/>
            <a:ahLst/>
            <a:cxnLst>
              <a:cxn ang="0">
                <a:pos x="0" y="12"/>
              </a:cxn>
              <a:cxn ang="0">
                <a:pos x="12" y="38"/>
              </a:cxn>
              <a:cxn ang="0">
                <a:pos x="35" y="0"/>
              </a:cxn>
              <a:cxn ang="0">
                <a:pos x="0" y="12"/>
              </a:cxn>
            </a:cxnLst>
            <a:rect l="0" t="0" r="r" b="b"/>
            <a:pathLst>
              <a:path w="35" h="38">
                <a:moveTo>
                  <a:pt x="0" y="12"/>
                </a:moveTo>
                <a:lnTo>
                  <a:pt x="12" y="38"/>
                </a:lnTo>
                <a:lnTo>
                  <a:pt x="35" y="0"/>
                </a:lnTo>
                <a:lnTo>
                  <a:pt x="0" y="1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62" name="Freeform 185"/>
          <p:cNvSpPr>
            <a:spLocks noChangeAspect="1"/>
          </p:cNvSpPr>
          <p:nvPr/>
        </p:nvSpPr>
        <p:spPr bwMode="gray">
          <a:xfrm>
            <a:off x="6219845" y="5231907"/>
            <a:ext cx="247082" cy="254890"/>
          </a:xfrm>
          <a:custGeom>
            <a:avLst/>
            <a:gdLst/>
            <a:ahLst/>
            <a:cxnLst>
              <a:cxn ang="0">
                <a:pos x="0" y="248"/>
              </a:cxn>
              <a:cxn ang="0">
                <a:pos x="0" y="151"/>
              </a:cxn>
              <a:cxn ang="0">
                <a:pos x="36" y="150"/>
              </a:cxn>
              <a:cxn ang="0">
                <a:pos x="36" y="25"/>
              </a:cxn>
              <a:cxn ang="0">
                <a:pos x="102" y="10"/>
              </a:cxn>
              <a:cxn ang="0">
                <a:pos x="124" y="32"/>
              </a:cxn>
              <a:cxn ang="0">
                <a:pos x="182" y="0"/>
              </a:cxn>
              <a:cxn ang="0">
                <a:pos x="279" y="134"/>
              </a:cxn>
              <a:cxn ang="0">
                <a:pos x="326" y="157"/>
              </a:cxn>
              <a:cxn ang="0">
                <a:pos x="194" y="278"/>
              </a:cxn>
              <a:cxn ang="0">
                <a:pos x="118" y="278"/>
              </a:cxn>
              <a:cxn ang="0">
                <a:pos x="77" y="321"/>
              </a:cxn>
              <a:cxn ang="0">
                <a:pos x="29" y="322"/>
              </a:cxn>
              <a:cxn ang="0">
                <a:pos x="30" y="284"/>
              </a:cxn>
              <a:cxn ang="0">
                <a:pos x="0" y="248"/>
              </a:cxn>
            </a:cxnLst>
            <a:rect l="0" t="0" r="r" b="b"/>
            <a:pathLst>
              <a:path w="326" h="322">
                <a:moveTo>
                  <a:pt x="0" y="248"/>
                </a:moveTo>
                <a:lnTo>
                  <a:pt x="0" y="151"/>
                </a:lnTo>
                <a:lnTo>
                  <a:pt x="36" y="150"/>
                </a:lnTo>
                <a:lnTo>
                  <a:pt x="36" y="25"/>
                </a:lnTo>
                <a:lnTo>
                  <a:pt x="102" y="10"/>
                </a:lnTo>
                <a:lnTo>
                  <a:pt x="124" y="32"/>
                </a:lnTo>
                <a:lnTo>
                  <a:pt x="182" y="0"/>
                </a:lnTo>
                <a:lnTo>
                  <a:pt x="279" y="134"/>
                </a:lnTo>
                <a:lnTo>
                  <a:pt x="326" y="157"/>
                </a:lnTo>
                <a:lnTo>
                  <a:pt x="194" y="278"/>
                </a:lnTo>
                <a:lnTo>
                  <a:pt x="118" y="278"/>
                </a:lnTo>
                <a:lnTo>
                  <a:pt x="77" y="321"/>
                </a:lnTo>
                <a:lnTo>
                  <a:pt x="29" y="322"/>
                </a:lnTo>
                <a:lnTo>
                  <a:pt x="30" y="284"/>
                </a:lnTo>
                <a:lnTo>
                  <a:pt x="0" y="24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63" name="Freeform 186"/>
          <p:cNvSpPr>
            <a:spLocks noChangeAspect="1"/>
          </p:cNvSpPr>
          <p:nvPr/>
        </p:nvSpPr>
        <p:spPr bwMode="gray">
          <a:xfrm>
            <a:off x="6461047" y="4801349"/>
            <a:ext cx="45103" cy="56834"/>
          </a:xfrm>
          <a:custGeom>
            <a:avLst/>
            <a:gdLst/>
            <a:ahLst/>
            <a:cxnLst>
              <a:cxn ang="0">
                <a:pos x="0" y="10"/>
              </a:cxn>
              <a:cxn ang="0">
                <a:pos x="7" y="36"/>
              </a:cxn>
              <a:cxn ang="0">
                <a:pos x="22" y="69"/>
              </a:cxn>
              <a:cxn ang="0">
                <a:pos x="60" y="29"/>
              </a:cxn>
              <a:cxn ang="0">
                <a:pos x="58" y="0"/>
              </a:cxn>
              <a:cxn ang="0">
                <a:pos x="0" y="10"/>
              </a:cxn>
            </a:cxnLst>
            <a:rect l="0" t="0" r="r" b="b"/>
            <a:pathLst>
              <a:path w="60" h="69">
                <a:moveTo>
                  <a:pt x="0" y="10"/>
                </a:moveTo>
                <a:lnTo>
                  <a:pt x="7" y="36"/>
                </a:lnTo>
                <a:lnTo>
                  <a:pt x="22" y="69"/>
                </a:lnTo>
                <a:lnTo>
                  <a:pt x="60" y="29"/>
                </a:lnTo>
                <a:lnTo>
                  <a:pt x="58" y="0"/>
                </a:lnTo>
                <a:lnTo>
                  <a:pt x="0" y="1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64" name="Freeform 187"/>
          <p:cNvSpPr>
            <a:spLocks noChangeAspect="1"/>
          </p:cNvSpPr>
          <p:nvPr/>
        </p:nvSpPr>
        <p:spPr bwMode="gray">
          <a:xfrm>
            <a:off x="5919819" y="4384568"/>
            <a:ext cx="200019" cy="308281"/>
          </a:xfrm>
          <a:custGeom>
            <a:avLst/>
            <a:gdLst/>
            <a:ahLst/>
            <a:cxnLst>
              <a:cxn ang="0">
                <a:pos x="0" y="278"/>
              </a:cxn>
              <a:cxn ang="0">
                <a:pos x="38" y="204"/>
              </a:cxn>
              <a:cxn ang="0">
                <a:pos x="103" y="214"/>
              </a:cxn>
              <a:cxn ang="0">
                <a:pos x="175" y="63"/>
              </a:cxn>
              <a:cxn ang="0">
                <a:pos x="210" y="36"/>
              </a:cxn>
              <a:cxn ang="0">
                <a:pos x="196" y="6"/>
              </a:cxn>
              <a:cxn ang="0">
                <a:pos x="213" y="0"/>
              </a:cxn>
              <a:cxn ang="0">
                <a:pos x="238" y="94"/>
              </a:cxn>
              <a:cxn ang="0">
                <a:pos x="196" y="111"/>
              </a:cxn>
              <a:cxn ang="0">
                <a:pos x="245" y="186"/>
              </a:cxn>
              <a:cxn ang="0">
                <a:pos x="213" y="274"/>
              </a:cxn>
              <a:cxn ang="0">
                <a:pos x="268" y="341"/>
              </a:cxn>
              <a:cxn ang="0">
                <a:pos x="262" y="389"/>
              </a:cxn>
              <a:cxn ang="0">
                <a:pos x="170" y="367"/>
              </a:cxn>
              <a:cxn ang="0">
                <a:pos x="100" y="366"/>
              </a:cxn>
              <a:cxn ang="0">
                <a:pos x="43" y="367"/>
              </a:cxn>
              <a:cxn ang="0">
                <a:pos x="42" y="303"/>
              </a:cxn>
              <a:cxn ang="0">
                <a:pos x="0" y="278"/>
              </a:cxn>
            </a:cxnLst>
            <a:rect l="0" t="0" r="r" b="b"/>
            <a:pathLst>
              <a:path w="268" h="389">
                <a:moveTo>
                  <a:pt x="0" y="278"/>
                </a:moveTo>
                <a:lnTo>
                  <a:pt x="38" y="204"/>
                </a:lnTo>
                <a:lnTo>
                  <a:pt x="103" y="214"/>
                </a:lnTo>
                <a:lnTo>
                  <a:pt x="175" y="63"/>
                </a:lnTo>
                <a:lnTo>
                  <a:pt x="210" y="36"/>
                </a:lnTo>
                <a:lnTo>
                  <a:pt x="196" y="6"/>
                </a:lnTo>
                <a:lnTo>
                  <a:pt x="213" y="0"/>
                </a:lnTo>
                <a:lnTo>
                  <a:pt x="238" y="94"/>
                </a:lnTo>
                <a:lnTo>
                  <a:pt x="196" y="111"/>
                </a:lnTo>
                <a:lnTo>
                  <a:pt x="245" y="186"/>
                </a:lnTo>
                <a:lnTo>
                  <a:pt x="213" y="274"/>
                </a:lnTo>
                <a:lnTo>
                  <a:pt x="268" y="341"/>
                </a:lnTo>
                <a:lnTo>
                  <a:pt x="262" y="389"/>
                </a:lnTo>
                <a:lnTo>
                  <a:pt x="170" y="367"/>
                </a:lnTo>
                <a:lnTo>
                  <a:pt x="100" y="366"/>
                </a:lnTo>
                <a:lnTo>
                  <a:pt x="43" y="367"/>
                </a:lnTo>
                <a:lnTo>
                  <a:pt x="42" y="303"/>
                </a:lnTo>
                <a:lnTo>
                  <a:pt x="0" y="27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65" name="Freeform 188"/>
          <p:cNvSpPr>
            <a:spLocks noChangeAspect="1"/>
          </p:cNvSpPr>
          <p:nvPr/>
        </p:nvSpPr>
        <p:spPr bwMode="gray">
          <a:xfrm>
            <a:off x="6076696" y="4434513"/>
            <a:ext cx="343170" cy="222169"/>
          </a:xfrm>
          <a:custGeom>
            <a:avLst/>
            <a:gdLst/>
            <a:ahLst/>
            <a:cxnLst>
              <a:cxn ang="0">
                <a:pos x="0" y="213"/>
              </a:cxn>
              <a:cxn ang="0">
                <a:pos x="32" y="125"/>
              </a:cxn>
              <a:cxn ang="0">
                <a:pos x="144" y="102"/>
              </a:cxn>
              <a:cxn ang="0">
                <a:pos x="156" y="74"/>
              </a:cxn>
              <a:cxn ang="0">
                <a:pos x="208" y="64"/>
              </a:cxn>
              <a:cxn ang="0">
                <a:pos x="285" y="0"/>
              </a:cxn>
              <a:cxn ang="0">
                <a:pos x="310" y="75"/>
              </a:cxn>
              <a:cxn ang="0">
                <a:pos x="369" y="102"/>
              </a:cxn>
              <a:cxn ang="0">
                <a:pos x="454" y="203"/>
              </a:cxn>
              <a:cxn ang="0">
                <a:pos x="243" y="233"/>
              </a:cxn>
              <a:cxn ang="0">
                <a:pos x="175" y="203"/>
              </a:cxn>
              <a:cxn ang="0">
                <a:pos x="144" y="253"/>
              </a:cxn>
              <a:cxn ang="0">
                <a:pos x="84" y="253"/>
              </a:cxn>
              <a:cxn ang="0">
                <a:pos x="55" y="280"/>
              </a:cxn>
              <a:cxn ang="0">
                <a:pos x="0" y="213"/>
              </a:cxn>
            </a:cxnLst>
            <a:rect l="0" t="0" r="r" b="b"/>
            <a:pathLst>
              <a:path w="454" h="280">
                <a:moveTo>
                  <a:pt x="0" y="213"/>
                </a:moveTo>
                <a:lnTo>
                  <a:pt x="32" y="125"/>
                </a:lnTo>
                <a:lnTo>
                  <a:pt x="144" y="102"/>
                </a:lnTo>
                <a:lnTo>
                  <a:pt x="156" y="74"/>
                </a:lnTo>
                <a:lnTo>
                  <a:pt x="208" y="64"/>
                </a:lnTo>
                <a:lnTo>
                  <a:pt x="285" y="0"/>
                </a:lnTo>
                <a:lnTo>
                  <a:pt x="310" y="75"/>
                </a:lnTo>
                <a:lnTo>
                  <a:pt x="369" y="102"/>
                </a:lnTo>
                <a:lnTo>
                  <a:pt x="454" y="203"/>
                </a:lnTo>
                <a:lnTo>
                  <a:pt x="243" y="233"/>
                </a:lnTo>
                <a:lnTo>
                  <a:pt x="175" y="203"/>
                </a:lnTo>
                <a:lnTo>
                  <a:pt x="144" y="253"/>
                </a:lnTo>
                <a:lnTo>
                  <a:pt x="84" y="253"/>
                </a:lnTo>
                <a:lnTo>
                  <a:pt x="55" y="280"/>
                </a:lnTo>
                <a:lnTo>
                  <a:pt x="0" y="21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66" name="Freeform 189"/>
          <p:cNvSpPr>
            <a:spLocks noChangeAspect="1"/>
          </p:cNvSpPr>
          <p:nvPr/>
        </p:nvSpPr>
        <p:spPr bwMode="gray">
          <a:xfrm>
            <a:off x="6049242" y="4081452"/>
            <a:ext cx="280419" cy="451226"/>
          </a:xfrm>
          <a:custGeom>
            <a:avLst/>
            <a:gdLst/>
            <a:ahLst/>
            <a:cxnLst>
              <a:cxn ang="0">
                <a:pos x="0" y="324"/>
              </a:cxn>
              <a:cxn ang="0">
                <a:pos x="53" y="353"/>
              </a:cxn>
              <a:cxn ang="0">
                <a:pos x="39" y="381"/>
              </a:cxn>
              <a:cxn ang="0">
                <a:pos x="64" y="475"/>
              </a:cxn>
              <a:cxn ang="0">
                <a:pos x="22" y="492"/>
              </a:cxn>
              <a:cxn ang="0">
                <a:pos x="71" y="567"/>
              </a:cxn>
              <a:cxn ang="0">
                <a:pos x="183" y="544"/>
              </a:cxn>
              <a:cxn ang="0">
                <a:pos x="195" y="516"/>
              </a:cxn>
              <a:cxn ang="0">
                <a:pos x="247" y="506"/>
              </a:cxn>
              <a:cxn ang="0">
                <a:pos x="324" y="442"/>
              </a:cxn>
              <a:cxn ang="0">
                <a:pos x="297" y="374"/>
              </a:cxn>
              <a:cxn ang="0">
                <a:pos x="334" y="281"/>
              </a:cxn>
              <a:cxn ang="0">
                <a:pos x="369" y="274"/>
              </a:cxn>
              <a:cxn ang="0">
                <a:pos x="371" y="143"/>
              </a:cxn>
              <a:cxn ang="0">
                <a:pos x="93" y="0"/>
              </a:cxn>
              <a:cxn ang="0">
                <a:pos x="56" y="14"/>
              </a:cxn>
              <a:cxn ang="0">
                <a:pos x="56" y="69"/>
              </a:cxn>
              <a:cxn ang="0">
                <a:pos x="93" y="108"/>
              </a:cxn>
              <a:cxn ang="0">
                <a:pos x="71" y="233"/>
              </a:cxn>
              <a:cxn ang="0">
                <a:pos x="0" y="324"/>
              </a:cxn>
            </a:cxnLst>
            <a:rect l="0" t="0" r="r" b="b"/>
            <a:pathLst>
              <a:path w="371" h="567">
                <a:moveTo>
                  <a:pt x="0" y="324"/>
                </a:moveTo>
                <a:lnTo>
                  <a:pt x="53" y="353"/>
                </a:lnTo>
                <a:lnTo>
                  <a:pt x="39" y="381"/>
                </a:lnTo>
                <a:lnTo>
                  <a:pt x="64" y="475"/>
                </a:lnTo>
                <a:lnTo>
                  <a:pt x="22" y="492"/>
                </a:lnTo>
                <a:lnTo>
                  <a:pt x="71" y="567"/>
                </a:lnTo>
                <a:lnTo>
                  <a:pt x="183" y="544"/>
                </a:lnTo>
                <a:lnTo>
                  <a:pt x="195" y="516"/>
                </a:lnTo>
                <a:lnTo>
                  <a:pt x="247" y="506"/>
                </a:lnTo>
                <a:lnTo>
                  <a:pt x="324" y="442"/>
                </a:lnTo>
                <a:lnTo>
                  <a:pt x="297" y="374"/>
                </a:lnTo>
                <a:lnTo>
                  <a:pt x="334" y="281"/>
                </a:lnTo>
                <a:lnTo>
                  <a:pt x="369" y="274"/>
                </a:lnTo>
                <a:lnTo>
                  <a:pt x="371" y="143"/>
                </a:lnTo>
                <a:lnTo>
                  <a:pt x="93" y="0"/>
                </a:lnTo>
                <a:lnTo>
                  <a:pt x="56" y="14"/>
                </a:lnTo>
                <a:lnTo>
                  <a:pt x="56" y="69"/>
                </a:lnTo>
                <a:lnTo>
                  <a:pt x="93" y="108"/>
                </a:lnTo>
                <a:lnTo>
                  <a:pt x="71" y="233"/>
                </a:lnTo>
                <a:lnTo>
                  <a:pt x="0" y="32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67" name="Freeform 190"/>
          <p:cNvSpPr>
            <a:spLocks noChangeAspect="1"/>
          </p:cNvSpPr>
          <p:nvPr/>
        </p:nvSpPr>
        <p:spPr bwMode="gray">
          <a:xfrm>
            <a:off x="5990413" y="4636013"/>
            <a:ext cx="196097" cy="239391"/>
          </a:xfrm>
          <a:custGeom>
            <a:avLst/>
            <a:gdLst/>
            <a:ahLst/>
            <a:cxnLst>
              <a:cxn ang="0">
                <a:pos x="0" y="263"/>
              </a:cxn>
              <a:cxn ang="0">
                <a:pos x="27" y="301"/>
              </a:cxn>
              <a:cxn ang="0">
                <a:pos x="62" y="289"/>
              </a:cxn>
              <a:cxn ang="0">
                <a:pos x="115" y="293"/>
              </a:cxn>
              <a:cxn ang="0">
                <a:pos x="163" y="261"/>
              </a:cxn>
              <a:cxn ang="0">
                <a:pos x="177" y="201"/>
              </a:cxn>
              <a:cxn ang="0">
                <a:pos x="228" y="151"/>
              </a:cxn>
              <a:cxn ang="0">
                <a:pos x="260" y="0"/>
              </a:cxn>
              <a:cxn ang="0">
                <a:pos x="200" y="0"/>
              </a:cxn>
              <a:cxn ang="0">
                <a:pos x="171" y="27"/>
              </a:cxn>
              <a:cxn ang="0">
                <a:pos x="165" y="75"/>
              </a:cxn>
              <a:cxn ang="0">
                <a:pos x="73" y="53"/>
              </a:cxn>
              <a:cxn ang="0">
                <a:pos x="71" y="85"/>
              </a:cxn>
              <a:cxn ang="0">
                <a:pos x="107" y="87"/>
              </a:cxn>
              <a:cxn ang="0">
                <a:pos x="96" y="206"/>
              </a:cxn>
              <a:cxn ang="0">
                <a:pos x="51" y="192"/>
              </a:cxn>
              <a:cxn ang="0">
                <a:pos x="0" y="263"/>
              </a:cxn>
            </a:cxnLst>
            <a:rect l="0" t="0" r="r" b="b"/>
            <a:pathLst>
              <a:path w="260" h="301">
                <a:moveTo>
                  <a:pt x="0" y="263"/>
                </a:moveTo>
                <a:lnTo>
                  <a:pt x="27" y="301"/>
                </a:lnTo>
                <a:lnTo>
                  <a:pt x="62" y="289"/>
                </a:lnTo>
                <a:lnTo>
                  <a:pt x="115" y="293"/>
                </a:lnTo>
                <a:lnTo>
                  <a:pt x="163" y="261"/>
                </a:lnTo>
                <a:lnTo>
                  <a:pt x="177" y="201"/>
                </a:lnTo>
                <a:lnTo>
                  <a:pt x="228" y="151"/>
                </a:lnTo>
                <a:lnTo>
                  <a:pt x="260" y="0"/>
                </a:lnTo>
                <a:lnTo>
                  <a:pt x="200" y="0"/>
                </a:lnTo>
                <a:lnTo>
                  <a:pt x="171" y="27"/>
                </a:lnTo>
                <a:lnTo>
                  <a:pt x="165" y="75"/>
                </a:lnTo>
                <a:lnTo>
                  <a:pt x="73" y="53"/>
                </a:lnTo>
                <a:lnTo>
                  <a:pt x="71" y="85"/>
                </a:lnTo>
                <a:lnTo>
                  <a:pt x="107" y="87"/>
                </a:lnTo>
                <a:lnTo>
                  <a:pt x="96" y="206"/>
                </a:lnTo>
                <a:lnTo>
                  <a:pt x="51" y="192"/>
                </a:lnTo>
                <a:lnTo>
                  <a:pt x="0" y="26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68" name="Freeform 191"/>
          <p:cNvSpPr>
            <a:spLocks noChangeAspect="1"/>
          </p:cNvSpPr>
          <p:nvPr/>
        </p:nvSpPr>
        <p:spPr bwMode="gray">
          <a:xfrm>
            <a:off x="6019827" y="4594681"/>
            <a:ext cx="498086" cy="509782"/>
          </a:xfrm>
          <a:custGeom>
            <a:avLst/>
            <a:gdLst/>
            <a:ahLst/>
            <a:cxnLst>
              <a:cxn ang="0">
                <a:pos x="0" y="377"/>
              </a:cxn>
              <a:cxn ang="0">
                <a:pos x="2" y="394"/>
              </a:cxn>
              <a:cxn ang="0">
                <a:pos x="134" y="377"/>
              </a:cxn>
              <a:cxn ang="0">
                <a:pos x="192" y="457"/>
              </a:cxn>
              <a:cxn ang="0">
                <a:pos x="241" y="453"/>
              </a:cxn>
              <a:cxn ang="0">
                <a:pos x="252" y="416"/>
              </a:cxn>
              <a:cxn ang="0">
                <a:pos x="296" y="414"/>
              </a:cxn>
              <a:cxn ang="0">
                <a:pos x="329" y="437"/>
              </a:cxn>
              <a:cxn ang="0">
                <a:pos x="336" y="560"/>
              </a:cxn>
              <a:cxn ang="0">
                <a:pos x="407" y="553"/>
              </a:cxn>
              <a:cxn ang="0">
                <a:pos x="606" y="635"/>
              </a:cxn>
              <a:cxn ang="0">
                <a:pos x="605" y="598"/>
              </a:cxn>
              <a:cxn ang="0">
                <a:pos x="566" y="581"/>
              </a:cxn>
              <a:cxn ang="0">
                <a:pos x="573" y="491"/>
              </a:cxn>
              <a:cxn ang="0">
                <a:pos x="636" y="459"/>
              </a:cxn>
              <a:cxn ang="0">
                <a:pos x="597" y="398"/>
              </a:cxn>
              <a:cxn ang="0">
                <a:pos x="590" y="294"/>
              </a:cxn>
              <a:cxn ang="0">
                <a:pos x="583" y="268"/>
              </a:cxn>
              <a:cxn ang="0">
                <a:pos x="606" y="222"/>
              </a:cxn>
              <a:cxn ang="0">
                <a:pos x="636" y="135"/>
              </a:cxn>
              <a:cxn ang="0">
                <a:pos x="659" y="102"/>
              </a:cxn>
              <a:cxn ang="0">
                <a:pos x="646" y="52"/>
              </a:cxn>
              <a:cxn ang="0">
                <a:pos x="531" y="0"/>
              </a:cxn>
              <a:cxn ang="0">
                <a:pos x="320" y="30"/>
              </a:cxn>
              <a:cxn ang="0">
                <a:pos x="252" y="0"/>
              </a:cxn>
              <a:cxn ang="0">
                <a:pos x="221" y="50"/>
              </a:cxn>
              <a:cxn ang="0">
                <a:pos x="189" y="201"/>
              </a:cxn>
              <a:cxn ang="0">
                <a:pos x="138" y="251"/>
              </a:cxn>
              <a:cxn ang="0">
                <a:pos x="124" y="311"/>
              </a:cxn>
              <a:cxn ang="0">
                <a:pos x="76" y="343"/>
              </a:cxn>
              <a:cxn ang="0">
                <a:pos x="23" y="339"/>
              </a:cxn>
              <a:cxn ang="0">
                <a:pos x="0" y="377"/>
              </a:cxn>
            </a:cxnLst>
            <a:rect l="0" t="0" r="r" b="b"/>
            <a:pathLst>
              <a:path w="659" h="635">
                <a:moveTo>
                  <a:pt x="0" y="377"/>
                </a:moveTo>
                <a:lnTo>
                  <a:pt x="2" y="394"/>
                </a:lnTo>
                <a:lnTo>
                  <a:pt x="134" y="377"/>
                </a:lnTo>
                <a:lnTo>
                  <a:pt x="192" y="457"/>
                </a:lnTo>
                <a:lnTo>
                  <a:pt x="241" y="453"/>
                </a:lnTo>
                <a:lnTo>
                  <a:pt x="252" y="416"/>
                </a:lnTo>
                <a:lnTo>
                  <a:pt x="296" y="414"/>
                </a:lnTo>
                <a:lnTo>
                  <a:pt x="329" y="437"/>
                </a:lnTo>
                <a:lnTo>
                  <a:pt x="336" y="560"/>
                </a:lnTo>
                <a:lnTo>
                  <a:pt x="407" y="553"/>
                </a:lnTo>
                <a:lnTo>
                  <a:pt x="606" y="635"/>
                </a:lnTo>
                <a:lnTo>
                  <a:pt x="605" y="598"/>
                </a:lnTo>
                <a:lnTo>
                  <a:pt x="566" y="581"/>
                </a:lnTo>
                <a:lnTo>
                  <a:pt x="573" y="491"/>
                </a:lnTo>
                <a:lnTo>
                  <a:pt x="636" y="459"/>
                </a:lnTo>
                <a:lnTo>
                  <a:pt x="597" y="398"/>
                </a:lnTo>
                <a:lnTo>
                  <a:pt x="590" y="294"/>
                </a:lnTo>
                <a:lnTo>
                  <a:pt x="583" y="268"/>
                </a:lnTo>
                <a:lnTo>
                  <a:pt x="606" y="222"/>
                </a:lnTo>
                <a:lnTo>
                  <a:pt x="636" y="135"/>
                </a:lnTo>
                <a:lnTo>
                  <a:pt x="659" y="102"/>
                </a:lnTo>
                <a:lnTo>
                  <a:pt x="646" y="52"/>
                </a:lnTo>
                <a:lnTo>
                  <a:pt x="531" y="0"/>
                </a:lnTo>
                <a:lnTo>
                  <a:pt x="320" y="30"/>
                </a:lnTo>
                <a:lnTo>
                  <a:pt x="252" y="0"/>
                </a:lnTo>
                <a:lnTo>
                  <a:pt x="221" y="50"/>
                </a:lnTo>
                <a:lnTo>
                  <a:pt x="189" y="201"/>
                </a:lnTo>
                <a:lnTo>
                  <a:pt x="138" y="251"/>
                </a:lnTo>
                <a:lnTo>
                  <a:pt x="124" y="311"/>
                </a:lnTo>
                <a:lnTo>
                  <a:pt x="76" y="343"/>
                </a:lnTo>
                <a:lnTo>
                  <a:pt x="23" y="339"/>
                </a:lnTo>
                <a:lnTo>
                  <a:pt x="0" y="37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69" name="Freeform 192"/>
          <p:cNvSpPr>
            <a:spLocks noChangeAspect="1"/>
          </p:cNvSpPr>
          <p:nvPr/>
        </p:nvSpPr>
        <p:spPr bwMode="gray">
          <a:xfrm>
            <a:off x="6545367" y="3716341"/>
            <a:ext cx="64713" cy="29279"/>
          </a:xfrm>
          <a:custGeom>
            <a:avLst/>
            <a:gdLst/>
            <a:ahLst/>
            <a:cxnLst>
              <a:cxn ang="0">
                <a:pos x="0" y="22"/>
              </a:cxn>
              <a:cxn ang="0">
                <a:pos x="29" y="43"/>
              </a:cxn>
              <a:cxn ang="0">
                <a:pos x="82" y="0"/>
              </a:cxn>
              <a:cxn ang="0">
                <a:pos x="0" y="22"/>
              </a:cxn>
            </a:cxnLst>
            <a:rect l="0" t="0" r="r" b="b"/>
            <a:pathLst>
              <a:path w="82" h="43">
                <a:moveTo>
                  <a:pt x="0" y="22"/>
                </a:moveTo>
                <a:lnTo>
                  <a:pt x="29" y="43"/>
                </a:lnTo>
                <a:lnTo>
                  <a:pt x="82" y="0"/>
                </a:lnTo>
                <a:lnTo>
                  <a:pt x="0" y="2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70" name="Freeform 193"/>
          <p:cNvSpPr>
            <a:spLocks noChangeAspect="1"/>
          </p:cNvSpPr>
          <p:nvPr/>
        </p:nvSpPr>
        <p:spPr bwMode="gray">
          <a:xfrm>
            <a:off x="5721759" y="4394902"/>
            <a:ext cx="72556" cy="167057"/>
          </a:xfrm>
          <a:custGeom>
            <a:avLst/>
            <a:gdLst/>
            <a:ahLst/>
            <a:cxnLst>
              <a:cxn ang="0">
                <a:pos x="0" y="52"/>
              </a:cxn>
              <a:cxn ang="0">
                <a:pos x="36" y="214"/>
              </a:cxn>
              <a:cxn ang="0">
                <a:pos x="67" y="212"/>
              </a:cxn>
              <a:cxn ang="0">
                <a:pos x="94" y="25"/>
              </a:cxn>
              <a:cxn ang="0">
                <a:pos x="67" y="0"/>
              </a:cxn>
              <a:cxn ang="0">
                <a:pos x="50" y="16"/>
              </a:cxn>
              <a:cxn ang="0">
                <a:pos x="0" y="52"/>
              </a:cxn>
            </a:cxnLst>
            <a:rect l="0" t="0" r="r" b="b"/>
            <a:pathLst>
              <a:path w="94" h="214">
                <a:moveTo>
                  <a:pt x="0" y="52"/>
                </a:moveTo>
                <a:lnTo>
                  <a:pt x="36" y="214"/>
                </a:lnTo>
                <a:lnTo>
                  <a:pt x="67" y="212"/>
                </a:lnTo>
                <a:lnTo>
                  <a:pt x="94" y="25"/>
                </a:lnTo>
                <a:lnTo>
                  <a:pt x="67" y="0"/>
                </a:lnTo>
                <a:lnTo>
                  <a:pt x="50" y="16"/>
                </a:lnTo>
                <a:lnTo>
                  <a:pt x="0" y="5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71" name="Freeform 194"/>
          <p:cNvSpPr>
            <a:spLocks noChangeAspect="1"/>
          </p:cNvSpPr>
          <p:nvPr/>
        </p:nvSpPr>
        <p:spPr bwMode="gray">
          <a:xfrm>
            <a:off x="5943351" y="4675624"/>
            <a:ext cx="50985" cy="37890"/>
          </a:xfrm>
          <a:custGeom>
            <a:avLst/>
            <a:gdLst/>
            <a:ahLst/>
            <a:cxnLst>
              <a:cxn ang="0">
                <a:pos x="0" y="43"/>
              </a:cxn>
              <a:cxn ang="0">
                <a:pos x="5" y="1"/>
              </a:cxn>
              <a:cxn ang="0">
                <a:pos x="62" y="0"/>
              </a:cxn>
              <a:cxn ang="0">
                <a:pos x="62" y="38"/>
              </a:cxn>
              <a:cxn ang="0">
                <a:pos x="0" y="43"/>
              </a:cxn>
            </a:cxnLst>
            <a:rect l="0" t="0" r="r" b="b"/>
            <a:pathLst>
              <a:path w="62" h="43">
                <a:moveTo>
                  <a:pt x="0" y="43"/>
                </a:moveTo>
                <a:lnTo>
                  <a:pt x="5" y="1"/>
                </a:lnTo>
                <a:lnTo>
                  <a:pt x="62" y="0"/>
                </a:lnTo>
                <a:lnTo>
                  <a:pt x="62" y="38"/>
                </a:lnTo>
                <a:lnTo>
                  <a:pt x="0" y="4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72" name="Freeform 195"/>
          <p:cNvSpPr>
            <a:spLocks noChangeAspect="1"/>
          </p:cNvSpPr>
          <p:nvPr/>
        </p:nvSpPr>
        <p:spPr bwMode="gray">
          <a:xfrm>
            <a:off x="6563016" y="4236455"/>
            <a:ext cx="396116" cy="406449"/>
          </a:xfrm>
          <a:custGeom>
            <a:avLst/>
            <a:gdLst/>
            <a:ahLst/>
            <a:cxnLst>
              <a:cxn ang="0">
                <a:pos x="0" y="356"/>
              </a:cxn>
              <a:cxn ang="0">
                <a:pos x="40" y="329"/>
              </a:cxn>
              <a:cxn ang="0">
                <a:pos x="44" y="265"/>
              </a:cxn>
              <a:cxn ang="0">
                <a:pos x="112" y="181"/>
              </a:cxn>
              <a:cxn ang="0">
                <a:pos x="139" y="33"/>
              </a:cxn>
              <a:cxn ang="0">
                <a:pos x="193" y="0"/>
              </a:cxn>
              <a:cxn ang="0">
                <a:pos x="232" y="102"/>
              </a:cxn>
              <a:cxn ang="0">
                <a:pos x="348" y="188"/>
              </a:cxn>
              <a:cxn ang="0">
                <a:pos x="307" y="240"/>
              </a:cxn>
              <a:cxn ang="0">
                <a:pos x="345" y="253"/>
              </a:cxn>
              <a:cxn ang="0">
                <a:pos x="387" y="316"/>
              </a:cxn>
              <a:cxn ang="0">
                <a:pos x="524" y="350"/>
              </a:cxn>
              <a:cxn ang="0">
                <a:pos x="418" y="455"/>
              </a:cxn>
              <a:cxn ang="0">
                <a:pos x="309" y="493"/>
              </a:cxn>
              <a:cxn ang="0">
                <a:pos x="210" y="509"/>
              </a:cxn>
              <a:cxn ang="0">
                <a:pos x="100" y="470"/>
              </a:cxn>
              <a:cxn ang="0">
                <a:pos x="61" y="398"/>
              </a:cxn>
              <a:cxn ang="0">
                <a:pos x="0" y="356"/>
              </a:cxn>
            </a:cxnLst>
            <a:rect l="0" t="0" r="r" b="b"/>
            <a:pathLst>
              <a:path w="524" h="509">
                <a:moveTo>
                  <a:pt x="0" y="356"/>
                </a:moveTo>
                <a:lnTo>
                  <a:pt x="40" y="329"/>
                </a:lnTo>
                <a:lnTo>
                  <a:pt x="44" y="265"/>
                </a:lnTo>
                <a:lnTo>
                  <a:pt x="112" y="181"/>
                </a:lnTo>
                <a:lnTo>
                  <a:pt x="139" y="33"/>
                </a:lnTo>
                <a:lnTo>
                  <a:pt x="193" y="0"/>
                </a:lnTo>
                <a:lnTo>
                  <a:pt x="232" y="102"/>
                </a:lnTo>
                <a:lnTo>
                  <a:pt x="348" y="188"/>
                </a:lnTo>
                <a:lnTo>
                  <a:pt x="307" y="240"/>
                </a:lnTo>
                <a:lnTo>
                  <a:pt x="345" y="253"/>
                </a:lnTo>
                <a:lnTo>
                  <a:pt x="387" y="316"/>
                </a:lnTo>
                <a:lnTo>
                  <a:pt x="524" y="350"/>
                </a:lnTo>
                <a:lnTo>
                  <a:pt x="418" y="455"/>
                </a:lnTo>
                <a:lnTo>
                  <a:pt x="309" y="493"/>
                </a:lnTo>
                <a:lnTo>
                  <a:pt x="210" y="509"/>
                </a:lnTo>
                <a:lnTo>
                  <a:pt x="100" y="470"/>
                </a:lnTo>
                <a:lnTo>
                  <a:pt x="61" y="398"/>
                </a:lnTo>
                <a:lnTo>
                  <a:pt x="0" y="35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73" name="Freeform 196"/>
          <p:cNvSpPr>
            <a:spLocks noChangeAspect="1"/>
          </p:cNvSpPr>
          <p:nvPr/>
        </p:nvSpPr>
        <p:spPr bwMode="gray">
          <a:xfrm>
            <a:off x="6794410" y="4388012"/>
            <a:ext cx="43141" cy="49945"/>
          </a:xfrm>
          <a:custGeom>
            <a:avLst/>
            <a:gdLst/>
            <a:ahLst/>
            <a:cxnLst>
              <a:cxn ang="0">
                <a:pos x="0" y="52"/>
              </a:cxn>
              <a:cxn ang="0">
                <a:pos x="38" y="65"/>
              </a:cxn>
              <a:cxn ang="0">
                <a:pos x="52" y="44"/>
              </a:cxn>
              <a:cxn ang="0">
                <a:pos x="25" y="41"/>
              </a:cxn>
              <a:cxn ang="0">
                <a:pos x="55" y="25"/>
              </a:cxn>
              <a:cxn ang="0">
                <a:pos x="41" y="0"/>
              </a:cxn>
              <a:cxn ang="0">
                <a:pos x="0" y="52"/>
              </a:cxn>
            </a:cxnLst>
            <a:rect l="0" t="0" r="r" b="b"/>
            <a:pathLst>
              <a:path w="55" h="65">
                <a:moveTo>
                  <a:pt x="0" y="52"/>
                </a:moveTo>
                <a:lnTo>
                  <a:pt x="38" y="65"/>
                </a:lnTo>
                <a:lnTo>
                  <a:pt x="52" y="44"/>
                </a:lnTo>
                <a:lnTo>
                  <a:pt x="25" y="41"/>
                </a:lnTo>
                <a:lnTo>
                  <a:pt x="55" y="25"/>
                </a:lnTo>
                <a:lnTo>
                  <a:pt x="41" y="0"/>
                </a:lnTo>
                <a:lnTo>
                  <a:pt x="0" y="5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74" name="Freeform 197"/>
          <p:cNvSpPr>
            <a:spLocks noChangeAspect="1"/>
          </p:cNvSpPr>
          <p:nvPr/>
        </p:nvSpPr>
        <p:spPr bwMode="gray">
          <a:xfrm>
            <a:off x="5925702" y="4675625"/>
            <a:ext cx="147073" cy="170503"/>
          </a:xfrm>
          <a:custGeom>
            <a:avLst/>
            <a:gdLst/>
            <a:ahLst/>
            <a:cxnLst>
              <a:cxn ang="0">
                <a:pos x="0" y="100"/>
              </a:cxn>
              <a:cxn ang="0">
                <a:pos x="21" y="67"/>
              </a:cxn>
              <a:cxn ang="0">
                <a:pos x="36" y="70"/>
              </a:cxn>
              <a:cxn ang="0">
                <a:pos x="26" y="43"/>
              </a:cxn>
              <a:cxn ang="0">
                <a:pos x="88" y="38"/>
              </a:cxn>
              <a:cxn ang="0">
                <a:pos x="88" y="0"/>
              </a:cxn>
              <a:cxn ang="0">
                <a:pos x="158" y="1"/>
              </a:cxn>
              <a:cxn ang="0">
                <a:pos x="156" y="33"/>
              </a:cxn>
              <a:cxn ang="0">
                <a:pos x="192" y="35"/>
              </a:cxn>
              <a:cxn ang="0">
                <a:pos x="181" y="154"/>
              </a:cxn>
              <a:cxn ang="0">
                <a:pos x="136" y="140"/>
              </a:cxn>
              <a:cxn ang="0">
                <a:pos x="85" y="211"/>
              </a:cxn>
              <a:cxn ang="0">
                <a:pos x="0" y="100"/>
              </a:cxn>
            </a:cxnLst>
            <a:rect l="0" t="0" r="r" b="b"/>
            <a:pathLst>
              <a:path w="192" h="211">
                <a:moveTo>
                  <a:pt x="0" y="100"/>
                </a:moveTo>
                <a:lnTo>
                  <a:pt x="21" y="67"/>
                </a:lnTo>
                <a:lnTo>
                  <a:pt x="36" y="70"/>
                </a:lnTo>
                <a:lnTo>
                  <a:pt x="26" y="43"/>
                </a:lnTo>
                <a:lnTo>
                  <a:pt x="88" y="38"/>
                </a:lnTo>
                <a:lnTo>
                  <a:pt x="88" y="0"/>
                </a:lnTo>
                <a:lnTo>
                  <a:pt x="158" y="1"/>
                </a:lnTo>
                <a:lnTo>
                  <a:pt x="156" y="33"/>
                </a:lnTo>
                <a:lnTo>
                  <a:pt x="192" y="35"/>
                </a:lnTo>
                <a:lnTo>
                  <a:pt x="181" y="154"/>
                </a:lnTo>
                <a:lnTo>
                  <a:pt x="136" y="140"/>
                </a:lnTo>
                <a:lnTo>
                  <a:pt x="85" y="211"/>
                </a:lnTo>
                <a:lnTo>
                  <a:pt x="0" y="10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75" name="Freeform 198"/>
          <p:cNvSpPr>
            <a:spLocks noChangeAspect="1"/>
          </p:cNvSpPr>
          <p:nvPr/>
        </p:nvSpPr>
        <p:spPr bwMode="gray">
          <a:xfrm>
            <a:off x="5258970" y="4358735"/>
            <a:ext cx="80400" cy="18945"/>
          </a:xfrm>
          <a:custGeom>
            <a:avLst/>
            <a:gdLst/>
            <a:ahLst/>
            <a:cxnLst>
              <a:cxn ang="0">
                <a:pos x="0" y="21"/>
              </a:cxn>
              <a:cxn ang="0">
                <a:pos x="4" y="0"/>
              </a:cxn>
              <a:cxn ang="0">
                <a:pos x="103" y="8"/>
              </a:cxn>
              <a:cxn ang="0">
                <a:pos x="0" y="21"/>
              </a:cxn>
            </a:cxnLst>
            <a:rect l="0" t="0" r="r" b="b"/>
            <a:pathLst>
              <a:path w="103" h="21">
                <a:moveTo>
                  <a:pt x="0" y="21"/>
                </a:moveTo>
                <a:lnTo>
                  <a:pt x="4" y="0"/>
                </a:lnTo>
                <a:lnTo>
                  <a:pt x="103" y="8"/>
                </a:lnTo>
                <a:lnTo>
                  <a:pt x="0" y="2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76" name="Freeform 199"/>
          <p:cNvSpPr>
            <a:spLocks noChangeAspect="1"/>
          </p:cNvSpPr>
          <p:nvPr/>
        </p:nvSpPr>
        <p:spPr bwMode="gray">
          <a:xfrm>
            <a:off x="5617827" y="4425903"/>
            <a:ext cx="111776" cy="179113"/>
          </a:xfrm>
          <a:custGeom>
            <a:avLst/>
            <a:gdLst/>
            <a:ahLst/>
            <a:cxnLst>
              <a:cxn ang="0">
                <a:pos x="0" y="212"/>
              </a:cxn>
              <a:cxn ang="0">
                <a:pos x="13" y="57"/>
              </a:cxn>
              <a:cxn ang="0">
                <a:pos x="6" y="9"/>
              </a:cxn>
              <a:cxn ang="0">
                <a:pos x="99" y="0"/>
              </a:cxn>
              <a:cxn ang="0">
                <a:pos x="148" y="177"/>
              </a:cxn>
              <a:cxn ang="0">
                <a:pos x="38" y="225"/>
              </a:cxn>
              <a:cxn ang="0">
                <a:pos x="0" y="212"/>
              </a:cxn>
            </a:cxnLst>
            <a:rect l="0" t="0" r="r" b="b"/>
            <a:pathLst>
              <a:path w="148" h="225">
                <a:moveTo>
                  <a:pt x="0" y="212"/>
                </a:moveTo>
                <a:lnTo>
                  <a:pt x="13" y="57"/>
                </a:lnTo>
                <a:lnTo>
                  <a:pt x="6" y="9"/>
                </a:lnTo>
                <a:lnTo>
                  <a:pt x="99" y="0"/>
                </a:lnTo>
                <a:lnTo>
                  <a:pt x="148" y="177"/>
                </a:lnTo>
                <a:lnTo>
                  <a:pt x="38" y="225"/>
                </a:lnTo>
                <a:lnTo>
                  <a:pt x="0" y="21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77" name="Freeform 200"/>
          <p:cNvSpPr>
            <a:spLocks noChangeAspect="1"/>
          </p:cNvSpPr>
          <p:nvPr/>
        </p:nvSpPr>
        <p:spPr bwMode="gray">
          <a:xfrm>
            <a:off x="5302112" y="4388012"/>
            <a:ext cx="194136" cy="146391"/>
          </a:xfrm>
          <a:custGeom>
            <a:avLst/>
            <a:gdLst/>
            <a:ahLst/>
            <a:cxnLst>
              <a:cxn ang="0">
                <a:pos x="0" y="62"/>
              </a:cxn>
              <a:cxn ang="0">
                <a:pos x="43" y="35"/>
              </a:cxn>
              <a:cxn ang="0">
                <a:pos x="44" y="0"/>
              </a:cxn>
              <a:cxn ang="0">
                <a:pos x="127" y="8"/>
              </a:cxn>
              <a:cxn ang="0">
                <a:pos x="149" y="25"/>
              </a:cxn>
              <a:cxn ang="0">
                <a:pos x="208" y="5"/>
              </a:cxn>
              <a:cxn ang="0">
                <a:pos x="243" y="88"/>
              </a:cxn>
              <a:cxn ang="0">
                <a:pos x="254" y="151"/>
              </a:cxn>
              <a:cxn ang="0">
                <a:pos x="232" y="146"/>
              </a:cxn>
              <a:cxn ang="0">
                <a:pos x="226" y="180"/>
              </a:cxn>
              <a:cxn ang="0">
                <a:pos x="190" y="186"/>
              </a:cxn>
              <a:cxn ang="0">
                <a:pos x="188" y="151"/>
              </a:cxn>
              <a:cxn ang="0">
                <a:pos x="166" y="150"/>
              </a:cxn>
              <a:cxn ang="0">
                <a:pos x="132" y="97"/>
              </a:cxn>
              <a:cxn ang="0">
                <a:pos x="60" y="126"/>
              </a:cxn>
              <a:cxn ang="0">
                <a:pos x="0" y="62"/>
              </a:cxn>
            </a:cxnLst>
            <a:rect l="0" t="0" r="r" b="b"/>
            <a:pathLst>
              <a:path w="254" h="186">
                <a:moveTo>
                  <a:pt x="0" y="62"/>
                </a:moveTo>
                <a:lnTo>
                  <a:pt x="43" y="35"/>
                </a:lnTo>
                <a:lnTo>
                  <a:pt x="44" y="0"/>
                </a:lnTo>
                <a:lnTo>
                  <a:pt x="127" y="8"/>
                </a:lnTo>
                <a:lnTo>
                  <a:pt x="149" y="25"/>
                </a:lnTo>
                <a:lnTo>
                  <a:pt x="208" y="5"/>
                </a:lnTo>
                <a:lnTo>
                  <a:pt x="243" y="88"/>
                </a:lnTo>
                <a:lnTo>
                  <a:pt x="254" y="151"/>
                </a:lnTo>
                <a:lnTo>
                  <a:pt x="232" y="146"/>
                </a:lnTo>
                <a:lnTo>
                  <a:pt x="226" y="180"/>
                </a:lnTo>
                <a:lnTo>
                  <a:pt x="190" y="186"/>
                </a:lnTo>
                <a:lnTo>
                  <a:pt x="188" y="151"/>
                </a:lnTo>
                <a:lnTo>
                  <a:pt x="166" y="150"/>
                </a:lnTo>
                <a:lnTo>
                  <a:pt x="132" y="97"/>
                </a:lnTo>
                <a:lnTo>
                  <a:pt x="60" y="126"/>
                </a:lnTo>
                <a:lnTo>
                  <a:pt x="0" y="6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78" name="Freeform 201"/>
          <p:cNvSpPr>
            <a:spLocks noChangeAspect="1"/>
          </p:cNvSpPr>
          <p:nvPr/>
        </p:nvSpPr>
        <p:spPr bwMode="gray">
          <a:xfrm>
            <a:off x="6870889" y="3909230"/>
            <a:ext cx="50985" cy="15501"/>
          </a:xfrm>
          <a:custGeom>
            <a:avLst/>
            <a:gdLst/>
            <a:ahLst/>
            <a:cxnLst>
              <a:cxn ang="0">
                <a:pos x="0" y="0"/>
              </a:cxn>
              <a:cxn ang="0">
                <a:pos x="33" y="17"/>
              </a:cxn>
              <a:cxn ang="0">
                <a:pos x="64" y="4"/>
              </a:cxn>
              <a:cxn ang="0">
                <a:pos x="0" y="0"/>
              </a:cxn>
            </a:cxnLst>
            <a:rect l="0" t="0" r="r" b="b"/>
            <a:pathLst>
              <a:path w="64" h="17">
                <a:moveTo>
                  <a:pt x="0" y="0"/>
                </a:moveTo>
                <a:lnTo>
                  <a:pt x="33" y="17"/>
                </a:lnTo>
                <a:lnTo>
                  <a:pt x="64" y="4"/>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79" name="Freeform 202"/>
          <p:cNvSpPr>
            <a:spLocks noChangeAspect="1"/>
          </p:cNvSpPr>
          <p:nvPr/>
        </p:nvSpPr>
        <p:spPr bwMode="gray">
          <a:xfrm>
            <a:off x="6588509" y="3793840"/>
            <a:ext cx="41181" cy="113667"/>
          </a:xfrm>
          <a:custGeom>
            <a:avLst/>
            <a:gdLst/>
            <a:ahLst/>
            <a:cxnLst>
              <a:cxn ang="0">
                <a:pos x="0" y="74"/>
              </a:cxn>
              <a:cxn ang="0">
                <a:pos x="30" y="147"/>
              </a:cxn>
              <a:cxn ang="0">
                <a:pos x="33" y="145"/>
              </a:cxn>
              <a:cxn ang="0">
                <a:pos x="49" y="66"/>
              </a:cxn>
              <a:cxn ang="0">
                <a:pos x="27" y="72"/>
              </a:cxn>
              <a:cxn ang="0">
                <a:pos x="33" y="37"/>
              </a:cxn>
              <a:cxn ang="0">
                <a:pos x="50" y="20"/>
              </a:cxn>
              <a:cxn ang="0">
                <a:pos x="55" y="0"/>
              </a:cxn>
              <a:cxn ang="0">
                <a:pos x="36" y="3"/>
              </a:cxn>
              <a:cxn ang="0">
                <a:pos x="0" y="74"/>
              </a:cxn>
            </a:cxnLst>
            <a:rect l="0" t="0" r="r" b="b"/>
            <a:pathLst>
              <a:path w="55" h="147">
                <a:moveTo>
                  <a:pt x="0" y="74"/>
                </a:moveTo>
                <a:lnTo>
                  <a:pt x="30" y="147"/>
                </a:lnTo>
                <a:lnTo>
                  <a:pt x="33" y="145"/>
                </a:lnTo>
                <a:lnTo>
                  <a:pt x="49" y="66"/>
                </a:lnTo>
                <a:lnTo>
                  <a:pt x="27" y="72"/>
                </a:lnTo>
                <a:lnTo>
                  <a:pt x="33" y="37"/>
                </a:lnTo>
                <a:lnTo>
                  <a:pt x="50" y="20"/>
                </a:lnTo>
                <a:lnTo>
                  <a:pt x="55" y="0"/>
                </a:lnTo>
                <a:lnTo>
                  <a:pt x="36" y="3"/>
                </a:lnTo>
                <a:lnTo>
                  <a:pt x="0" y="7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80" name="Freeform 203"/>
          <p:cNvSpPr>
            <a:spLocks noChangeAspect="1"/>
          </p:cNvSpPr>
          <p:nvPr/>
        </p:nvSpPr>
        <p:spPr bwMode="gray">
          <a:xfrm>
            <a:off x="5470756" y="4443124"/>
            <a:ext cx="156877" cy="172223"/>
          </a:xfrm>
          <a:custGeom>
            <a:avLst/>
            <a:gdLst/>
            <a:ahLst/>
            <a:cxnLst>
              <a:cxn ang="0">
                <a:pos x="0" y="144"/>
              </a:cxn>
              <a:cxn ang="0">
                <a:pos x="2" y="111"/>
              </a:cxn>
              <a:cxn ang="0">
                <a:pos x="8" y="77"/>
              </a:cxn>
              <a:cxn ang="0">
                <a:pos x="30" y="82"/>
              </a:cxn>
              <a:cxn ang="0">
                <a:pos x="19" y="19"/>
              </a:cxn>
              <a:cxn ang="0">
                <a:pos x="81" y="0"/>
              </a:cxn>
              <a:cxn ang="0">
                <a:pos x="116" y="13"/>
              </a:cxn>
              <a:cxn ang="0">
                <a:pos x="134" y="34"/>
              </a:cxn>
              <a:cxn ang="0">
                <a:pos x="204" y="41"/>
              </a:cxn>
              <a:cxn ang="0">
                <a:pos x="191" y="196"/>
              </a:cxn>
              <a:cxn ang="0">
                <a:pos x="33" y="219"/>
              </a:cxn>
              <a:cxn ang="0">
                <a:pos x="37" y="169"/>
              </a:cxn>
              <a:cxn ang="0">
                <a:pos x="0" y="144"/>
              </a:cxn>
            </a:cxnLst>
            <a:rect l="0" t="0" r="r" b="b"/>
            <a:pathLst>
              <a:path w="204" h="219">
                <a:moveTo>
                  <a:pt x="0" y="144"/>
                </a:moveTo>
                <a:lnTo>
                  <a:pt x="2" y="111"/>
                </a:lnTo>
                <a:lnTo>
                  <a:pt x="8" y="77"/>
                </a:lnTo>
                <a:lnTo>
                  <a:pt x="30" y="82"/>
                </a:lnTo>
                <a:lnTo>
                  <a:pt x="19" y="19"/>
                </a:lnTo>
                <a:lnTo>
                  <a:pt x="81" y="0"/>
                </a:lnTo>
                <a:lnTo>
                  <a:pt x="116" y="13"/>
                </a:lnTo>
                <a:lnTo>
                  <a:pt x="134" y="34"/>
                </a:lnTo>
                <a:lnTo>
                  <a:pt x="204" y="41"/>
                </a:lnTo>
                <a:lnTo>
                  <a:pt x="191" y="196"/>
                </a:lnTo>
                <a:lnTo>
                  <a:pt x="33" y="219"/>
                </a:lnTo>
                <a:lnTo>
                  <a:pt x="37" y="169"/>
                </a:lnTo>
                <a:lnTo>
                  <a:pt x="0" y="14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81" name="Freeform 204"/>
          <p:cNvSpPr>
            <a:spLocks noChangeAspect="1"/>
          </p:cNvSpPr>
          <p:nvPr/>
        </p:nvSpPr>
        <p:spPr bwMode="gray">
          <a:xfrm>
            <a:off x="6610079" y="3786950"/>
            <a:ext cx="115698" cy="129169"/>
          </a:xfrm>
          <a:custGeom>
            <a:avLst/>
            <a:gdLst/>
            <a:ahLst/>
            <a:cxnLst>
              <a:cxn ang="0">
                <a:pos x="0" y="78"/>
              </a:cxn>
              <a:cxn ang="0">
                <a:pos x="6" y="43"/>
              </a:cxn>
              <a:cxn ang="0">
                <a:pos x="23" y="26"/>
              </a:cxn>
              <a:cxn ang="0">
                <a:pos x="60" y="40"/>
              </a:cxn>
              <a:cxn ang="0">
                <a:pos x="135" y="0"/>
              </a:cxn>
              <a:cxn ang="0">
                <a:pos x="152" y="45"/>
              </a:cxn>
              <a:cxn ang="0">
                <a:pos x="73" y="71"/>
              </a:cxn>
              <a:cxn ang="0">
                <a:pos x="111" y="106"/>
              </a:cxn>
              <a:cxn ang="0">
                <a:pos x="92" y="130"/>
              </a:cxn>
              <a:cxn ang="0">
                <a:pos x="45" y="162"/>
              </a:cxn>
              <a:cxn ang="0">
                <a:pos x="6" y="151"/>
              </a:cxn>
              <a:cxn ang="0">
                <a:pos x="22" y="72"/>
              </a:cxn>
              <a:cxn ang="0">
                <a:pos x="0" y="78"/>
              </a:cxn>
            </a:cxnLst>
            <a:rect l="0" t="0" r="r" b="b"/>
            <a:pathLst>
              <a:path w="152" h="162">
                <a:moveTo>
                  <a:pt x="0" y="78"/>
                </a:moveTo>
                <a:lnTo>
                  <a:pt x="6" y="43"/>
                </a:lnTo>
                <a:lnTo>
                  <a:pt x="23" y="26"/>
                </a:lnTo>
                <a:lnTo>
                  <a:pt x="60" y="40"/>
                </a:lnTo>
                <a:lnTo>
                  <a:pt x="135" y="0"/>
                </a:lnTo>
                <a:lnTo>
                  <a:pt x="152" y="45"/>
                </a:lnTo>
                <a:lnTo>
                  <a:pt x="73" y="71"/>
                </a:lnTo>
                <a:lnTo>
                  <a:pt x="111" y="106"/>
                </a:lnTo>
                <a:lnTo>
                  <a:pt x="92" y="130"/>
                </a:lnTo>
                <a:lnTo>
                  <a:pt x="45" y="162"/>
                </a:lnTo>
                <a:lnTo>
                  <a:pt x="6" y="151"/>
                </a:lnTo>
                <a:lnTo>
                  <a:pt x="22" y="72"/>
                </a:lnTo>
                <a:lnTo>
                  <a:pt x="0" y="7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82" name="Freeform 205"/>
          <p:cNvSpPr>
            <a:spLocks noChangeAspect="1"/>
          </p:cNvSpPr>
          <p:nvPr/>
        </p:nvSpPr>
        <p:spPr bwMode="gray">
          <a:xfrm>
            <a:off x="6588506" y="4610180"/>
            <a:ext cx="205902" cy="256613"/>
          </a:xfrm>
          <a:custGeom>
            <a:avLst/>
            <a:gdLst/>
            <a:ahLst/>
            <a:cxnLst>
              <a:cxn ang="0">
                <a:pos x="0" y="20"/>
              </a:cxn>
              <a:cxn ang="0">
                <a:pos x="38" y="88"/>
              </a:cxn>
              <a:cxn ang="0">
                <a:pos x="0" y="150"/>
              </a:cxn>
              <a:cxn ang="0">
                <a:pos x="30" y="167"/>
              </a:cxn>
              <a:cxn ang="0">
                <a:pos x="9" y="190"/>
              </a:cxn>
              <a:cxn ang="0">
                <a:pos x="187" y="319"/>
              </a:cxn>
              <a:cxn ang="0">
                <a:pos x="263" y="216"/>
              </a:cxn>
              <a:cxn ang="0">
                <a:pos x="246" y="188"/>
              </a:cxn>
              <a:cxn ang="0">
                <a:pos x="246" y="61"/>
              </a:cxn>
              <a:cxn ang="0">
                <a:pos x="274" y="23"/>
              </a:cxn>
              <a:cxn ang="0">
                <a:pos x="175" y="39"/>
              </a:cxn>
              <a:cxn ang="0">
                <a:pos x="65" y="0"/>
              </a:cxn>
              <a:cxn ang="0">
                <a:pos x="0" y="20"/>
              </a:cxn>
            </a:cxnLst>
            <a:rect l="0" t="0" r="r" b="b"/>
            <a:pathLst>
              <a:path w="274" h="319">
                <a:moveTo>
                  <a:pt x="0" y="20"/>
                </a:moveTo>
                <a:lnTo>
                  <a:pt x="38" y="88"/>
                </a:lnTo>
                <a:lnTo>
                  <a:pt x="0" y="150"/>
                </a:lnTo>
                <a:lnTo>
                  <a:pt x="30" y="167"/>
                </a:lnTo>
                <a:lnTo>
                  <a:pt x="9" y="190"/>
                </a:lnTo>
                <a:lnTo>
                  <a:pt x="187" y="319"/>
                </a:lnTo>
                <a:lnTo>
                  <a:pt x="263" y="216"/>
                </a:lnTo>
                <a:lnTo>
                  <a:pt x="246" y="188"/>
                </a:lnTo>
                <a:lnTo>
                  <a:pt x="246" y="61"/>
                </a:lnTo>
                <a:lnTo>
                  <a:pt x="274" y="23"/>
                </a:lnTo>
                <a:lnTo>
                  <a:pt x="175" y="39"/>
                </a:lnTo>
                <a:lnTo>
                  <a:pt x="65" y="0"/>
                </a:lnTo>
                <a:lnTo>
                  <a:pt x="0" y="2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83" name="Freeform 206"/>
          <p:cNvSpPr>
            <a:spLocks noChangeAspect="1"/>
          </p:cNvSpPr>
          <p:nvPr/>
        </p:nvSpPr>
        <p:spPr bwMode="gray">
          <a:xfrm>
            <a:off x="6921874" y="3886838"/>
            <a:ext cx="43141" cy="43056"/>
          </a:xfrm>
          <a:custGeom>
            <a:avLst/>
            <a:gdLst/>
            <a:ahLst/>
            <a:cxnLst>
              <a:cxn ang="0">
                <a:pos x="0" y="32"/>
              </a:cxn>
              <a:cxn ang="0">
                <a:pos x="51" y="0"/>
              </a:cxn>
              <a:cxn ang="0">
                <a:pos x="62" y="52"/>
              </a:cxn>
              <a:cxn ang="0">
                <a:pos x="0" y="32"/>
              </a:cxn>
            </a:cxnLst>
            <a:rect l="0" t="0" r="r" b="b"/>
            <a:pathLst>
              <a:path w="62" h="52">
                <a:moveTo>
                  <a:pt x="0" y="32"/>
                </a:moveTo>
                <a:lnTo>
                  <a:pt x="51" y="0"/>
                </a:lnTo>
                <a:lnTo>
                  <a:pt x="62" y="52"/>
                </a:lnTo>
                <a:lnTo>
                  <a:pt x="0" y="3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84" name="Freeform 207"/>
          <p:cNvSpPr>
            <a:spLocks noChangeAspect="1"/>
          </p:cNvSpPr>
          <p:nvPr/>
        </p:nvSpPr>
        <p:spPr bwMode="gray">
          <a:xfrm>
            <a:off x="6619883" y="3743895"/>
            <a:ext cx="37259" cy="49945"/>
          </a:xfrm>
          <a:custGeom>
            <a:avLst/>
            <a:gdLst/>
            <a:ahLst/>
            <a:cxnLst>
              <a:cxn ang="0">
                <a:pos x="0" y="61"/>
              </a:cxn>
              <a:cxn ang="0">
                <a:pos x="19" y="58"/>
              </a:cxn>
              <a:cxn ang="0">
                <a:pos x="55" y="18"/>
              </a:cxn>
              <a:cxn ang="0">
                <a:pos x="34" y="0"/>
              </a:cxn>
              <a:cxn ang="0">
                <a:pos x="0" y="61"/>
              </a:cxn>
            </a:cxnLst>
            <a:rect l="0" t="0" r="r" b="b"/>
            <a:pathLst>
              <a:path w="55" h="61">
                <a:moveTo>
                  <a:pt x="0" y="61"/>
                </a:moveTo>
                <a:lnTo>
                  <a:pt x="19" y="58"/>
                </a:lnTo>
                <a:lnTo>
                  <a:pt x="55" y="18"/>
                </a:lnTo>
                <a:lnTo>
                  <a:pt x="34" y="0"/>
                </a:lnTo>
                <a:lnTo>
                  <a:pt x="0" y="6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85" name="Freeform 208"/>
          <p:cNvSpPr>
            <a:spLocks noChangeAspect="1"/>
          </p:cNvSpPr>
          <p:nvPr/>
        </p:nvSpPr>
        <p:spPr bwMode="gray">
          <a:xfrm>
            <a:off x="5398200" y="4508570"/>
            <a:ext cx="103932" cy="106779"/>
          </a:xfrm>
          <a:custGeom>
            <a:avLst/>
            <a:gdLst/>
            <a:ahLst/>
            <a:cxnLst>
              <a:cxn ang="0">
                <a:pos x="0" y="51"/>
              </a:cxn>
              <a:cxn ang="0">
                <a:pos x="42" y="0"/>
              </a:cxn>
              <a:cxn ang="0">
                <a:pos x="64" y="1"/>
              </a:cxn>
              <a:cxn ang="0">
                <a:pos x="66" y="36"/>
              </a:cxn>
              <a:cxn ang="0">
                <a:pos x="102" y="30"/>
              </a:cxn>
              <a:cxn ang="0">
                <a:pos x="100" y="63"/>
              </a:cxn>
              <a:cxn ang="0">
                <a:pos x="137" y="88"/>
              </a:cxn>
              <a:cxn ang="0">
                <a:pos x="133" y="138"/>
              </a:cxn>
              <a:cxn ang="0">
                <a:pos x="0" y="51"/>
              </a:cxn>
            </a:cxnLst>
            <a:rect l="0" t="0" r="r" b="b"/>
            <a:pathLst>
              <a:path w="137" h="138">
                <a:moveTo>
                  <a:pt x="0" y="51"/>
                </a:moveTo>
                <a:lnTo>
                  <a:pt x="42" y="0"/>
                </a:lnTo>
                <a:lnTo>
                  <a:pt x="64" y="1"/>
                </a:lnTo>
                <a:lnTo>
                  <a:pt x="66" y="36"/>
                </a:lnTo>
                <a:lnTo>
                  <a:pt x="102" y="30"/>
                </a:lnTo>
                <a:lnTo>
                  <a:pt x="100" y="63"/>
                </a:lnTo>
                <a:lnTo>
                  <a:pt x="137" y="88"/>
                </a:lnTo>
                <a:lnTo>
                  <a:pt x="133" y="138"/>
                </a:lnTo>
                <a:lnTo>
                  <a:pt x="0" y="5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86" name="Freeform 209"/>
          <p:cNvSpPr>
            <a:spLocks noChangeAspect="1"/>
          </p:cNvSpPr>
          <p:nvPr/>
        </p:nvSpPr>
        <p:spPr bwMode="gray">
          <a:xfrm>
            <a:off x="5941388" y="3793839"/>
            <a:ext cx="411803" cy="401282"/>
          </a:xfrm>
          <a:custGeom>
            <a:avLst/>
            <a:gdLst/>
            <a:ahLst/>
            <a:cxnLst>
              <a:cxn ang="0">
                <a:pos x="0" y="263"/>
              </a:cxn>
              <a:cxn ang="0">
                <a:pos x="1" y="108"/>
              </a:cxn>
              <a:cxn ang="0">
                <a:pos x="70" y="0"/>
              </a:cxn>
              <a:cxn ang="0">
                <a:pos x="199" y="31"/>
              </a:cxn>
              <a:cxn ang="0">
                <a:pos x="224" y="69"/>
              </a:cxn>
              <a:cxn ang="0">
                <a:pos x="329" y="108"/>
              </a:cxn>
              <a:cxn ang="0">
                <a:pos x="363" y="95"/>
              </a:cxn>
              <a:cxn ang="0">
                <a:pos x="366" y="40"/>
              </a:cxn>
              <a:cxn ang="0">
                <a:pos x="400" y="14"/>
              </a:cxn>
              <a:cxn ang="0">
                <a:pos x="543" y="57"/>
              </a:cxn>
              <a:cxn ang="0">
                <a:pos x="527" y="117"/>
              </a:cxn>
              <a:cxn ang="0">
                <a:pos x="543" y="413"/>
              </a:cxn>
              <a:cxn ang="0">
                <a:pos x="543" y="483"/>
              </a:cxn>
              <a:cxn ang="0">
                <a:pos x="512" y="485"/>
              </a:cxn>
              <a:cxn ang="0">
                <a:pos x="512" y="505"/>
              </a:cxn>
              <a:cxn ang="0">
                <a:pos x="234" y="362"/>
              </a:cxn>
              <a:cxn ang="0">
                <a:pos x="197" y="376"/>
              </a:cxn>
              <a:cxn ang="0">
                <a:pos x="82" y="359"/>
              </a:cxn>
              <a:cxn ang="0">
                <a:pos x="0" y="263"/>
              </a:cxn>
            </a:cxnLst>
            <a:rect l="0" t="0" r="r" b="b"/>
            <a:pathLst>
              <a:path w="543" h="505">
                <a:moveTo>
                  <a:pt x="0" y="263"/>
                </a:moveTo>
                <a:lnTo>
                  <a:pt x="1" y="108"/>
                </a:lnTo>
                <a:lnTo>
                  <a:pt x="70" y="0"/>
                </a:lnTo>
                <a:lnTo>
                  <a:pt x="199" y="31"/>
                </a:lnTo>
                <a:lnTo>
                  <a:pt x="224" y="69"/>
                </a:lnTo>
                <a:lnTo>
                  <a:pt x="329" y="108"/>
                </a:lnTo>
                <a:lnTo>
                  <a:pt x="363" y="95"/>
                </a:lnTo>
                <a:lnTo>
                  <a:pt x="366" y="40"/>
                </a:lnTo>
                <a:lnTo>
                  <a:pt x="400" y="14"/>
                </a:lnTo>
                <a:lnTo>
                  <a:pt x="543" y="57"/>
                </a:lnTo>
                <a:lnTo>
                  <a:pt x="527" y="117"/>
                </a:lnTo>
                <a:lnTo>
                  <a:pt x="543" y="413"/>
                </a:lnTo>
                <a:lnTo>
                  <a:pt x="543" y="483"/>
                </a:lnTo>
                <a:lnTo>
                  <a:pt x="512" y="485"/>
                </a:lnTo>
                <a:lnTo>
                  <a:pt x="512" y="505"/>
                </a:lnTo>
                <a:lnTo>
                  <a:pt x="234" y="362"/>
                </a:lnTo>
                <a:lnTo>
                  <a:pt x="197" y="376"/>
                </a:lnTo>
                <a:lnTo>
                  <a:pt x="82" y="359"/>
                </a:lnTo>
                <a:lnTo>
                  <a:pt x="0" y="26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87" name="Freeform 210"/>
          <p:cNvSpPr>
            <a:spLocks noChangeAspect="1"/>
          </p:cNvSpPr>
          <p:nvPr/>
        </p:nvSpPr>
        <p:spPr bwMode="gray">
          <a:xfrm>
            <a:off x="6823823" y="5073460"/>
            <a:ext cx="190215" cy="384060"/>
          </a:xfrm>
          <a:custGeom>
            <a:avLst/>
            <a:gdLst/>
            <a:ahLst/>
            <a:cxnLst>
              <a:cxn ang="0">
                <a:pos x="0" y="344"/>
              </a:cxn>
              <a:cxn ang="0">
                <a:pos x="22" y="443"/>
              </a:cxn>
              <a:cxn ang="0">
                <a:pos x="67" y="482"/>
              </a:cxn>
              <a:cxn ang="0">
                <a:pos x="143" y="443"/>
              </a:cxn>
              <a:cxn ang="0">
                <a:pos x="228" y="112"/>
              </a:cxn>
              <a:cxn ang="0">
                <a:pos x="244" y="124"/>
              </a:cxn>
              <a:cxn ang="0">
                <a:pos x="208" y="0"/>
              </a:cxn>
              <a:cxn ang="0">
                <a:pos x="164" y="52"/>
              </a:cxn>
              <a:cxn ang="0">
                <a:pos x="165" y="88"/>
              </a:cxn>
              <a:cxn ang="0">
                <a:pos x="110" y="128"/>
              </a:cxn>
              <a:cxn ang="0">
                <a:pos x="43" y="145"/>
              </a:cxn>
              <a:cxn ang="0">
                <a:pos x="24" y="187"/>
              </a:cxn>
              <a:cxn ang="0">
                <a:pos x="43" y="272"/>
              </a:cxn>
              <a:cxn ang="0">
                <a:pos x="0" y="344"/>
              </a:cxn>
            </a:cxnLst>
            <a:rect l="0" t="0" r="r" b="b"/>
            <a:pathLst>
              <a:path w="244" h="482">
                <a:moveTo>
                  <a:pt x="0" y="344"/>
                </a:moveTo>
                <a:lnTo>
                  <a:pt x="22" y="443"/>
                </a:lnTo>
                <a:lnTo>
                  <a:pt x="67" y="482"/>
                </a:lnTo>
                <a:lnTo>
                  <a:pt x="143" y="443"/>
                </a:lnTo>
                <a:lnTo>
                  <a:pt x="228" y="112"/>
                </a:lnTo>
                <a:lnTo>
                  <a:pt x="244" y="124"/>
                </a:lnTo>
                <a:lnTo>
                  <a:pt x="208" y="0"/>
                </a:lnTo>
                <a:lnTo>
                  <a:pt x="164" y="52"/>
                </a:lnTo>
                <a:lnTo>
                  <a:pt x="165" y="88"/>
                </a:lnTo>
                <a:lnTo>
                  <a:pt x="110" y="128"/>
                </a:lnTo>
                <a:lnTo>
                  <a:pt x="43" y="145"/>
                </a:lnTo>
                <a:lnTo>
                  <a:pt x="24" y="187"/>
                </a:lnTo>
                <a:lnTo>
                  <a:pt x="43" y="272"/>
                </a:lnTo>
                <a:lnTo>
                  <a:pt x="0" y="34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88" name="Freeform 211"/>
          <p:cNvSpPr>
            <a:spLocks noChangeAspect="1"/>
          </p:cNvSpPr>
          <p:nvPr/>
        </p:nvSpPr>
        <p:spPr bwMode="gray">
          <a:xfrm>
            <a:off x="6557134" y="4995961"/>
            <a:ext cx="82361" cy="215279"/>
          </a:xfrm>
          <a:custGeom>
            <a:avLst/>
            <a:gdLst/>
            <a:ahLst/>
            <a:cxnLst>
              <a:cxn ang="0">
                <a:pos x="0" y="148"/>
              </a:cxn>
              <a:cxn ang="0">
                <a:pos x="15" y="165"/>
              </a:cxn>
              <a:cxn ang="0">
                <a:pos x="59" y="178"/>
              </a:cxn>
              <a:cxn ang="0">
                <a:pos x="53" y="231"/>
              </a:cxn>
              <a:cxn ang="0">
                <a:pos x="91" y="271"/>
              </a:cxn>
              <a:cxn ang="0">
                <a:pos x="112" y="194"/>
              </a:cxn>
              <a:cxn ang="0">
                <a:pos x="76" y="143"/>
              </a:cxn>
              <a:cxn ang="0">
                <a:pos x="87" y="172"/>
              </a:cxn>
              <a:cxn ang="0">
                <a:pos x="66" y="170"/>
              </a:cxn>
              <a:cxn ang="0">
                <a:pos x="43" y="100"/>
              </a:cxn>
              <a:cxn ang="0">
                <a:pos x="42" y="7"/>
              </a:cxn>
              <a:cxn ang="0">
                <a:pos x="8" y="0"/>
              </a:cxn>
              <a:cxn ang="0">
                <a:pos x="35" y="45"/>
              </a:cxn>
              <a:cxn ang="0">
                <a:pos x="0" y="148"/>
              </a:cxn>
            </a:cxnLst>
            <a:rect l="0" t="0" r="r" b="b"/>
            <a:pathLst>
              <a:path w="112" h="271">
                <a:moveTo>
                  <a:pt x="0" y="148"/>
                </a:moveTo>
                <a:lnTo>
                  <a:pt x="15" y="165"/>
                </a:lnTo>
                <a:lnTo>
                  <a:pt x="59" y="178"/>
                </a:lnTo>
                <a:lnTo>
                  <a:pt x="53" y="231"/>
                </a:lnTo>
                <a:lnTo>
                  <a:pt x="91" y="271"/>
                </a:lnTo>
                <a:lnTo>
                  <a:pt x="112" y="194"/>
                </a:lnTo>
                <a:lnTo>
                  <a:pt x="76" y="143"/>
                </a:lnTo>
                <a:lnTo>
                  <a:pt x="87" y="172"/>
                </a:lnTo>
                <a:lnTo>
                  <a:pt x="66" y="170"/>
                </a:lnTo>
                <a:lnTo>
                  <a:pt x="43" y="100"/>
                </a:lnTo>
                <a:lnTo>
                  <a:pt x="42" y="7"/>
                </a:lnTo>
                <a:lnTo>
                  <a:pt x="8" y="0"/>
                </a:lnTo>
                <a:lnTo>
                  <a:pt x="35" y="45"/>
                </a:lnTo>
                <a:lnTo>
                  <a:pt x="0" y="14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89" name="Freeform 212"/>
          <p:cNvSpPr>
            <a:spLocks noChangeAspect="1"/>
          </p:cNvSpPr>
          <p:nvPr/>
        </p:nvSpPr>
        <p:spPr bwMode="gray">
          <a:xfrm>
            <a:off x="5380550" y="4036675"/>
            <a:ext cx="425531" cy="418505"/>
          </a:xfrm>
          <a:custGeom>
            <a:avLst/>
            <a:gdLst/>
            <a:ahLst/>
            <a:cxnLst>
              <a:cxn ang="0">
                <a:pos x="0" y="365"/>
              </a:cxn>
              <a:cxn ang="0">
                <a:pos x="23" y="328"/>
              </a:cxn>
              <a:cxn ang="0">
                <a:pos x="51" y="353"/>
              </a:cxn>
              <a:cxn ang="0">
                <a:pos x="226" y="342"/>
              </a:cxn>
              <a:cxn ang="0">
                <a:pos x="189" y="0"/>
              </a:cxn>
              <a:cxn ang="0">
                <a:pos x="250" y="0"/>
              </a:cxn>
              <a:cxn ang="0">
                <a:pos x="529" y="185"/>
              </a:cxn>
              <a:cxn ang="0">
                <a:pos x="532" y="217"/>
              </a:cxn>
              <a:cxn ang="0">
                <a:pos x="560" y="212"/>
              </a:cxn>
              <a:cxn ang="0">
                <a:pos x="561" y="321"/>
              </a:cxn>
              <a:cxn ang="0">
                <a:pos x="538" y="344"/>
              </a:cxn>
              <a:cxn ang="0">
                <a:pos x="425" y="359"/>
              </a:cxn>
              <a:cxn ang="0">
                <a:pos x="282" y="421"/>
              </a:cxn>
              <a:cxn ang="0">
                <a:pos x="238" y="521"/>
              </a:cxn>
              <a:cxn ang="0">
                <a:pos x="203" y="508"/>
              </a:cxn>
              <a:cxn ang="0">
                <a:pos x="141" y="527"/>
              </a:cxn>
              <a:cxn ang="0">
                <a:pos x="106" y="444"/>
              </a:cxn>
              <a:cxn ang="0">
                <a:pos x="47" y="464"/>
              </a:cxn>
              <a:cxn ang="0">
                <a:pos x="25" y="447"/>
              </a:cxn>
              <a:cxn ang="0">
                <a:pos x="0" y="365"/>
              </a:cxn>
            </a:cxnLst>
            <a:rect l="0" t="0" r="r" b="b"/>
            <a:pathLst>
              <a:path w="561" h="527">
                <a:moveTo>
                  <a:pt x="0" y="365"/>
                </a:moveTo>
                <a:lnTo>
                  <a:pt x="23" y="328"/>
                </a:lnTo>
                <a:lnTo>
                  <a:pt x="51" y="353"/>
                </a:lnTo>
                <a:lnTo>
                  <a:pt x="226" y="342"/>
                </a:lnTo>
                <a:lnTo>
                  <a:pt x="189" y="0"/>
                </a:lnTo>
                <a:lnTo>
                  <a:pt x="250" y="0"/>
                </a:lnTo>
                <a:lnTo>
                  <a:pt x="529" y="185"/>
                </a:lnTo>
                <a:lnTo>
                  <a:pt x="532" y="217"/>
                </a:lnTo>
                <a:lnTo>
                  <a:pt x="560" y="212"/>
                </a:lnTo>
                <a:lnTo>
                  <a:pt x="561" y="321"/>
                </a:lnTo>
                <a:lnTo>
                  <a:pt x="538" y="344"/>
                </a:lnTo>
                <a:lnTo>
                  <a:pt x="425" y="359"/>
                </a:lnTo>
                <a:lnTo>
                  <a:pt x="282" y="421"/>
                </a:lnTo>
                <a:lnTo>
                  <a:pt x="238" y="521"/>
                </a:lnTo>
                <a:lnTo>
                  <a:pt x="203" y="508"/>
                </a:lnTo>
                <a:lnTo>
                  <a:pt x="141" y="527"/>
                </a:lnTo>
                <a:lnTo>
                  <a:pt x="106" y="444"/>
                </a:lnTo>
                <a:lnTo>
                  <a:pt x="47" y="464"/>
                </a:lnTo>
                <a:lnTo>
                  <a:pt x="25" y="447"/>
                </a:lnTo>
                <a:lnTo>
                  <a:pt x="0" y="36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90" name="Freeform 213"/>
          <p:cNvSpPr>
            <a:spLocks noChangeAspect="1"/>
          </p:cNvSpPr>
          <p:nvPr/>
        </p:nvSpPr>
        <p:spPr bwMode="gray">
          <a:xfrm>
            <a:off x="5253090" y="3971233"/>
            <a:ext cx="317677" cy="354781"/>
          </a:xfrm>
          <a:custGeom>
            <a:avLst/>
            <a:gdLst/>
            <a:ahLst/>
            <a:cxnLst>
              <a:cxn ang="0">
                <a:pos x="0" y="225"/>
              </a:cxn>
              <a:cxn ang="0">
                <a:pos x="25" y="251"/>
              </a:cxn>
              <a:cxn ang="0">
                <a:pos x="30" y="318"/>
              </a:cxn>
              <a:cxn ang="0">
                <a:pos x="11" y="403"/>
              </a:cxn>
              <a:cxn ang="0">
                <a:pos x="89" y="384"/>
              </a:cxn>
              <a:cxn ang="0">
                <a:pos x="169" y="448"/>
              </a:cxn>
              <a:cxn ang="0">
                <a:pos x="192" y="411"/>
              </a:cxn>
              <a:cxn ang="0">
                <a:pos x="220" y="436"/>
              </a:cxn>
              <a:cxn ang="0">
                <a:pos x="395" y="425"/>
              </a:cxn>
              <a:cxn ang="0">
                <a:pos x="358" y="83"/>
              </a:cxn>
              <a:cxn ang="0">
                <a:pos x="419" y="83"/>
              </a:cxn>
              <a:cxn ang="0">
                <a:pos x="291" y="0"/>
              </a:cxn>
              <a:cxn ang="0">
                <a:pos x="288" y="45"/>
              </a:cxn>
              <a:cxn ang="0">
                <a:pos x="177" y="43"/>
              </a:cxn>
              <a:cxn ang="0">
                <a:pos x="175" y="137"/>
              </a:cxn>
              <a:cxn ang="0">
                <a:pos x="136" y="154"/>
              </a:cxn>
              <a:cxn ang="0">
                <a:pos x="138" y="211"/>
              </a:cxn>
              <a:cxn ang="0">
                <a:pos x="0" y="225"/>
              </a:cxn>
            </a:cxnLst>
            <a:rect l="0" t="0" r="r" b="b"/>
            <a:pathLst>
              <a:path w="419" h="448">
                <a:moveTo>
                  <a:pt x="0" y="225"/>
                </a:moveTo>
                <a:lnTo>
                  <a:pt x="25" y="251"/>
                </a:lnTo>
                <a:lnTo>
                  <a:pt x="30" y="318"/>
                </a:lnTo>
                <a:lnTo>
                  <a:pt x="11" y="403"/>
                </a:lnTo>
                <a:lnTo>
                  <a:pt x="89" y="384"/>
                </a:lnTo>
                <a:lnTo>
                  <a:pt x="169" y="448"/>
                </a:lnTo>
                <a:lnTo>
                  <a:pt x="192" y="411"/>
                </a:lnTo>
                <a:lnTo>
                  <a:pt x="220" y="436"/>
                </a:lnTo>
                <a:lnTo>
                  <a:pt x="395" y="425"/>
                </a:lnTo>
                <a:lnTo>
                  <a:pt x="358" y="83"/>
                </a:lnTo>
                <a:lnTo>
                  <a:pt x="419" y="83"/>
                </a:lnTo>
                <a:lnTo>
                  <a:pt x="291" y="0"/>
                </a:lnTo>
                <a:lnTo>
                  <a:pt x="288" y="45"/>
                </a:lnTo>
                <a:lnTo>
                  <a:pt x="177" y="43"/>
                </a:lnTo>
                <a:lnTo>
                  <a:pt x="175" y="137"/>
                </a:lnTo>
                <a:lnTo>
                  <a:pt x="136" y="154"/>
                </a:lnTo>
                <a:lnTo>
                  <a:pt x="138" y="211"/>
                </a:lnTo>
                <a:lnTo>
                  <a:pt x="0" y="22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91" name="Freeform 214"/>
          <p:cNvSpPr>
            <a:spLocks noChangeAspect="1"/>
          </p:cNvSpPr>
          <p:nvPr/>
        </p:nvSpPr>
        <p:spPr bwMode="gray">
          <a:xfrm>
            <a:off x="5358980" y="3716338"/>
            <a:ext cx="303951" cy="241114"/>
          </a:xfrm>
          <a:custGeom>
            <a:avLst/>
            <a:gdLst/>
            <a:ahLst/>
            <a:cxnLst>
              <a:cxn ang="0">
                <a:pos x="0" y="303"/>
              </a:cxn>
              <a:cxn ang="0">
                <a:pos x="100" y="244"/>
              </a:cxn>
              <a:cxn ang="0">
                <a:pos x="136" y="122"/>
              </a:cxn>
              <a:cxn ang="0">
                <a:pos x="221" y="61"/>
              </a:cxn>
              <a:cxn ang="0">
                <a:pos x="249" y="0"/>
              </a:cxn>
              <a:cxn ang="0">
                <a:pos x="374" y="19"/>
              </a:cxn>
              <a:cxn ang="0">
                <a:pos x="407" y="134"/>
              </a:cxn>
              <a:cxn ang="0">
                <a:pos x="351" y="137"/>
              </a:cxn>
              <a:cxn ang="0">
                <a:pos x="321" y="149"/>
              </a:cxn>
              <a:cxn ang="0">
                <a:pos x="326" y="180"/>
              </a:cxn>
              <a:cxn ang="0">
                <a:pos x="170" y="248"/>
              </a:cxn>
              <a:cxn ang="0">
                <a:pos x="151" y="307"/>
              </a:cxn>
              <a:cxn ang="0">
                <a:pos x="0" y="303"/>
              </a:cxn>
            </a:cxnLst>
            <a:rect l="0" t="0" r="r" b="b"/>
            <a:pathLst>
              <a:path w="407" h="307">
                <a:moveTo>
                  <a:pt x="0" y="303"/>
                </a:moveTo>
                <a:lnTo>
                  <a:pt x="100" y="244"/>
                </a:lnTo>
                <a:lnTo>
                  <a:pt x="136" y="122"/>
                </a:lnTo>
                <a:lnTo>
                  <a:pt x="221" y="61"/>
                </a:lnTo>
                <a:lnTo>
                  <a:pt x="249" y="0"/>
                </a:lnTo>
                <a:lnTo>
                  <a:pt x="374" y="19"/>
                </a:lnTo>
                <a:lnTo>
                  <a:pt x="407" y="134"/>
                </a:lnTo>
                <a:lnTo>
                  <a:pt x="351" y="137"/>
                </a:lnTo>
                <a:lnTo>
                  <a:pt x="321" y="149"/>
                </a:lnTo>
                <a:lnTo>
                  <a:pt x="326" y="180"/>
                </a:lnTo>
                <a:lnTo>
                  <a:pt x="170" y="248"/>
                </a:lnTo>
                <a:lnTo>
                  <a:pt x="151" y="307"/>
                </a:lnTo>
                <a:lnTo>
                  <a:pt x="0" y="30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92" name="Freeform 215"/>
          <p:cNvSpPr>
            <a:spLocks noChangeAspect="1"/>
          </p:cNvSpPr>
          <p:nvPr/>
        </p:nvSpPr>
        <p:spPr bwMode="gray">
          <a:xfrm>
            <a:off x="6482616" y="5025241"/>
            <a:ext cx="276497" cy="461559"/>
          </a:xfrm>
          <a:custGeom>
            <a:avLst/>
            <a:gdLst/>
            <a:ahLst/>
            <a:cxnLst>
              <a:cxn ang="0">
                <a:pos x="0" y="161"/>
              </a:cxn>
              <a:cxn ang="0">
                <a:pos x="10" y="179"/>
              </a:cxn>
              <a:cxn ang="0">
                <a:pos x="95" y="206"/>
              </a:cxn>
              <a:cxn ang="0">
                <a:pos x="104" y="242"/>
              </a:cxn>
              <a:cxn ang="0">
                <a:pos x="99" y="334"/>
              </a:cxn>
              <a:cxn ang="0">
                <a:pos x="54" y="430"/>
              </a:cxn>
              <a:cxn ang="0">
                <a:pos x="67" y="543"/>
              </a:cxn>
              <a:cxn ang="0">
                <a:pos x="71" y="578"/>
              </a:cxn>
              <a:cxn ang="0">
                <a:pos x="98" y="578"/>
              </a:cxn>
              <a:cxn ang="0">
                <a:pos x="98" y="540"/>
              </a:cxn>
              <a:cxn ang="0">
                <a:pos x="188" y="488"/>
              </a:cxn>
              <a:cxn ang="0">
                <a:pos x="162" y="334"/>
              </a:cxn>
              <a:cxn ang="0">
                <a:pos x="362" y="178"/>
              </a:cxn>
              <a:cxn ang="0">
                <a:pos x="365" y="0"/>
              </a:cxn>
              <a:cxn ang="0">
                <a:pos x="314" y="31"/>
              </a:cxn>
              <a:cxn ang="0">
                <a:pos x="175" y="40"/>
              </a:cxn>
              <a:cxn ang="0">
                <a:pos x="172" y="105"/>
              </a:cxn>
              <a:cxn ang="0">
                <a:pos x="208" y="156"/>
              </a:cxn>
              <a:cxn ang="0">
                <a:pos x="187" y="233"/>
              </a:cxn>
              <a:cxn ang="0">
                <a:pos x="149" y="193"/>
              </a:cxn>
              <a:cxn ang="0">
                <a:pos x="155" y="140"/>
              </a:cxn>
              <a:cxn ang="0">
                <a:pos x="111" y="127"/>
              </a:cxn>
              <a:cxn ang="0">
                <a:pos x="0" y="161"/>
              </a:cxn>
            </a:cxnLst>
            <a:rect l="0" t="0" r="r" b="b"/>
            <a:pathLst>
              <a:path w="365" h="578">
                <a:moveTo>
                  <a:pt x="0" y="161"/>
                </a:moveTo>
                <a:lnTo>
                  <a:pt x="10" y="179"/>
                </a:lnTo>
                <a:lnTo>
                  <a:pt x="95" y="206"/>
                </a:lnTo>
                <a:lnTo>
                  <a:pt x="104" y="242"/>
                </a:lnTo>
                <a:lnTo>
                  <a:pt x="99" y="334"/>
                </a:lnTo>
                <a:lnTo>
                  <a:pt x="54" y="430"/>
                </a:lnTo>
                <a:lnTo>
                  <a:pt x="67" y="543"/>
                </a:lnTo>
                <a:lnTo>
                  <a:pt x="71" y="578"/>
                </a:lnTo>
                <a:lnTo>
                  <a:pt x="98" y="578"/>
                </a:lnTo>
                <a:lnTo>
                  <a:pt x="98" y="540"/>
                </a:lnTo>
                <a:lnTo>
                  <a:pt x="188" y="488"/>
                </a:lnTo>
                <a:lnTo>
                  <a:pt x="162" y="334"/>
                </a:lnTo>
                <a:lnTo>
                  <a:pt x="362" y="178"/>
                </a:lnTo>
                <a:lnTo>
                  <a:pt x="365" y="0"/>
                </a:lnTo>
                <a:lnTo>
                  <a:pt x="314" y="31"/>
                </a:lnTo>
                <a:lnTo>
                  <a:pt x="175" y="40"/>
                </a:lnTo>
                <a:lnTo>
                  <a:pt x="172" y="105"/>
                </a:lnTo>
                <a:lnTo>
                  <a:pt x="208" y="156"/>
                </a:lnTo>
                <a:lnTo>
                  <a:pt x="187" y="233"/>
                </a:lnTo>
                <a:lnTo>
                  <a:pt x="149" y="193"/>
                </a:lnTo>
                <a:lnTo>
                  <a:pt x="155" y="140"/>
                </a:lnTo>
                <a:lnTo>
                  <a:pt x="111" y="127"/>
                </a:lnTo>
                <a:lnTo>
                  <a:pt x="0" y="16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93" name="Freeform 216"/>
          <p:cNvSpPr>
            <a:spLocks noChangeAspect="1"/>
          </p:cNvSpPr>
          <p:nvPr/>
        </p:nvSpPr>
        <p:spPr bwMode="gray">
          <a:xfrm>
            <a:off x="5704112" y="4079730"/>
            <a:ext cx="415725" cy="334114"/>
          </a:xfrm>
          <a:custGeom>
            <a:avLst/>
            <a:gdLst/>
            <a:ahLst/>
            <a:cxnLst>
              <a:cxn ang="0">
                <a:pos x="0" y="305"/>
              </a:cxn>
              <a:cxn ang="0">
                <a:pos x="8" y="339"/>
              </a:cxn>
              <a:cxn ang="0">
                <a:pos x="75" y="411"/>
              </a:cxn>
              <a:cxn ang="0">
                <a:pos x="92" y="395"/>
              </a:cxn>
              <a:cxn ang="0">
                <a:pos x="119" y="420"/>
              </a:cxn>
              <a:cxn ang="0">
                <a:pos x="160" y="348"/>
              </a:cxn>
              <a:cxn ang="0">
                <a:pos x="317" y="384"/>
              </a:cxn>
              <a:cxn ang="0">
                <a:pos x="453" y="346"/>
              </a:cxn>
              <a:cxn ang="0">
                <a:pos x="458" y="327"/>
              </a:cxn>
              <a:cxn ang="0">
                <a:pos x="529" y="236"/>
              </a:cxn>
              <a:cxn ang="0">
                <a:pos x="551" y="111"/>
              </a:cxn>
              <a:cxn ang="0">
                <a:pos x="514" y="72"/>
              </a:cxn>
              <a:cxn ang="0">
                <a:pos x="514" y="17"/>
              </a:cxn>
              <a:cxn ang="0">
                <a:pos x="399" y="0"/>
              </a:cxn>
              <a:cxn ang="0">
                <a:pos x="189" y="145"/>
              </a:cxn>
              <a:cxn ang="0">
                <a:pos x="135" y="158"/>
              </a:cxn>
              <a:cxn ang="0">
                <a:pos x="136" y="267"/>
              </a:cxn>
              <a:cxn ang="0">
                <a:pos x="113" y="290"/>
              </a:cxn>
              <a:cxn ang="0">
                <a:pos x="0" y="305"/>
              </a:cxn>
            </a:cxnLst>
            <a:rect l="0" t="0" r="r" b="b"/>
            <a:pathLst>
              <a:path w="551" h="420">
                <a:moveTo>
                  <a:pt x="0" y="305"/>
                </a:moveTo>
                <a:lnTo>
                  <a:pt x="8" y="339"/>
                </a:lnTo>
                <a:lnTo>
                  <a:pt x="75" y="411"/>
                </a:lnTo>
                <a:lnTo>
                  <a:pt x="92" y="395"/>
                </a:lnTo>
                <a:lnTo>
                  <a:pt x="119" y="420"/>
                </a:lnTo>
                <a:lnTo>
                  <a:pt x="160" y="348"/>
                </a:lnTo>
                <a:lnTo>
                  <a:pt x="317" y="384"/>
                </a:lnTo>
                <a:lnTo>
                  <a:pt x="453" y="346"/>
                </a:lnTo>
                <a:lnTo>
                  <a:pt x="458" y="327"/>
                </a:lnTo>
                <a:lnTo>
                  <a:pt x="529" y="236"/>
                </a:lnTo>
                <a:lnTo>
                  <a:pt x="551" y="111"/>
                </a:lnTo>
                <a:lnTo>
                  <a:pt x="514" y="72"/>
                </a:lnTo>
                <a:lnTo>
                  <a:pt x="514" y="17"/>
                </a:lnTo>
                <a:lnTo>
                  <a:pt x="399" y="0"/>
                </a:lnTo>
                <a:lnTo>
                  <a:pt x="189" y="145"/>
                </a:lnTo>
                <a:lnTo>
                  <a:pt x="135" y="158"/>
                </a:lnTo>
                <a:lnTo>
                  <a:pt x="136" y="267"/>
                </a:lnTo>
                <a:lnTo>
                  <a:pt x="113" y="290"/>
                </a:lnTo>
                <a:lnTo>
                  <a:pt x="0" y="305"/>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94" name="Freeform 217"/>
          <p:cNvSpPr>
            <a:spLocks noChangeAspect="1"/>
          </p:cNvSpPr>
          <p:nvPr/>
        </p:nvSpPr>
        <p:spPr bwMode="gray">
          <a:xfrm>
            <a:off x="5774707" y="4353566"/>
            <a:ext cx="301989" cy="268670"/>
          </a:xfrm>
          <a:custGeom>
            <a:avLst/>
            <a:gdLst/>
            <a:ahLst/>
            <a:cxnLst>
              <a:cxn ang="0">
                <a:pos x="0" y="261"/>
              </a:cxn>
              <a:cxn ang="0">
                <a:pos x="27" y="74"/>
              </a:cxn>
              <a:cxn ang="0">
                <a:pos x="68" y="2"/>
              </a:cxn>
              <a:cxn ang="0">
                <a:pos x="225" y="38"/>
              </a:cxn>
              <a:cxn ang="0">
                <a:pos x="361" y="0"/>
              </a:cxn>
              <a:cxn ang="0">
                <a:pos x="388" y="44"/>
              </a:cxn>
              <a:cxn ang="0">
                <a:pos x="402" y="74"/>
              </a:cxn>
              <a:cxn ang="0">
                <a:pos x="367" y="101"/>
              </a:cxn>
              <a:cxn ang="0">
                <a:pos x="295" y="252"/>
              </a:cxn>
              <a:cxn ang="0">
                <a:pos x="230" y="242"/>
              </a:cxn>
              <a:cxn ang="0">
                <a:pos x="192" y="316"/>
              </a:cxn>
              <a:cxn ang="0">
                <a:pos x="115" y="335"/>
              </a:cxn>
              <a:cxn ang="0">
                <a:pos x="68" y="269"/>
              </a:cxn>
              <a:cxn ang="0">
                <a:pos x="0" y="261"/>
              </a:cxn>
            </a:cxnLst>
            <a:rect l="0" t="0" r="r" b="b"/>
            <a:pathLst>
              <a:path w="402" h="335">
                <a:moveTo>
                  <a:pt x="0" y="261"/>
                </a:moveTo>
                <a:lnTo>
                  <a:pt x="27" y="74"/>
                </a:lnTo>
                <a:lnTo>
                  <a:pt x="68" y="2"/>
                </a:lnTo>
                <a:lnTo>
                  <a:pt x="225" y="38"/>
                </a:lnTo>
                <a:lnTo>
                  <a:pt x="361" y="0"/>
                </a:lnTo>
                <a:lnTo>
                  <a:pt x="388" y="44"/>
                </a:lnTo>
                <a:lnTo>
                  <a:pt x="402" y="74"/>
                </a:lnTo>
                <a:lnTo>
                  <a:pt x="367" y="101"/>
                </a:lnTo>
                <a:lnTo>
                  <a:pt x="295" y="252"/>
                </a:lnTo>
                <a:lnTo>
                  <a:pt x="230" y="242"/>
                </a:lnTo>
                <a:lnTo>
                  <a:pt x="192" y="316"/>
                </a:lnTo>
                <a:lnTo>
                  <a:pt x="115" y="335"/>
                </a:lnTo>
                <a:lnTo>
                  <a:pt x="68" y="269"/>
                </a:lnTo>
                <a:lnTo>
                  <a:pt x="0" y="26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95" name="Freeform 218"/>
          <p:cNvSpPr>
            <a:spLocks noChangeAspect="1"/>
          </p:cNvSpPr>
          <p:nvPr/>
        </p:nvSpPr>
        <p:spPr bwMode="gray">
          <a:xfrm>
            <a:off x="5258970" y="4388010"/>
            <a:ext cx="80400" cy="46502"/>
          </a:xfrm>
          <a:custGeom>
            <a:avLst/>
            <a:gdLst/>
            <a:ahLst/>
            <a:cxnLst>
              <a:cxn ang="0">
                <a:pos x="0" y="8"/>
              </a:cxn>
              <a:cxn ang="0">
                <a:pos x="29" y="35"/>
              </a:cxn>
              <a:cxn ang="0">
                <a:pos x="64" y="26"/>
              </a:cxn>
              <a:cxn ang="0">
                <a:pos x="44" y="35"/>
              </a:cxn>
              <a:cxn ang="0">
                <a:pos x="60" y="62"/>
              </a:cxn>
              <a:cxn ang="0">
                <a:pos x="103" y="35"/>
              </a:cxn>
              <a:cxn ang="0">
                <a:pos x="104" y="0"/>
              </a:cxn>
              <a:cxn ang="0">
                <a:pos x="0" y="8"/>
              </a:cxn>
            </a:cxnLst>
            <a:rect l="0" t="0" r="r" b="b"/>
            <a:pathLst>
              <a:path w="104" h="62">
                <a:moveTo>
                  <a:pt x="0" y="8"/>
                </a:moveTo>
                <a:lnTo>
                  <a:pt x="29" y="35"/>
                </a:lnTo>
                <a:lnTo>
                  <a:pt x="64" y="26"/>
                </a:lnTo>
                <a:lnTo>
                  <a:pt x="44" y="35"/>
                </a:lnTo>
                <a:lnTo>
                  <a:pt x="60" y="62"/>
                </a:lnTo>
                <a:lnTo>
                  <a:pt x="103" y="35"/>
                </a:lnTo>
                <a:lnTo>
                  <a:pt x="104" y="0"/>
                </a:lnTo>
                <a:lnTo>
                  <a:pt x="0" y="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96" name="Freeform 219"/>
          <p:cNvSpPr>
            <a:spLocks noChangeAspect="1"/>
          </p:cNvSpPr>
          <p:nvPr/>
        </p:nvSpPr>
        <p:spPr bwMode="gray">
          <a:xfrm>
            <a:off x="7027764" y="4003953"/>
            <a:ext cx="15688" cy="44778"/>
          </a:xfrm>
          <a:custGeom>
            <a:avLst/>
            <a:gdLst/>
            <a:ahLst/>
            <a:cxnLst>
              <a:cxn ang="0">
                <a:pos x="0" y="47"/>
              </a:cxn>
              <a:cxn ang="0">
                <a:pos x="9" y="56"/>
              </a:cxn>
              <a:cxn ang="0">
                <a:pos x="19" y="54"/>
              </a:cxn>
              <a:cxn ang="0">
                <a:pos x="11" y="0"/>
              </a:cxn>
              <a:cxn ang="0">
                <a:pos x="0" y="47"/>
              </a:cxn>
            </a:cxnLst>
            <a:rect l="0" t="0" r="r" b="b"/>
            <a:pathLst>
              <a:path w="19" h="56">
                <a:moveTo>
                  <a:pt x="0" y="47"/>
                </a:moveTo>
                <a:lnTo>
                  <a:pt x="9" y="56"/>
                </a:lnTo>
                <a:lnTo>
                  <a:pt x="19" y="54"/>
                </a:lnTo>
                <a:lnTo>
                  <a:pt x="11" y="0"/>
                </a:lnTo>
                <a:lnTo>
                  <a:pt x="0" y="4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97" name="Freeform 220"/>
          <p:cNvSpPr>
            <a:spLocks noChangeAspect="1"/>
          </p:cNvSpPr>
          <p:nvPr/>
        </p:nvSpPr>
        <p:spPr bwMode="gray">
          <a:xfrm>
            <a:off x="6461047" y="4765181"/>
            <a:ext cx="45103" cy="44778"/>
          </a:xfrm>
          <a:custGeom>
            <a:avLst/>
            <a:gdLst/>
            <a:ahLst/>
            <a:cxnLst>
              <a:cxn ang="0">
                <a:pos x="0" y="56"/>
              </a:cxn>
              <a:cxn ang="0">
                <a:pos x="23" y="10"/>
              </a:cxn>
              <a:cxn ang="0">
                <a:pos x="50" y="0"/>
              </a:cxn>
              <a:cxn ang="0">
                <a:pos x="58" y="46"/>
              </a:cxn>
              <a:cxn ang="0">
                <a:pos x="0" y="56"/>
              </a:cxn>
            </a:cxnLst>
            <a:rect l="0" t="0" r="r" b="b"/>
            <a:pathLst>
              <a:path w="58" h="56">
                <a:moveTo>
                  <a:pt x="0" y="56"/>
                </a:moveTo>
                <a:lnTo>
                  <a:pt x="23" y="10"/>
                </a:lnTo>
                <a:lnTo>
                  <a:pt x="50" y="0"/>
                </a:lnTo>
                <a:lnTo>
                  <a:pt x="58" y="46"/>
                </a:lnTo>
                <a:lnTo>
                  <a:pt x="0" y="5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98" name="Freeform 221"/>
          <p:cNvSpPr>
            <a:spLocks noChangeAspect="1"/>
          </p:cNvSpPr>
          <p:nvPr/>
        </p:nvSpPr>
        <p:spPr bwMode="gray">
          <a:xfrm>
            <a:off x="5237401" y="4276066"/>
            <a:ext cx="164721" cy="117113"/>
          </a:xfrm>
          <a:custGeom>
            <a:avLst/>
            <a:gdLst/>
            <a:ahLst/>
            <a:cxnLst>
              <a:cxn ang="0">
                <a:pos x="0" y="64"/>
              </a:cxn>
              <a:cxn ang="0">
                <a:pos x="32" y="105"/>
              </a:cxn>
              <a:cxn ang="0">
                <a:pos x="131" y="113"/>
              </a:cxn>
              <a:cxn ang="0">
                <a:pos x="28" y="126"/>
              </a:cxn>
              <a:cxn ang="0">
                <a:pos x="28" y="146"/>
              </a:cxn>
              <a:cxn ang="0">
                <a:pos x="132" y="138"/>
              </a:cxn>
              <a:cxn ang="0">
                <a:pos x="215" y="146"/>
              </a:cxn>
              <a:cxn ang="0">
                <a:pos x="190" y="64"/>
              </a:cxn>
              <a:cxn ang="0">
                <a:pos x="110" y="0"/>
              </a:cxn>
              <a:cxn ang="0">
                <a:pos x="32" y="19"/>
              </a:cxn>
              <a:cxn ang="0">
                <a:pos x="0" y="64"/>
              </a:cxn>
            </a:cxnLst>
            <a:rect l="0" t="0" r="r" b="b"/>
            <a:pathLst>
              <a:path w="215" h="146">
                <a:moveTo>
                  <a:pt x="0" y="64"/>
                </a:moveTo>
                <a:lnTo>
                  <a:pt x="32" y="105"/>
                </a:lnTo>
                <a:lnTo>
                  <a:pt x="131" y="113"/>
                </a:lnTo>
                <a:lnTo>
                  <a:pt x="28" y="126"/>
                </a:lnTo>
                <a:lnTo>
                  <a:pt x="28" y="146"/>
                </a:lnTo>
                <a:lnTo>
                  <a:pt x="132" y="138"/>
                </a:lnTo>
                <a:lnTo>
                  <a:pt x="215" y="146"/>
                </a:lnTo>
                <a:lnTo>
                  <a:pt x="190" y="64"/>
                </a:lnTo>
                <a:lnTo>
                  <a:pt x="110" y="0"/>
                </a:lnTo>
                <a:lnTo>
                  <a:pt x="32" y="19"/>
                </a:lnTo>
                <a:lnTo>
                  <a:pt x="0" y="6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299" name="Freeform 222"/>
          <p:cNvSpPr>
            <a:spLocks noChangeAspect="1"/>
          </p:cNvSpPr>
          <p:nvPr/>
        </p:nvSpPr>
        <p:spPr bwMode="gray">
          <a:xfrm>
            <a:off x="5349175" y="4463790"/>
            <a:ext cx="84322" cy="84390"/>
          </a:xfrm>
          <a:custGeom>
            <a:avLst/>
            <a:gdLst/>
            <a:ahLst/>
            <a:cxnLst>
              <a:cxn ang="0">
                <a:pos x="0" y="29"/>
              </a:cxn>
              <a:cxn ang="0">
                <a:pos x="11" y="71"/>
              </a:cxn>
              <a:cxn ang="0">
                <a:pos x="64" y="104"/>
              </a:cxn>
              <a:cxn ang="0">
                <a:pos x="106" y="53"/>
              </a:cxn>
              <a:cxn ang="0">
                <a:pos x="72" y="0"/>
              </a:cxn>
              <a:cxn ang="0">
                <a:pos x="0" y="29"/>
              </a:cxn>
            </a:cxnLst>
            <a:rect l="0" t="0" r="r" b="b"/>
            <a:pathLst>
              <a:path w="106" h="104">
                <a:moveTo>
                  <a:pt x="0" y="29"/>
                </a:moveTo>
                <a:lnTo>
                  <a:pt x="11" y="71"/>
                </a:lnTo>
                <a:lnTo>
                  <a:pt x="64" y="104"/>
                </a:lnTo>
                <a:lnTo>
                  <a:pt x="106" y="53"/>
                </a:lnTo>
                <a:lnTo>
                  <a:pt x="72" y="0"/>
                </a:lnTo>
                <a:lnTo>
                  <a:pt x="0" y="2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00" name="Freeform 223"/>
          <p:cNvSpPr>
            <a:spLocks noChangeAspect="1"/>
          </p:cNvSpPr>
          <p:nvPr/>
        </p:nvSpPr>
        <p:spPr bwMode="gray">
          <a:xfrm>
            <a:off x="6774799" y="4408678"/>
            <a:ext cx="266692" cy="377171"/>
          </a:xfrm>
          <a:custGeom>
            <a:avLst/>
            <a:gdLst/>
            <a:ahLst/>
            <a:cxnLst>
              <a:cxn ang="0">
                <a:pos x="0" y="443"/>
              </a:cxn>
              <a:cxn ang="0">
                <a:pos x="0" y="316"/>
              </a:cxn>
              <a:cxn ang="0">
                <a:pos x="28" y="278"/>
              </a:cxn>
              <a:cxn ang="0">
                <a:pos x="137" y="240"/>
              </a:cxn>
              <a:cxn ang="0">
                <a:pos x="243" y="135"/>
              </a:cxn>
              <a:cxn ang="0">
                <a:pos x="106" y="101"/>
              </a:cxn>
              <a:cxn ang="0">
                <a:pos x="64" y="38"/>
              </a:cxn>
              <a:cxn ang="0">
                <a:pos x="78" y="17"/>
              </a:cxn>
              <a:cxn ang="0">
                <a:pos x="133" y="55"/>
              </a:cxn>
              <a:cxn ang="0">
                <a:pos x="339" y="0"/>
              </a:cxn>
              <a:cxn ang="0">
                <a:pos x="355" y="55"/>
              </a:cxn>
              <a:cxn ang="0">
                <a:pos x="230" y="275"/>
              </a:cxn>
              <a:cxn ang="0">
                <a:pos x="17" y="471"/>
              </a:cxn>
              <a:cxn ang="0">
                <a:pos x="0" y="443"/>
              </a:cxn>
            </a:cxnLst>
            <a:rect l="0" t="0" r="r" b="b"/>
            <a:pathLst>
              <a:path w="355" h="471">
                <a:moveTo>
                  <a:pt x="0" y="443"/>
                </a:moveTo>
                <a:lnTo>
                  <a:pt x="0" y="316"/>
                </a:lnTo>
                <a:lnTo>
                  <a:pt x="28" y="278"/>
                </a:lnTo>
                <a:lnTo>
                  <a:pt x="137" y="240"/>
                </a:lnTo>
                <a:lnTo>
                  <a:pt x="243" y="135"/>
                </a:lnTo>
                <a:lnTo>
                  <a:pt x="106" y="101"/>
                </a:lnTo>
                <a:lnTo>
                  <a:pt x="64" y="38"/>
                </a:lnTo>
                <a:lnTo>
                  <a:pt x="78" y="17"/>
                </a:lnTo>
                <a:lnTo>
                  <a:pt x="133" y="55"/>
                </a:lnTo>
                <a:lnTo>
                  <a:pt x="339" y="0"/>
                </a:lnTo>
                <a:lnTo>
                  <a:pt x="355" y="55"/>
                </a:lnTo>
                <a:lnTo>
                  <a:pt x="230" y="275"/>
                </a:lnTo>
                <a:lnTo>
                  <a:pt x="17" y="471"/>
                </a:lnTo>
                <a:lnTo>
                  <a:pt x="0" y="44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01" name="Freeform 224"/>
          <p:cNvSpPr>
            <a:spLocks noChangeAspect="1"/>
          </p:cNvSpPr>
          <p:nvPr/>
        </p:nvSpPr>
        <p:spPr bwMode="gray">
          <a:xfrm>
            <a:off x="6355153" y="5169908"/>
            <a:ext cx="207863" cy="201503"/>
          </a:xfrm>
          <a:custGeom>
            <a:avLst/>
            <a:gdLst/>
            <a:ahLst/>
            <a:cxnLst>
              <a:cxn ang="0">
                <a:pos x="0" y="77"/>
              </a:cxn>
              <a:cxn ang="0">
                <a:pos x="61" y="79"/>
              </a:cxn>
              <a:cxn ang="0">
                <a:pos x="122" y="33"/>
              </a:cxn>
              <a:cxn ang="0">
                <a:pos x="126" y="14"/>
              </a:cxn>
              <a:cxn ang="0">
                <a:pos x="179" y="0"/>
              </a:cxn>
              <a:cxn ang="0">
                <a:pos x="264" y="27"/>
              </a:cxn>
              <a:cxn ang="0">
                <a:pos x="273" y="63"/>
              </a:cxn>
              <a:cxn ang="0">
                <a:pos x="268" y="155"/>
              </a:cxn>
              <a:cxn ang="0">
                <a:pos x="223" y="251"/>
              </a:cxn>
              <a:cxn ang="0">
                <a:pos x="144" y="234"/>
              </a:cxn>
              <a:cxn ang="0">
                <a:pos x="97" y="211"/>
              </a:cxn>
              <a:cxn ang="0">
                <a:pos x="0" y="77"/>
              </a:cxn>
            </a:cxnLst>
            <a:rect l="0" t="0" r="r" b="b"/>
            <a:pathLst>
              <a:path w="273" h="251">
                <a:moveTo>
                  <a:pt x="0" y="77"/>
                </a:moveTo>
                <a:lnTo>
                  <a:pt x="61" y="79"/>
                </a:lnTo>
                <a:lnTo>
                  <a:pt x="122" y="33"/>
                </a:lnTo>
                <a:lnTo>
                  <a:pt x="126" y="14"/>
                </a:lnTo>
                <a:lnTo>
                  <a:pt x="179" y="0"/>
                </a:lnTo>
                <a:lnTo>
                  <a:pt x="264" y="27"/>
                </a:lnTo>
                <a:lnTo>
                  <a:pt x="273" y="63"/>
                </a:lnTo>
                <a:lnTo>
                  <a:pt x="268" y="155"/>
                </a:lnTo>
                <a:lnTo>
                  <a:pt x="223" y="251"/>
                </a:lnTo>
                <a:lnTo>
                  <a:pt x="144" y="234"/>
                </a:lnTo>
                <a:lnTo>
                  <a:pt x="97" y="211"/>
                </a:lnTo>
                <a:lnTo>
                  <a:pt x="0" y="77"/>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02" name="Freeform 225"/>
          <p:cNvSpPr>
            <a:spLocks noChangeAspect="1"/>
          </p:cNvSpPr>
          <p:nvPr/>
        </p:nvSpPr>
        <p:spPr bwMode="gray">
          <a:xfrm>
            <a:off x="5998257" y="5206075"/>
            <a:ext cx="356896" cy="354781"/>
          </a:xfrm>
          <a:custGeom>
            <a:avLst/>
            <a:gdLst/>
            <a:ahLst/>
            <a:cxnLst>
              <a:cxn ang="0">
                <a:pos x="0" y="14"/>
              </a:cxn>
              <a:cxn ang="0">
                <a:pos x="58" y="0"/>
              </a:cxn>
              <a:cxn ang="0">
                <a:pos x="340" y="41"/>
              </a:cxn>
              <a:cxn ang="0">
                <a:pos x="405" y="23"/>
              </a:cxn>
              <a:cxn ang="0">
                <a:pos x="471" y="31"/>
              </a:cxn>
              <a:cxn ang="0">
                <a:pos x="413" y="63"/>
              </a:cxn>
              <a:cxn ang="0">
                <a:pos x="391" y="41"/>
              </a:cxn>
              <a:cxn ang="0">
                <a:pos x="325" y="56"/>
              </a:cxn>
              <a:cxn ang="0">
                <a:pos x="325" y="181"/>
              </a:cxn>
              <a:cxn ang="0">
                <a:pos x="289" y="182"/>
              </a:cxn>
              <a:cxn ang="0">
                <a:pos x="289" y="279"/>
              </a:cxn>
              <a:cxn ang="0">
                <a:pos x="289" y="420"/>
              </a:cxn>
              <a:cxn ang="0">
                <a:pos x="259" y="442"/>
              </a:cxn>
              <a:cxn ang="0">
                <a:pos x="215" y="442"/>
              </a:cxn>
              <a:cxn ang="0">
                <a:pos x="191" y="412"/>
              </a:cxn>
              <a:cxn ang="0">
                <a:pos x="170" y="428"/>
              </a:cxn>
              <a:cxn ang="0">
                <a:pos x="125" y="379"/>
              </a:cxn>
              <a:cxn ang="0">
                <a:pos x="100" y="225"/>
              </a:cxn>
              <a:cxn ang="0">
                <a:pos x="100" y="206"/>
              </a:cxn>
              <a:cxn ang="0">
                <a:pos x="0" y="14"/>
              </a:cxn>
            </a:cxnLst>
            <a:rect l="0" t="0" r="r" b="b"/>
            <a:pathLst>
              <a:path w="471" h="442">
                <a:moveTo>
                  <a:pt x="0" y="14"/>
                </a:moveTo>
                <a:lnTo>
                  <a:pt x="58" y="0"/>
                </a:lnTo>
                <a:lnTo>
                  <a:pt x="340" y="41"/>
                </a:lnTo>
                <a:lnTo>
                  <a:pt x="405" y="23"/>
                </a:lnTo>
                <a:lnTo>
                  <a:pt x="471" y="31"/>
                </a:lnTo>
                <a:lnTo>
                  <a:pt x="413" y="63"/>
                </a:lnTo>
                <a:lnTo>
                  <a:pt x="391" y="41"/>
                </a:lnTo>
                <a:lnTo>
                  <a:pt x="325" y="56"/>
                </a:lnTo>
                <a:lnTo>
                  <a:pt x="325" y="181"/>
                </a:lnTo>
                <a:lnTo>
                  <a:pt x="289" y="182"/>
                </a:lnTo>
                <a:lnTo>
                  <a:pt x="289" y="279"/>
                </a:lnTo>
                <a:lnTo>
                  <a:pt x="289" y="420"/>
                </a:lnTo>
                <a:lnTo>
                  <a:pt x="259" y="442"/>
                </a:lnTo>
                <a:lnTo>
                  <a:pt x="215" y="442"/>
                </a:lnTo>
                <a:lnTo>
                  <a:pt x="191" y="412"/>
                </a:lnTo>
                <a:lnTo>
                  <a:pt x="170" y="428"/>
                </a:lnTo>
                <a:lnTo>
                  <a:pt x="125" y="379"/>
                </a:lnTo>
                <a:lnTo>
                  <a:pt x="100" y="225"/>
                </a:lnTo>
                <a:lnTo>
                  <a:pt x="100" y="206"/>
                </a:lnTo>
                <a:lnTo>
                  <a:pt x="0" y="1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03" name="Freeform 226"/>
          <p:cNvSpPr>
            <a:spLocks noChangeAspect="1"/>
          </p:cNvSpPr>
          <p:nvPr/>
        </p:nvSpPr>
        <p:spPr bwMode="gray">
          <a:xfrm>
            <a:off x="5253089" y="3955730"/>
            <a:ext cx="217668" cy="194613"/>
          </a:xfrm>
          <a:custGeom>
            <a:avLst/>
            <a:gdLst/>
            <a:ahLst/>
            <a:cxnLst>
              <a:cxn ang="0">
                <a:pos x="0" y="242"/>
              </a:cxn>
              <a:cxn ang="0">
                <a:pos x="137" y="0"/>
              </a:cxn>
              <a:cxn ang="0">
                <a:pos x="288" y="4"/>
              </a:cxn>
              <a:cxn ang="0">
                <a:pos x="291" y="17"/>
              </a:cxn>
              <a:cxn ang="0">
                <a:pos x="288" y="62"/>
              </a:cxn>
              <a:cxn ang="0">
                <a:pos x="177" y="60"/>
              </a:cxn>
              <a:cxn ang="0">
                <a:pos x="175" y="154"/>
              </a:cxn>
              <a:cxn ang="0">
                <a:pos x="136" y="171"/>
              </a:cxn>
              <a:cxn ang="0">
                <a:pos x="138" y="228"/>
              </a:cxn>
              <a:cxn ang="0">
                <a:pos x="0" y="242"/>
              </a:cxn>
            </a:cxnLst>
            <a:rect l="0" t="0" r="r" b="b"/>
            <a:pathLst>
              <a:path w="291" h="242">
                <a:moveTo>
                  <a:pt x="0" y="242"/>
                </a:moveTo>
                <a:lnTo>
                  <a:pt x="137" y="0"/>
                </a:lnTo>
                <a:lnTo>
                  <a:pt x="288" y="4"/>
                </a:lnTo>
                <a:lnTo>
                  <a:pt x="291" y="17"/>
                </a:lnTo>
                <a:lnTo>
                  <a:pt x="288" y="62"/>
                </a:lnTo>
                <a:lnTo>
                  <a:pt x="177" y="60"/>
                </a:lnTo>
                <a:lnTo>
                  <a:pt x="175" y="154"/>
                </a:lnTo>
                <a:lnTo>
                  <a:pt x="136" y="171"/>
                </a:lnTo>
                <a:lnTo>
                  <a:pt x="138" y="228"/>
                </a:lnTo>
                <a:lnTo>
                  <a:pt x="0" y="24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04" name="Freeform 227"/>
          <p:cNvSpPr>
            <a:spLocks noChangeAspect="1"/>
          </p:cNvSpPr>
          <p:nvPr/>
        </p:nvSpPr>
        <p:spPr bwMode="gray">
          <a:xfrm>
            <a:off x="6272794" y="4095233"/>
            <a:ext cx="437297" cy="544226"/>
          </a:xfrm>
          <a:custGeom>
            <a:avLst/>
            <a:gdLst/>
            <a:ahLst/>
            <a:cxnLst>
              <a:cxn ang="0">
                <a:pos x="0" y="361"/>
              </a:cxn>
              <a:cxn ang="0">
                <a:pos x="27" y="429"/>
              </a:cxn>
              <a:cxn ang="0">
                <a:pos x="52" y="504"/>
              </a:cxn>
              <a:cxn ang="0">
                <a:pos x="111" y="531"/>
              </a:cxn>
              <a:cxn ang="0">
                <a:pos x="196" y="632"/>
              </a:cxn>
              <a:cxn ang="0">
                <a:pos x="311" y="684"/>
              </a:cxn>
              <a:cxn ang="0">
                <a:pos x="418" y="671"/>
              </a:cxn>
              <a:cxn ang="0">
                <a:pos x="483" y="651"/>
              </a:cxn>
              <a:cxn ang="0">
                <a:pos x="444" y="579"/>
              </a:cxn>
              <a:cxn ang="0">
                <a:pos x="383" y="537"/>
              </a:cxn>
              <a:cxn ang="0">
                <a:pos x="423" y="510"/>
              </a:cxn>
              <a:cxn ang="0">
                <a:pos x="427" y="446"/>
              </a:cxn>
              <a:cxn ang="0">
                <a:pos x="495" y="362"/>
              </a:cxn>
              <a:cxn ang="0">
                <a:pos x="522" y="214"/>
              </a:cxn>
              <a:cxn ang="0">
                <a:pos x="576" y="181"/>
              </a:cxn>
              <a:cxn ang="0">
                <a:pos x="534" y="149"/>
              </a:cxn>
              <a:cxn ang="0">
                <a:pos x="518" y="39"/>
              </a:cxn>
              <a:cxn ang="0">
                <a:pos x="473" y="0"/>
              </a:cxn>
              <a:cxn ang="0">
                <a:pos x="418" y="47"/>
              </a:cxn>
              <a:cxn ang="0">
                <a:pos x="105" y="38"/>
              </a:cxn>
              <a:cxn ang="0">
                <a:pos x="105" y="108"/>
              </a:cxn>
              <a:cxn ang="0">
                <a:pos x="74" y="110"/>
              </a:cxn>
              <a:cxn ang="0">
                <a:pos x="74" y="130"/>
              </a:cxn>
              <a:cxn ang="0">
                <a:pos x="72" y="261"/>
              </a:cxn>
              <a:cxn ang="0">
                <a:pos x="37" y="268"/>
              </a:cxn>
              <a:cxn ang="0">
                <a:pos x="0" y="361"/>
              </a:cxn>
            </a:cxnLst>
            <a:rect l="0" t="0" r="r" b="b"/>
            <a:pathLst>
              <a:path w="576" h="684">
                <a:moveTo>
                  <a:pt x="0" y="361"/>
                </a:moveTo>
                <a:lnTo>
                  <a:pt x="27" y="429"/>
                </a:lnTo>
                <a:lnTo>
                  <a:pt x="52" y="504"/>
                </a:lnTo>
                <a:lnTo>
                  <a:pt x="111" y="531"/>
                </a:lnTo>
                <a:lnTo>
                  <a:pt x="196" y="632"/>
                </a:lnTo>
                <a:lnTo>
                  <a:pt x="311" y="684"/>
                </a:lnTo>
                <a:lnTo>
                  <a:pt x="418" y="671"/>
                </a:lnTo>
                <a:lnTo>
                  <a:pt x="483" y="651"/>
                </a:lnTo>
                <a:lnTo>
                  <a:pt x="444" y="579"/>
                </a:lnTo>
                <a:lnTo>
                  <a:pt x="383" y="537"/>
                </a:lnTo>
                <a:lnTo>
                  <a:pt x="423" y="510"/>
                </a:lnTo>
                <a:lnTo>
                  <a:pt x="427" y="446"/>
                </a:lnTo>
                <a:lnTo>
                  <a:pt x="495" y="362"/>
                </a:lnTo>
                <a:lnTo>
                  <a:pt x="522" y="214"/>
                </a:lnTo>
                <a:lnTo>
                  <a:pt x="576" y="181"/>
                </a:lnTo>
                <a:lnTo>
                  <a:pt x="534" y="149"/>
                </a:lnTo>
                <a:lnTo>
                  <a:pt x="518" y="39"/>
                </a:lnTo>
                <a:lnTo>
                  <a:pt x="473" y="0"/>
                </a:lnTo>
                <a:lnTo>
                  <a:pt x="418" y="47"/>
                </a:lnTo>
                <a:lnTo>
                  <a:pt x="105" y="38"/>
                </a:lnTo>
                <a:lnTo>
                  <a:pt x="105" y="108"/>
                </a:lnTo>
                <a:lnTo>
                  <a:pt x="74" y="110"/>
                </a:lnTo>
                <a:lnTo>
                  <a:pt x="74" y="130"/>
                </a:lnTo>
                <a:lnTo>
                  <a:pt x="72" y="261"/>
                </a:lnTo>
                <a:lnTo>
                  <a:pt x="37" y="268"/>
                </a:lnTo>
                <a:lnTo>
                  <a:pt x="0" y="36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05" name="Freeform 228"/>
          <p:cNvSpPr>
            <a:spLocks noChangeAspect="1"/>
          </p:cNvSpPr>
          <p:nvPr/>
        </p:nvSpPr>
        <p:spPr bwMode="gray">
          <a:xfrm>
            <a:off x="6506147" y="5459244"/>
            <a:ext cx="33337" cy="48222"/>
          </a:xfrm>
          <a:custGeom>
            <a:avLst/>
            <a:gdLst/>
            <a:ahLst/>
            <a:cxnLst>
              <a:cxn ang="0">
                <a:pos x="0" y="31"/>
              </a:cxn>
              <a:cxn ang="0">
                <a:pos x="23" y="55"/>
              </a:cxn>
              <a:cxn ang="0">
                <a:pos x="42" y="35"/>
              </a:cxn>
              <a:cxn ang="0">
                <a:pos x="38" y="0"/>
              </a:cxn>
              <a:cxn ang="0">
                <a:pos x="0" y="31"/>
              </a:cxn>
            </a:cxnLst>
            <a:rect l="0" t="0" r="r" b="b"/>
            <a:pathLst>
              <a:path w="42" h="55">
                <a:moveTo>
                  <a:pt x="0" y="31"/>
                </a:moveTo>
                <a:lnTo>
                  <a:pt x="23" y="55"/>
                </a:lnTo>
                <a:lnTo>
                  <a:pt x="42" y="35"/>
                </a:lnTo>
                <a:lnTo>
                  <a:pt x="38" y="0"/>
                </a:lnTo>
                <a:lnTo>
                  <a:pt x="0" y="3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06" name="Freeform 229"/>
          <p:cNvSpPr>
            <a:spLocks noChangeAspect="1"/>
          </p:cNvSpPr>
          <p:nvPr/>
        </p:nvSpPr>
        <p:spPr bwMode="gray">
          <a:xfrm>
            <a:off x="6478695" y="4760014"/>
            <a:ext cx="280419" cy="299670"/>
          </a:xfrm>
          <a:custGeom>
            <a:avLst/>
            <a:gdLst/>
            <a:ahLst/>
            <a:cxnLst>
              <a:cxn ang="0">
                <a:pos x="0" y="118"/>
              </a:cxn>
              <a:cxn ang="0">
                <a:pos x="3" y="189"/>
              </a:cxn>
              <a:cxn ang="0">
                <a:pos x="48" y="262"/>
              </a:cxn>
              <a:cxn ang="0">
                <a:pos x="113" y="293"/>
              </a:cxn>
              <a:cxn ang="0">
                <a:pos x="147" y="300"/>
              </a:cxn>
              <a:cxn ang="0">
                <a:pos x="184" y="371"/>
              </a:cxn>
              <a:cxn ang="0">
                <a:pos x="323" y="362"/>
              </a:cxn>
              <a:cxn ang="0">
                <a:pos x="374" y="331"/>
              </a:cxn>
              <a:cxn ang="0">
                <a:pos x="322" y="185"/>
              </a:cxn>
              <a:cxn ang="0">
                <a:pos x="335" y="129"/>
              </a:cxn>
              <a:cxn ang="0">
                <a:pos x="157" y="0"/>
              </a:cxn>
              <a:cxn ang="0">
                <a:pos x="110" y="64"/>
              </a:cxn>
              <a:cxn ang="0">
                <a:pos x="89" y="47"/>
              </a:cxn>
              <a:cxn ang="0">
                <a:pos x="76" y="62"/>
              </a:cxn>
              <a:cxn ang="0">
                <a:pos x="74" y="0"/>
              </a:cxn>
              <a:cxn ang="0">
                <a:pos x="28" y="3"/>
              </a:cxn>
              <a:cxn ang="0">
                <a:pos x="36" y="49"/>
              </a:cxn>
              <a:cxn ang="0">
                <a:pos x="38" y="78"/>
              </a:cxn>
              <a:cxn ang="0">
                <a:pos x="0" y="118"/>
              </a:cxn>
            </a:cxnLst>
            <a:rect l="0" t="0" r="r" b="b"/>
            <a:pathLst>
              <a:path w="374" h="371">
                <a:moveTo>
                  <a:pt x="0" y="118"/>
                </a:moveTo>
                <a:lnTo>
                  <a:pt x="3" y="189"/>
                </a:lnTo>
                <a:lnTo>
                  <a:pt x="48" y="262"/>
                </a:lnTo>
                <a:lnTo>
                  <a:pt x="113" y="293"/>
                </a:lnTo>
                <a:lnTo>
                  <a:pt x="147" y="300"/>
                </a:lnTo>
                <a:lnTo>
                  <a:pt x="184" y="371"/>
                </a:lnTo>
                <a:lnTo>
                  <a:pt x="323" y="362"/>
                </a:lnTo>
                <a:lnTo>
                  <a:pt x="374" y="331"/>
                </a:lnTo>
                <a:lnTo>
                  <a:pt x="322" y="185"/>
                </a:lnTo>
                <a:lnTo>
                  <a:pt x="335" y="129"/>
                </a:lnTo>
                <a:lnTo>
                  <a:pt x="157" y="0"/>
                </a:lnTo>
                <a:lnTo>
                  <a:pt x="110" y="64"/>
                </a:lnTo>
                <a:lnTo>
                  <a:pt x="89" y="47"/>
                </a:lnTo>
                <a:lnTo>
                  <a:pt x="76" y="62"/>
                </a:lnTo>
                <a:lnTo>
                  <a:pt x="74" y="0"/>
                </a:lnTo>
                <a:lnTo>
                  <a:pt x="28" y="3"/>
                </a:lnTo>
                <a:lnTo>
                  <a:pt x="36" y="49"/>
                </a:lnTo>
                <a:lnTo>
                  <a:pt x="38" y="78"/>
                </a:lnTo>
                <a:lnTo>
                  <a:pt x="0" y="11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07" name="Freeform 230"/>
          <p:cNvSpPr>
            <a:spLocks noChangeAspect="1"/>
          </p:cNvSpPr>
          <p:nvPr/>
        </p:nvSpPr>
        <p:spPr bwMode="gray">
          <a:xfrm>
            <a:off x="5692346" y="4425902"/>
            <a:ext cx="54907" cy="144669"/>
          </a:xfrm>
          <a:custGeom>
            <a:avLst/>
            <a:gdLst/>
            <a:ahLst/>
            <a:cxnLst>
              <a:cxn ang="0">
                <a:pos x="0" y="0"/>
              </a:cxn>
              <a:cxn ang="0">
                <a:pos x="38" y="9"/>
              </a:cxn>
              <a:cxn ang="0">
                <a:pos x="74" y="171"/>
              </a:cxn>
              <a:cxn ang="0">
                <a:pos x="49" y="177"/>
              </a:cxn>
              <a:cxn ang="0">
                <a:pos x="0" y="0"/>
              </a:cxn>
            </a:cxnLst>
            <a:rect l="0" t="0" r="r" b="b"/>
            <a:pathLst>
              <a:path w="74" h="177">
                <a:moveTo>
                  <a:pt x="0" y="0"/>
                </a:moveTo>
                <a:lnTo>
                  <a:pt x="38" y="9"/>
                </a:lnTo>
                <a:lnTo>
                  <a:pt x="74" y="171"/>
                </a:lnTo>
                <a:lnTo>
                  <a:pt x="49" y="177"/>
                </a:lnTo>
                <a:lnTo>
                  <a:pt x="0"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08" name="Freeform 231"/>
          <p:cNvSpPr>
            <a:spLocks noChangeAspect="1"/>
          </p:cNvSpPr>
          <p:nvPr/>
        </p:nvSpPr>
        <p:spPr bwMode="gray">
          <a:xfrm>
            <a:off x="6478693" y="4625679"/>
            <a:ext cx="141190" cy="146391"/>
          </a:xfrm>
          <a:custGeom>
            <a:avLst/>
            <a:gdLst/>
            <a:ahLst/>
            <a:cxnLst>
              <a:cxn ang="0">
                <a:pos x="0" y="183"/>
              </a:cxn>
              <a:cxn ang="0">
                <a:pos x="27" y="173"/>
              </a:cxn>
              <a:cxn ang="0">
                <a:pos x="73" y="170"/>
              </a:cxn>
              <a:cxn ang="0">
                <a:pos x="75" y="145"/>
              </a:cxn>
              <a:cxn ang="0">
                <a:pos x="147" y="130"/>
              </a:cxn>
              <a:cxn ang="0">
                <a:pos x="185" y="68"/>
              </a:cxn>
              <a:cxn ang="0">
                <a:pos x="147" y="0"/>
              </a:cxn>
              <a:cxn ang="0">
                <a:pos x="40" y="13"/>
              </a:cxn>
              <a:cxn ang="0">
                <a:pos x="53" y="63"/>
              </a:cxn>
              <a:cxn ang="0">
                <a:pos x="30" y="96"/>
              </a:cxn>
              <a:cxn ang="0">
                <a:pos x="0" y="183"/>
              </a:cxn>
            </a:cxnLst>
            <a:rect l="0" t="0" r="r" b="b"/>
            <a:pathLst>
              <a:path w="185" h="183">
                <a:moveTo>
                  <a:pt x="0" y="183"/>
                </a:moveTo>
                <a:lnTo>
                  <a:pt x="27" y="173"/>
                </a:lnTo>
                <a:lnTo>
                  <a:pt x="73" y="170"/>
                </a:lnTo>
                <a:lnTo>
                  <a:pt x="75" y="145"/>
                </a:lnTo>
                <a:lnTo>
                  <a:pt x="147" y="130"/>
                </a:lnTo>
                <a:lnTo>
                  <a:pt x="185" y="68"/>
                </a:lnTo>
                <a:lnTo>
                  <a:pt x="147" y="0"/>
                </a:lnTo>
                <a:lnTo>
                  <a:pt x="40" y="13"/>
                </a:lnTo>
                <a:lnTo>
                  <a:pt x="53" y="63"/>
                </a:lnTo>
                <a:lnTo>
                  <a:pt x="30" y="96"/>
                </a:lnTo>
                <a:lnTo>
                  <a:pt x="0" y="183"/>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09" name="Freeform 232"/>
          <p:cNvSpPr>
            <a:spLocks noChangeAspect="1"/>
          </p:cNvSpPr>
          <p:nvPr/>
        </p:nvSpPr>
        <p:spPr bwMode="gray">
          <a:xfrm>
            <a:off x="6339465" y="3838615"/>
            <a:ext cx="294145" cy="289336"/>
          </a:xfrm>
          <a:custGeom>
            <a:avLst/>
            <a:gdLst/>
            <a:ahLst/>
            <a:cxnLst>
              <a:cxn ang="0">
                <a:pos x="0" y="60"/>
              </a:cxn>
              <a:cxn ang="0">
                <a:pos x="16" y="356"/>
              </a:cxn>
              <a:cxn ang="0">
                <a:pos x="329" y="365"/>
              </a:cxn>
              <a:cxn ang="0">
                <a:pos x="384" y="318"/>
              </a:cxn>
              <a:cxn ang="0">
                <a:pos x="389" y="286"/>
              </a:cxn>
              <a:cxn ang="0">
                <a:pos x="272" y="77"/>
              </a:cxn>
              <a:cxn ang="0">
                <a:pos x="329" y="144"/>
              </a:cxn>
              <a:cxn ang="0">
                <a:pos x="359" y="87"/>
              </a:cxn>
              <a:cxn ang="0">
                <a:pos x="329" y="14"/>
              </a:cxn>
              <a:cxn ang="0">
                <a:pos x="257" y="25"/>
              </a:cxn>
              <a:cxn ang="0">
                <a:pos x="255" y="5"/>
              </a:cxn>
              <a:cxn ang="0">
                <a:pos x="217" y="5"/>
              </a:cxn>
              <a:cxn ang="0">
                <a:pos x="152" y="32"/>
              </a:cxn>
              <a:cxn ang="0">
                <a:pos x="16" y="0"/>
              </a:cxn>
              <a:cxn ang="0">
                <a:pos x="0" y="60"/>
              </a:cxn>
            </a:cxnLst>
            <a:rect l="0" t="0" r="r" b="b"/>
            <a:pathLst>
              <a:path w="389" h="365">
                <a:moveTo>
                  <a:pt x="0" y="60"/>
                </a:moveTo>
                <a:lnTo>
                  <a:pt x="16" y="356"/>
                </a:lnTo>
                <a:lnTo>
                  <a:pt x="329" y="365"/>
                </a:lnTo>
                <a:lnTo>
                  <a:pt x="384" y="318"/>
                </a:lnTo>
                <a:lnTo>
                  <a:pt x="389" y="286"/>
                </a:lnTo>
                <a:lnTo>
                  <a:pt x="272" y="77"/>
                </a:lnTo>
                <a:lnTo>
                  <a:pt x="329" y="144"/>
                </a:lnTo>
                <a:lnTo>
                  <a:pt x="359" y="87"/>
                </a:lnTo>
                <a:lnTo>
                  <a:pt x="329" y="14"/>
                </a:lnTo>
                <a:lnTo>
                  <a:pt x="257" y="25"/>
                </a:lnTo>
                <a:lnTo>
                  <a:pt x="255" y="5"/>
                </a:lnTo>
                <a:lnTo>
                  <a:pt x="217" y="5"/>
                </a:lnTo>
                <a:lnTo>
                  <a:pt x="152" y="32"/>
                </a:lnTo>
                <a:lnTo>
                  <a:pt x="16" y="0"/>
                </a:lnTo>
                <a:lnTo>
                  <a:pt x="0" y="6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10" name="Freeform 233"/>
          <p:cNvSpPr>
            <a:spLocks noChangeAspect="1"/>
          </p:cNvSpPr>
          <p:nvPr/>
        </p:nvSpPr>
        <p:spPr bwMode="gray">
          <a:xfrm>
            <a:off x="5562922" y="4324291"/>
            <a:ext cx="196097" cy="149835"/>
          </a:xfrm>
          <a:custGeom>
            <a:avLst/>
            <a:gdLst/>
            <a:ahLst/>
            <a:cxnLst>
              <a:cxn ang="0">
                <a:pos x="0" y="162"/>
              </a:cxn>
              <a:cxn ang="0">
                <a:pos x="18" y="183"/>
              </a:cxn>
              <a:cxn ang="0">
                <a:pos x="88" y="190"/>
              </a:cxn>
              <a:cxn ang="0">
                <a:pos x="81" y="142"/>
              </a:cxn>
              <a:cxn ang="0">
                <a:pos x="174" y="133"/>
              </a:cxn>
              <a:cxn ang="0">
                <a:pos x="212" y="142"/>
              </a:cxn>
              <a:cxn ang="0">
                <a:pos x="262" y="106"/>
              </a:cxn>
              <a:cxn ang="0">
                <a:pos x="195" y="34"/>
              </a:cxn>
              <a:cxn ang="0">
                <a:pos x="187" y="0"/>
              </a:cxn>
              <a:cxn ang="0">
                <a:pos x="44" y="62"/>
              </a:cxn>
              <a:cxn ang="0">
                <a:pos x="0" y="162"/>
              </a:cxn>
            </a:cxnLst>
            <a:rect l="0" t="0" r="r" b="b"/>
            <a:pathLst>
              <a:path w="262" h="190">
                <a:moveTo>
                  <a:pt x="0" y="162"/>
                </a:moveTo>
                <a:lnTo>
                  <a:pt x="18" y="183"/>
                </a:lnTo>
                <a:lnTo>
                  <a:pt x="88" y="190"/>
                </a:lnTo>
                <a:lnTo>
                  <a:pt x="81" y="142"/>
                </a:lnTo>
                <a:lnTo>
                  <a:pt x="174" y="133"/>
                </a:lnTo>
                <a:lnTo>
                  <a:pt x="212" y="142"/>
                </a:lnTo>
                <a:lnTo>
                  <a:pt x="262" y="106"/>
                </a:lnTo>
                <a:lnTo>
                  <a:pt x="195" y="34"/>
                </a:lnTo>
                <a:lnTo>
                  <a:pt x="187" y="0"/>
                </a:lnTo>
                <a:lnTo>
                  <a:pt x="44" y="62"/>
                </a:lnTo>
                <a:lnTo>
                  <a:pt x="0" y="16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11" name="Freeform 234"/>
          <p:cNvSpPr>
            <a:spLocks noChangeAspect="1"/>
          </p:cNvSpPr>
          <p:nvPr/>
        </p:nvSpPr>
        <p:spPr bwMode="gray">
          <a:xfrm>
            <a:off x="6272794" y="4959794"/>
            <a:ext cx="309833" cy="272114"/>
          </a:xfrm>
          <a:custGeom>
            <a:avLst/>
            <a:gdLst/>
            <a:ahLst/>
            <a:cxnLst>
              <a:cxn ang="0">
                <a:pos x="0" y="166"/>
              </a:cxn>
              <a:cxn ang="0">
                <a:pos x="0" y="296"/>
              </a:cxn>
              <a:cxn ang="0">
                <a:pos x="43" y="329"/>
              </a:cxn>
              <a:cxn ang="0">
                <a:pos x="109" y="337"/>
              </a:cxn>
              <a:cxn ang="0">
                <a:pos x="170" y="339"/>
              </a:cxn>
              <a:cxn ang="0">
                <a:pos x="231" y="293"/>
              </a:cxn>
              <a:cxn ang="0">
                <a:pos x="235" y="274"/>
              </a:cxn>
              <a:cxn ang="0">
                <a:pos x="288" y="260"/>
              </a:cxn>
              <a:cxn ang="0">
                <a:pos x="278" y="242"/>
              </a:cxn>
              <a:cxn ang="0">
                <a:pos x="389" y="208"/>
              </a:cxn>
              <a:cxn ang="0">
                <a:pos x="374" y="191"/>
              </a:cxn>
              <a:cxn ang="0">
                <a:pos x="409" y="88"/>
              </a:cxn>
              <a:cxn ang="0">
                <a:pos x="382" y="43"/>
              </a:cxn>
              <a:cxn ang="0">
                <a:pos x="317" y="12"/>
              </a:cxn>
              <a:cxn ang="0">
                <a:pos x="300" y="0"/>
              </a:cxn>
              <a:cxn ang="0">
                <a:pos x="237" y="32"/>
              </a:cxn>
              <a:cxn ang="0">
                <a:pos x="230" y="122"/>
              </a:cxn>
              <a:cxn ang="0">
                <a:pos x="269" y="139"/>
              </a:cxn>
              <a:cxn ang="0">
                <a:pos x="270" y="176"/>
              </a:cxn>
              <a:cxn ang="0">
                <a:pos x="71" y="94"/>
              </a:cxn>
              <a:cxn ang="0">
                <a:pos x="77" y="166"/>
              </a:cxn>
              <a:cxn ang="0">
                <a:pos x="0" y="166"/>
              </a:cxn>
            </a:cxnLst>
            <a:rect l="0" t="0" r="r" b="b"/>
            <a:pathLst>
              <a:path w="409" h="339">
                <a:moveTo>
                  <a:pt x="0" y="166"/>
                </a:moveTo>
                <a:lnTo>
                  <a:pt x="0" y="296"/>
                </a:lnTo>
                <a:lnTo>
                  <a:pt x="43" y="329"/>
                </a:lnTo>
                <a:lnTo>
                  <a:pt x="109" y="337"/>
                </a:lnTo>
                <a:lnTo>
                  <a:pt x="170" y="339"/>
                </a:lnTo>
                <a:lnTo>
                  <a:pt x="231" y="293"/>
                </a:lnTo>
                <a:lnTo>
                  <a:pt x="235" y="274"/>
                </a:lnTo>
                <a:lnTo>
                  <a:pt x="288" y="260"/>
                </a:lnTo>
                <a:lnTo>
                  <a:pt x="278" y="242"/>
                </a:lnTo>
                <a:lnTo>
                  <a:pt x="389" y="208"/>
                </a:lnTo>
                <a:lnTo>
                  <a:pt x="374" y="191"/>
                </a:lnTo>
                <a:lnTo>
                  <a:pt x="409" y="88"/>
                </a:lnTo>
                <a:lnTo>
                  <a:pt x="382" y="43"/>
                </a:lnTo>
                <a:lnTo>
                  <a:pt x="317" y="12"/>
                </a:lnTo>
                <a:lnTo>
                  <a:pt x="300" y="0"/>
                </a:lnTo>
                <a:lnTo>
                  <a:pt x="237" y="32"/>
                </a:lnTo>
                <a:lnTo>
                  <a:pt x="230" y="122"/>
                </a:lnTo>
                <a:lnTo>
                  <a:pt x="269" y="139"/>
                </a:lnTo>
                <a:lnTo>
                  <a:pt x="270" y="176"/>
                </a:lnTo>
                <a:lnTo>
                  <a:pt x="71" y="94"/>
                </a:lnTo>
                <a:lnTo>
                  <a:pt x="77" y="166"/>
                </a:lnTo>
                <a:lnTo>
                  <a:pt x="0" y="16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12" name="Freeform 235"/>
          <p:cNvSpPr>
            <a:spLocks noChangeAspect="1"/>
          </p:cNvSpPr>
          <p:nvPr/>
        </p:nvSpPr>
        <p:spPr bwMode="gray">
          <a:xfrm>
            <a:off x="6131603" y="5354187"/>
            <a:ext cx="425531" cy="365115"/>
          </a:xfrm>
          <a:custGeom>
            <a:avLst/>
            <a:gdLst/>
            <a:ahLst/>
            <a:cxnLst>
              <a:cxn ang="0">
                <a:pos x="0" y="240"/>
              </a:cxn>
              <a:cxn ang="0">
                <a:pos x="21" y="224"/>
              </a:cxn>
              <a:cxn ang="0">
                <a:pos x="45" y="254"/>
              </a:cxn>
              <a:cxn ang="0">
                <a:pos x="89" y="254"/>
              </a:cxn>
              <a:cxn ang="0">
                <a:pos x="119" y="232"/>
              </a:cxn>
              <a:cxn ang="0">
                <a:pos x="119" y="91"/>
              </a:cxn>
              <a:cxn ang="0">
                <a:pos x="149" y="127"/>
              </a:cxn>
              <a:cxn ang="0">
                <a:pos x="148" y="165"/>
              </a:cxn>
              <a:cxn ang="0">
                <a:pos x="196" y="164"/>
              </a:cxn>
              <a:cxn ang="0">
                <a:pos x="237" y="121"/>
              </a:cxn>
              <a:cxn ang="0">
                <a:pos x="313" y="121"/>
              </a:cxn>
              <a:cxn ang="0">
                <a:pos x="445" y="0"/>
              </a:cxn>
              <a:cxn ang="0">
                <a:pos x="524" y="17"/>
              </a:cxn>
              <a:cxn ang="0">
                <a:pos x="537" y="130"/>
              </a:cxn>
              <a:cxn ang="0">
                <a:pos x="499" y="161"/>
              </a:cxn>
              <a:cxn ang="0">
                <a:pos x="522" y="185"/>
              </a:cxn>
              <a:cxn ang="0">
                <a:pos x="541" y="165"/>
              </a:cxn>
              <a:cxn ang="0">
                <a:pos x="568" y="165"/>
              </a:cxn>
              <a:cxn ang="0">
                <a:pos x="554" y="232"/>
              </a:cxn>
              <a:cxn ang="0">
                <a:pos x="471" y="335"/>
              </a:cxn>
              <a:cxn ang="0">
                <a:pos x="368" y="424"/>
              </a:cxn>
              <a:cxn ang="0">
                <a:pos x="291" y="454"/>
              </a:cxn>
              <a:cxn ang="0">
                <a:pos x="67" y="455"/>
              </a:cxn>
              <a:cxn ang="0">
                <a:pos x="49" y="404"/>
              </a:cxn>
              <a:cxn ang="0">
                <a:pos x="58" y="363"/>
              </a:cxn>
              <a:cxn ang="0">
                <a:pos x="0" y="240"/>
              </a:cxn>
            </a:cxnLst>
            <a:rect l="0" t="0" r="r" b="b"/>
            <a:pathLst>
              <a:path w="568" h="455">
                <a:moveTo>
                  <a:pt x="0" y="240"/>
                </a:moveTo>
                <a:lnTo>
                  <a:pt x="21" y="224"/>
                </a:lnTo>
                <a:lnTo>
                  <a:pt x="45" y="254"/>
                </a:lnTo>
                <a:lnTo>
                  <a:pt x="89" y="254"/>
                </a:lnTo>
                <a:lnTo>
                  <a:pt x="119" y="232"/>
                </a:lnTo>
                <a:lnTo>
                  <a:pt x="119" y="91"/>
                </a:lnTo>
                <a:lnTo>
                  <a:pt x="149" y="127"/>
                </a:lnTo>
                <a:lnTo>
                  <a:pt x="148" y="165"/>
                </a:lnTo>
                <a:lnTo>
                  <a:pt x="196" y="164"/>
                </a:lnTo>
                <a:lnTo>
                  <a:pt x="237" y="121"/>
                </a:lnTo>
                <a:lnTo>
                  <a:pt x="313" y="121"/>
                </a:lnTo>
                <a:lnTo>
                  <a:pt x="445" y="0"/>
                </a:lnTo>
                <a:lnTo>
                  <a:pt x="524" y="17"/>
                </a:lnTo>
                <a:lnTo>
                  <a:pt x="537" y="130"/>
                </a:lnTo>
                <a:lnTo>
                  <a:pt x="499" y="161"/>
                </a:lnTo>
                <a:lnTo>
                  <a:pt x="522" y="185"/>
                </a:lnTo>
                <a:lnTo>
                  <a:pt x="541" y="165"/>
                </a:lnTo>
                <a:lnTo>
                  <a:pt x="568" y="165"/>
                </a:lnTo>
                <a:lnTo>
                  <a:pt x="554" y="232"/>
                </a:lnTo>
                <a:lnTo>
                  <a:pt x="471" y="335"/>
                </a:lnTo>
                <a:lnTo>
                  <a:pt x="368" y="424"/>
                </a:lnTo>
                <a:lnTo>
                  <a:pt x="291" y="454"/>
                </a:lnTo>
                <a:lnTo>
                  <a:pt x="67" y="455"/>
                </a:lnTo>
                <a:lnTo>
                  <a:pt x="49" y="404"/>
                </a:lnTo>
                <a:lnTo>
                  <a:pt x="58" y="363"/>
                </a:lnTo>
                <a:lnTo>
                  <a:pt x="0" y="24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13" name="Freeform 236"/>
          <p:cNvSpPr>
            <a:spLocks noChangeAspect="1"/>
          </p:cNvSpPr>
          <p:nvPr/>
        </p:nvSpPr>
        <p:spPr bwMode="gray">
          <a:xfrm>
            <a:off x="6406138" y="5548800"/>
            <a:ext cx="62751" cy="67168"/>
          </a:xfrm>
          <a:custGeom>
            <a:avLst/>
            <a:gdLst/>
            <a:ahLst/>
            <a:cxnLst>
              <a:cxn ang="0">
                <a:pos x="0" y="41"/>
              </a:cxn>
              <a:cxn ang="0">
                <a:pos x="30" y="84"/>
              </a:cxn>
              <a:cxn ang="0">
                <a:pos x="80" y="41"/>
              </a:cxn>
              <a:cxn ang="0">
                <a:pos x="57" y="0"/>
              </a:cxn>
              <a:cxn ang="0">
                <a:pos x="0" y="41"/>
              </a:cxn>
            </a:cxnLst>
            <a:rect l="0" t="0" r="r" b="b"/>
            <a:pathLst>
              <a:path w="80" h="84">
                <a:moveTo>
                  <a:pt x="0" y="41"/>
                </a:moveTo>
                <a:lnTo>
                  <a:pt x="30" y="84"/>
                </a:lnTo>
                <a:lnTo>
                  <a:pt x="80" y="41"/>
                </a:lnTo>
                <a:lnTo>
                  <a:pt x="57" y="0"/>
                </a:lnTo>
                <a:lnTo>
                  <a:pt x="0" y="4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14" name="Freeform 237"/>
          <p:cNvSpPr>
            <a:spLocks noChangeAspect="1"/>
          </p:cNvSpPr>
          <p:nvPr/>
        </p:nvSpPr>
        <p:spPr bwMode="gray">
          <a:xfrm>
            <a:off x="6306127" y="3025722"/>
            <a:ext cx="209824" cy="173946"/>
          </a:xfrm>
          <a:custGeom>
            <a:avLst/>
            <a:gdLst/>
            <a:ahLst/>
            <a:cxnLst>
              <a:cxn ang="0">
                <a:pos x="91" y="0"/>
              </a:cxn>
              <a:cxn ang="0">
                <a:pos x="113" y="5"/>
              </a:cxn>
              <a:cxn ang="0">
                <a:pos x="136" y="21"/>
              </a:cxn>
              <a:cxn ang="0">
                <a:pos x="174" y="21"/>
              </a:cxn>
              <a:cxn ang="0">
                <a:pos x="212" y="26"/>
              </a:cxn>
              <a:cxn ang="0">
                <a:pos x="230" y="51"/>
              </a:cxn>
              <a:cxn ang="0">
                <a:pos x="246" y="88"/>
              </a:cxn>
              <a:cxn ang="0">
                <a:pos x="252" y="100"/>
              </a:cxn>
              <a:cxn ang="0">
                <a:pos x="266" y="111"/>
              </a:cxn>
              <a:cxn ang="0">
                <a:pos x="277" y="122"/>
              </a:cxn>
              <a:cxn ang="0">
                <a:pos x="277" y="134"/>
              </a:cxn>
              <a:cxn ang="0">
                <a:pos x="259" y="134"/>
              </a:cxn>
              <a:cxn ang="0">
                <a:pos x="235" y="134"/>
              </a:cxn>
              <a:cxn ang="0">
                <a:pos x="246" y="149"/>
              </a:cxn>
              <a:cxn ang="0">
                <a:pos x="255" y="158"/>
              </a:cxn>
              <a:cxn ang="0">
                <a:pos x="259" y="176"/>
              </a:cxn>
              <a:cxn ang="0">
                <a:pos x="246" y="185"/>
              </a:cxn>
              <a:cxn ang="0">
                <a:pos x="225" y="185"/>
              </a:cxn>
              <a:cxn ang="0">
                <a:pos x="221" y="185"/>
              </a:cxn>
              <a:cxn ang="0">
                <a:pos x="212" y="193"/>
              </a:cxn>
              <a:cxn ang="0">
                <a:pos x="212" y="210"/>
              </a:cxn>
              <a:cxn ang="0">
                <a:pos x="197" y="215"/>
              </a:cxn>
              <a:cxn ang="0">
                <a:pos x="184" y="207"/>
              </a:cxn>
              <a:cxn ang="0">
                <a:pos x="162" y="202"/>
              </a:cxn>
              <a:cxn ang="0">
                <a:pos x="142" y="193"/>
              </a:cxn>
              <a:cxn ang="0">
                <a:pos x="124" y="198"/>
              </a:cxn>
              <a:cxn ang="0">
                <a:pos x="66" y="176"/>
              </a:cxn>
              <a:cxn ang="0">
                <a:pos x="43" y="181"/>
              </a:cxn>
              <a:cxn ang="0">
                <a:pos x="23" y="176"/>
              </a:cxn>
              <a:cxn ang="0">
                <a:pos x="14" y="193"/>
              </a:cxn>
              <a:cxn ang="0">
                <a:pos x="0" y="156"/>
              </a:cxn>
              <a:cxn ang="0">
                <a:pos x="25" y="133"/>
              </a:cxn>
              <a:cxn ang="0">
                <a:pos x="7" y="88"/>
              </a:cxn>
              <a:cxn ang="0">
                <a:pos x="23" y="93"/>
              </a:cxn>
              <a:cxn ang="0">
                <a:pos x="26" y="83"/>
              </a:cxn>
              <a:cxn ang="0">
                <a:pos x="31" y="66"/>
              </a:cxn>
              <a:cxn ang="0">
                <a:pos x="40" y="57"/>
              </a:cxn>
              <a:cxn ang="0">
                <a:pos x="43" y="38"/>
              </a:cxn>
              <a:cxn ang="0">
                <a:pos x="61" y="17"/>
              </a:cxn>
              <a:cxn ang="0">
                <a:pos x="75" y="0"/>
              </a:cxn>
              <a:cxn ang="0">
                <a:pos x="91" y="0"/>
              </a:cxn>
            </a:cxnLst>
            <a:rect l="0" t="0" r="r" b="b"/>
            <a:pathLst>
              <a:path w="277" h="215">
                <a:moveTo>
                  <a:pt x="91" y="0"/>
                </a:moveTo>
                <a:lnTo>
                  <a:pt x="113" y="5"/>
                </a:lnTo>
                <a:lnTo>
                  <a:pt x="136" y="21"/>
                </a:lnTo>
                <a:lnTo>
                  <a:pt x="174" y="21"/>
                </a:lnTo>
                <a:lnTo>
                  <a:pt x="212" y="26"/>
                </a:lnTo>
                <a:lnTo>
                  <a:pt x="230" y="51"/>
                </a:lnTo>
                <a:lnTo>
                  <a:pt x="246" y="88"/>
                </a:lnTo>
                <a:lnTo>
                  <a:pt x="252" y="100"/>
                </a:lnTo>
                <a:lnTo>
                  <a:pt x="266" y="111"/>
                </a:lnTo>
                <a:lnTo>
                  <a:pt x="277" y="122"/>
                </a:lnTo>
                <a:lnTo>
                  <a:pt x="277" y="134"/>
                </a:lnTo>
                <a:lnTo>
                  <a:pt x="259" y="134"/>
                </a:lnTo>
                <a:lnTo>
                  <a:pt x="235" y="134"/>
                </a:lnTo>
                <a:lnTo>
                  <a:pt x="246" y="149"/>
                </a:lnTo>
                <a:lnTo>
                  <a:pt x="255" y="158"/>
                </a:lnTo>
                <a:lnTo>
                  <a:pt x="259" y="176"/>
                </a:lnTo>
                <a:lnTo>
                  <a:pt x="246" y="185"/>
                </a:lnTo>
                <a:lnTo>
                  <a:pt x="225" y="185"/>
                </a:lnTo>
                <a:lnTo>
                  <a:pt x="221" y="185"/>
                </a:lnTo>
                <a:lnTo>
                  <a:pt x="212" y="193"/>
                </a:lnTo>
                <a:lnTo>
                  <a:pt x="212" y="210"/>
                </a:lnTo>
                <a:lnTo>
                  <a:pt x="197" y="215"/>
                </a:lnTo>
                <a:lnTo>
                  <a:pt x="184" y="207"/>
                </a:lnTo>
                <a:lnTo>
                  <a:pt x="162" y="202"/>
                </a:lnTo>
                <a:lnTo>
                  <a:pt x="142" y="193"/>
                </a:lnTo>
                <a:lnTo>
                  <a:pt x="124" y="198"/>
                </a:lnTo>
                <a:lnTo>
                  <a:pt x="66" y="176"/>
                </a:lnTo>
                <a:lnTo>
                  <a:pt x="43" y="181"/>
                </a:lnTo>
                <a:lnTo>
                  <a:pt x="23" y="176"/>
                </a:lnTo>
                <a:lnTo>
                  <a:pt x="14" y="193"/>
                </a:lnTo>
                <a:lnTo>
                  <a:pt x="0" y="156"/>
                </a:lnTo>
                <a:lnTo>
                  <a:pt x="25" y="133"/>
                </a:lnTo>
                <a:lnTo>
                  <a:pt x="7" y="88"/>
                </a:lnTo>
                <a:lnTo>
                  <a:pt x="23" y="93"/>
                </a:lnTo>
                <a:lnTo>
                  <a:pt x="26" y="83"/>
                </a:lnTo>
                <a:lnTo>
                  <a:pt x="31" y="66"/>
                </a:lnTo>
                <a:lnTo>
                  <a:pt x="40" y="57"/>
                </a:lnTo>
                <a:lnTo>
                  <a:pt x="43" y="38"/>
                </a:lnTo>
                <a:lnTo>
                  <a:pt x="61" y="17"/>
                </a:lnTo>
                <a:lnTo>
                  <a:pt x="75" y="0"/>
                </a:lnTo>
                <a:lnTo>
                  <a:pt x="91" y="0"/>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15" name="Freeform 238"/>
          <p:cNvSpPr>
            <a:spLocks noChangeAspect="1"/>
          </p:cNvSpPr>
          <p:nvPr/>
        </p:nvSpPr>
        <p:spPr bwMode="gray">
          <a:xfrm>
            <a:off x="6274753" y="3149723"/>
            <a:ext cx="464750" cy="280725"/>
          </a:xfrm>
          <a:custGeom>
            <a:avLst/>
            <a:gdLst/>
            <a:ahLst/>
            <a:cxnLst>
              <a:cxn ang="0">
                <a:pos x="313" y="14"/>
              </a:cxn>
              <a:cxn ang="0">
                <a:pos x="343" y="0"/>
              </a:cxn>
              <a:cxn ang="0">
                <a:pos x="380" y="23"/>
              </a:cxn>
              <a:cxn ang="0">
                <a:pos x="395" y="51"/>
              </a:cxn>
              <a:cxn ang="0">
                <a:pos x="439" y="76"/>
              </a:cxn>
              <a:cxn ang="0">
                <a:pos x="496" y="115"/>
              </a:cxn>
              <a:cxn ang="0">
                <a:pos x="537" y="115"/>
              </a:cxn>
              <a:cxn ang="0">
                <a:pos x="593" y="131"/>
              </a:cxn>
              <a:cxn ang="0">
                <a:pos x="579" y="192"/>
              </a:cxn>
              <a:cxn ang="0">
                <a:pos x="528" y="244"/>
              </a:cxn>
              <a:cxn ang="0">
                <a:pos x="449" y="287"/>
              </a:cxn>
              <a:cxn ang="0">
                <a:pos x="452" y="310"/>
              </a:cxn>
              <a:cxn ang="0">
                <a:pos x="413" y="352"/>
              </a:cxn>
              <a:cxn ang="0">
                <a:pos x="405" y="282"/>
              </a:cxn>
              <a:cxn ang="0">
                <a:pos x="341" y="275"/>
              </a:cxn>
              <a:cxn ang="0">
                <a:pos x="339" y="252"/>
              </a:cxn>
              <a:cxn ang="0">
                <a:pos x="260" y="312"/>
              </a:cxn>
              <a:cxn ang="0">
                <a:pos x="233" y="277"/>
              </a:cxn>
              <a:cxn ang="0">
                <a:pos x="257" y="257"/>
              </a:cxn>
              <a:cxn ang="0">
                <a:pos x="270" y="237"/>
              </a:cxn>
              <a:cxn ang="0">
                <a:pos x="241" y="200"/>
              </a:cxn>
              <a:cxn ang="0">
                <a:pos x="186" y="181"/>
              </a:cxn>
              <a:cxn ang="0">
                <a:pos x="93" y="192"/>
              </a:cxn>
              <a:cxn ang="0">
                <a:pos x="23" y="198"/>
              </a:cxn>
              <a:cxn ang="0">
                <a:pos x="14" y="146"/>
              </a:cxn>
              <a:cxn ang="0">
                <a:pos x="66" y="79"/>
              </a:cxn>
              <a:cxn ang="0">
                <a:pos x="55" y="32"/>
              </a:cxn>
              <a:cxn ang="0">
                <a:pos x="83" y="28"/>
              </a:cxn>
              <a:cxn ang="0">
                <a:pos x="133" y="33"/>
              </a:cxn>
              <a:cxn ang="0">
                <a:pos x="182" y="39"/>
              </a:cxn>
              <a:cxn ang="0">
                <a:pos x="224" y="54"/>
              </a:cxn>
              <a:cxn ang="0">
                <a:pos x="252" y="57"/>
              </a:cxn>
              <a:cxn ang="0">
                <a:pos x="261" y="32"/>
              </a:cxn>
              <a:cxn ang="0">
                <a:pos x="295" y="28"/>
              </a:cxn>
            </a:cxnLst>
            <a:rect l="0" t="0" r="r" b="b"/>
            <a:pathLst>
              <a:path w="610" h="352">
                <a:moveTo>
                  <a:pt x="303" y="17"/>
                </a:moveTo>
                <a:lnTo>
                  <a:pt x="313" y="14"/>
                </a:lnTo>
                <a:lnTo>
                  <a:pt x="330" y="5"/>
                </a:lnTo>
                <a:lnTo>
                  <a:pt x="343" y="0"/>
                </a:lnTo>
                <a:lnTo>
                  <a:pt x="370" y="5"/>
                </a:lnTo>
                <a:lnTo>
                  <a:pt x="380" y="23"/>
                </a:lnTo>
                <a:lnTo>
                  <a:pt x="386" y="45"/>
                </a:lnTo>
                <a:lnTo>
                  <a:pt x="395" y="51"/>
                </a:lnTo>
                <a:lnTo>
                  <a:pt x="409" y="47"/>
                </a:lnTo>
                <a:lnTo>
                  <a:pt x="439" y="76"/>
                </a:lnTo>
                <a:lnTo>
                  <a:pt x="455" y="99"/>
                </a:lnTo>
                <a:lnTo>
                  <a:pt x="496" y="115"/>
                </a:lnTo>
                <a:lnTo>
                  <a:pt x="523" y="118"/>
                </a:lnTo>
                <a:lnTo>
                  <a:pt x="537" y="115"/>
                </a:lnTo>
                <a:lnTo>
                  <a:pt x="562" y="126"/>
                </a:lnTo>
                <a:lnTo>
                  <a:pt x="593" y="131"/>
                </a:lnTo>
                <a:lnTo>
                  <a:pt x="610" y="184"/>
                </a:lnTo>
                <a:lnTo>
                  <a:pt x="579" y="192"/>
                </a:lnTo>
                <a:lnTo>
                  <a:pt x="573" y="217"/>
                </a:lnTo>
                <a:lnTo>
                  <a:pt x="528" y="244"/>
                </a:lnTo>
                <a:lnTo>
                  <a:pt x="456" y="263"/>
                </a:lnTo>
                <a:lnTo>
                  <a:pt x="449" y="287"/>
                </a:lnTo>
                <a:lnTo>
                  <a:pt x="419" y="277"/>
                </a:lnTo>
                <a:lnTo>
                  <a:pt x="452" y="310"/>
                </a:lnTo>
                <a:lnTo>
                  <a:pt x="491" y="314"/>
                </a:lnTo>
                <a:lnTo>
                  <a:pt x="413" y="352"/>
                </a:lnTo>
                <a:lnTo>
                  <a:pt x="367" y="312"/>
                </a:lnTo>
                <a:lnTo>
                  <a:pt x="405" y="282"/>
                </a:lnTo>
                <a:lnTo>
                  <a:pt x="367" y="275"/>
                </a:lnTo>
                <a:lnTo>
                  <a:pt x="341" y="275"/>
                </a:lnTo>
                <a:lnTo>
                  <a:pt x="346" y="249"/>
                </a:lnTo>
                <a:lnTo>
                  <a:pt x="339" y="252"/>
                </a:lnTo>
                <a:lnTo>
                  <a:pt x="282" y="266"/>
                </a:lnTo>
                <a:lnTo>
                  <a:pt x="260" y="312"/>
                </a:lnTo>
                <a:lnTo>
                  <a:pt x="224" y="309"/>
                </a:lnTo>
                <a:lnTo>
                  <a:pt x="233" y="277"/>
                </a:lnTo>
                <a:lnTo>
                  <a:pt x="235" y="263"/>
                </a:lnTo>
                <a:lnTo>
                  <a:pt x="257" y="257"/>
                </a:lnTo>
                <a:lnTo>
                  <a:pt x="268" y="246"/>
                </a:lnTo>
                <a:lnTo>
                  <a:pt x="270" y="237"/>
                </a:lnTo>
                <a:lnTo>
                  <a:pt x="257" y="233"/>
                </a:lnTo>
                <a:lnTo>
                  <a:pt x="241" y="200"/>
                </a:lnTo>
                <a:lnTo>
                  <a:pt x="216" y="181"/>
                </a:lnTo>
                <a:lnTo>
                  <a:pt x="186" y="181"/>
                </a:lnTo>
                <a:lnTo>
                  <a:pt x="148" y="189"/>
                </a:lnTo>
                <a:lnTo>
                  <a:pt x="93" y="192"/>
                </a:lnTo>
                <a:lnTo>
                  <a:pt x="65" y="198"/>
                </a:lnTo>
                <a:lnTo>
                  <a:pt x="23" y="198"/>
                </a:lnTo>
                <a:lnTo>
                  <a:pt x="0" y="177"/>
                </a:lnTo>
                <a:lnTo>
                  <a:pt x="14" y="146"/>
                </a:lnTo>
                <a:lnTo>
                  <a:pt x="39" y="113"/>
                </a:lnTo>
                <a:lnTo>
                  <a:pt x="66" y="79"/>
                </a:lnTo>
                <a:lnTo>
                  <a:pt x="54" y="39"/>
                </a:lnTo>
                <a:lnTo>
                  <a:pt x="55" y="32"/>
                </a:lnTo>
                <a:lnTo>
                  <a:pt x="63" y="23"/>
                </a:lnTo>
                <a:lnTo>
                  <a:pt x="83" y="28"/>
                </a:lnTo>
                <a:lnTo>
                  <a:pt x="106" y="23"/>
                </a:lnTo>
                <a:lnTo>
                  <a:pt x="133" y="33"/>
                </a:lnTo>
                <a:lnTo>
                  <a:pt x="161" y="45"/>
                </a:lnTo>
                <a:lnTo>
                  <a:pt x="182" y="39"/>
                </a:lnTo>
                <a:lnTo>
                  <a:pt x="202" y="49"/>
                </a:lnTo>
                <a:lnTo>
                  <a:pt x="224" y="54"/>
                </a:lnTo>
                <a:lnTo>
                  <a:pt x="237" y="62"/>
                </a:lnTo>
                <a:lnTo>
                  <a:pt x="252" y="57"/>
                </a:lnTo>
                <a:lnTo>
                  <a:pt x="253" y="40"/>
                </a:lnTo>
                <a:lnTo>
                  <a:pt x="261" y="32"/>
                </a:lnTo>
                <a:lnTo>
                  <a:pt x="286" y="32"/>
                </a:lnTo>
                <a:lnTo>
                  <a:pt x="295" y="28"/>
                </a:lnTo>
                <a:lnTo>
                  <a:pt x="303" y="17"/>
                </a:lnTo>
                <a:close/>
              </a:path>
            </a:pathLst>
          </a:custGeom>
          <a:no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16" name="Freeform 239"/>
          <p:cNvSpPr>
            <a:spLocks noChangeAspect="1"/>
          </p:cNvSpPr>
          <p:nvPr/>
        </p:nvSpPr>
        <p:spPr bwMode="gray">
          <a:xfrm>
            <a:off x="6398296" y="3292668"/>
            <a:ext cx="82361" cy="105058"/>
          </a:xfrm>
          <a:custGeom>
            <a:avLst/>
            <a:gdLst/>
            <a:ahLst/>
            <a:cxnLst>
              <a:cxn ang="0">
                <a:pos x="25" y="34"/>
              </a:cxn>
              <a:cxn ang="0">
                <a:pos x="40" y="52"/>
              </a:cxn>
              <a:cxn ang="0">
                <a:pos x="47" y="67"/>
              </a:cxn>
              <a:cxn ang="0">
                <a:pos x="53" y="124"/>
              </a:cxn>
              <a:cxn ang="0">
                <a:pos x="66" y="127"/>
              </a:cxn>
              <a:cxn ang="0">
                <a:pos x="75" y="96"/>
              </a:cxn>
              <a:cxn ang="0">
                <a:pos x="77" y="80"/>
              </a:cxn>
              <a:cxn ang="0">
                <a:pos x="107" y="71"/>
              </a:cxn>
              <a:cxn ang="0">
                <a:pos x="113" y="58"/>
              </a:cxn>
              <a:cxn ang="0">
                <a:pos x="100" y="54"/>
              </a:cxn>
              <a:cxn ang="0">
                <a:pos x="84" y="21"/>
              </a:cxn>
              <a:cxn ang="0">
                <a:pos x="59" y="1"/>
              </a:cxn>
              <a:cxn ang="0">
                <a:pos x="28" y="0"/>
              </a:cxn>
              <a:cxn ang="0">
                <a:pos x="0" y="3"/>
              </a:cxn>
              <a:cxn ang="0">
                <a:pos x="25" y="34"/>
              </a:cxn>
            </a:cxnLst>
            <a:rect l="0" t="0" r="r" b="b"/>
            <a:pathLst>
              <a:path w="113" h="127">
                <a:moveTo>
                  <a:pt x="25" y="34"/>
                </a:moveTo>
                <a:lnTo>
                  <a:pt x="40" y="52"/>
                </a:lnTo>
                <a:lnTo>
                  <a:pt x="47" y="67"/>
                </a:lnTo>
                <a:lnTo>
                  <a:pt x="53" y="124"/>
                </a:lnTo>
                <a:lnTo>
                  <a:pt x="66" y="127"/>
                </a:lnTo>
                <a:lnTo>
                  <a:pt x="75" y="96"/>
                </a:lnTo>
                <a:lnTo>
                  <a:pt x="77" y="80"/>
                </a:lnTo>
                <a:lnTo>
                  <a:pt x="107" y="71"/>
                </a:lnTo>
                <a:lnTo>
                  <a:pt x="113" y="58"/>
                </a:lnTo>
                <a:lnTo>
                  <a:pt x="100" y="54"/>
                </a:lnTo>
                <a:lnTo>
                  <a:pt x="84" y="21"/>
                </a:lnTo>
                <a:lnTo>
                  <a:pt x="59" y="1"/>
                </a:lnTo>
                <a:lnTo>
                  <a:pt x="28" y="0"/>
                </a:lnTo>
                <a:lnTo>
                  <a:pt x="0" y="3"/>
                </a:lnTo>
                <a:lnTo>
                  <a:pt x="25" y="34"/>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17" name="Freeform 240"/>
          <p:cNvSpPr>
            <a:spLocks noChangeAspect="1"/>
          </p:cNvSpPr>
          <p:nvPr/>
        </p:nvSpPr>
        <p:spPr bwMode="gray">
          <a:xfrm>
            <a:off x="6712051" y="3432169"/>
            <a:ext cx="192175" cy="89556"/>
          </a:xfrm>
          <a:custGeom>
            <a:avLst/>
            <a:gdLst/>
            <a:ahLst/>
            <a:cxnLst>
              <a:cxn ang="0">
                <a:pos x="0" y="6"/>
              </a:cxn>
              <a:cxn ang="0">
                <a:pos x="61" y="0"/>
              </a:cxn>
              <a:cxn ang="0">
                <a:pos x="119" y="23"/>
              </a:cxn>
              <a:cxn ang="0">
                <a:pos x="144" y="49"/>
              </a:cxn>
              <a:cxn ang="0">
                <a:pos x="175" y="49"/>
              </a:cxn>
              <a:cxn ang="0">
                <a:pos x="195" y="37"/>
              </a:cxn>
              <a:cxn ang="0">
                <a:pos x="211" y="33"/>
              </a:cxn>
              <a:cxn ang="0">
                <a:pos x="227" y="60"/>
              </a:cxn>
              <a:cxn ang="0">
                <a:pos x="254" y="66"/>
              </a:cxn>
              <a:cxn ang="0">
                <a:pos x="248" y="77"/>
              </a:cxn>
              <a:cxn ang="0">
                <a:pos x="256" y="97"/>
              </a:cxn>
              <a:cxn ang="0">
                <a:pos x="254" y="113"/>
              </a:cxn>
              <a:cxn ang="0">
                <a:pos x="227" y="88"/>
              </a:cxn>
              <a:cxn ang="0">
                <a:pos x="211" y="82"/>
              </a:cxn>
              <a:cxn ang="0">
                <a:pos x="197" y="82"/>
              </a:cxn>
              <a:cxn ang="0">
                <a:pos x="190" y="108"/>
              </a:cxn>
              <a:cxn ang="0">
                <a:pos x="170" y="100"/>
              </a:cxn>
              <a:cxn ang="0">
                <a:pos x="137" y="114"/>
              </a:cxn>
              <a:cxn ang="0">
                <a:pos x="99" y="111"/>
              </a:cxn>
              <a:cxn ang="0">
                <a:pos x="97" y="66"/>
              </a:cxn>
              <a:cxn ang="0">
                <a:pos x="34" y="27"/>
              </a:cxn>
              <a:cxn ang="0">
                <a:pos x="0" y="6"/>
              </a:cxn>
            </a:cxnLst>
            <a:rect l="0" t="0" r="r" b="b"/>
            <a:pathLst>
              <a:path w="256" h="114">
                <a:moveTo>
                  <a:pt x="0" y="6"/>
                </a:moveTo>
                <a:lnTo>
                  <a:pt x="61" y="0"/>
                </a:lnTo>
                <a:lnTo>
                  <a:pt x="119" y="23"/>
                </a:lnTo>
                <a:lnTo>
                  <a:pt x="144" y="49"/>
                </a:lnTo>
                <a:lnTo>
                  <a:pt x="175" y="49"/>
                </a:lnTo>
                <a:lnTo>
                  <a:pt x="195" y="37"/>
                </a:lnTo>
                <a:lnTo>
                  <a:pt x="211" y="33"/>
                </a:lnTo>
                <a:lnTo>
                  <a:pt x="227" y="60"/>
                </a:lnTo>
                <a:lnTo>
                  <a:pt x="254" y="66"/>
                </a:lnTo>
                <a:lnTo>
                  <a:pt x="248" y="77"/>
                </a:lnTo>
                <a:lnTo>
                  <a:pt x="256" y="97"/>
                </a:lnTo>
                <a:lnTo>
                  <a:pt x="254" y="113"/>
                </a:lnTo>
                <a:lnTo>
                  <a:pt x="227" y="88"/>
                </a:lnTo>
                <a:lnTo>
                  <a:pt x="211" y="82"/>
                </a:lnTo>
                <a:lnTo>
                  <a:pt x="197" y="82"/>
                </a:lnTo>
                <a:lnTo>
                  <a:pt x="190" y="108"/>
                </a:lnTo>
                <a:lnTo>
                  <a:pt x="170" y="100"/>
                </a:lnTo>
                <a:lnTo>
                  <a:pt x="137" y="114"/>
                </a:lnTo>
                <a:lnTo>
                  <a:pt x="99" y="111"/>
                </a:lnTo>
                <a:lnTo>
                  <a:pt x="97" y="66"/>
                </a:lnTo>
                <a:lnTo>
                  <a:pt x="34" y="27"/>
                </a:lnTo>
                <a:lnTo>
                  <a:pt x="0" y="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18" name="Freeform 241"/>
          <p:cNvSpPr>
            <a:spLocks noChangeAspect="1"/>
          </p:cNvSpPr>
          <p:nvPr/>
        </p:nvSpPr>
        <p:spPr bwMode="gray">
          <a:xfrm>
            <a:off x="6853240" y="3485558"/>
            <a:ext cx="162761" cy="136058"/>
          </a:xfrm>
          <a:custGeom>
            <a:avLst/>
            <a:gdLst/>
            <a:ahLst/>
            <a:cxnLst>
              <a:cxn ang="0">
                <a:pos x="80" y="8"/>
              </a:cxn>
              <a:cxn ang="0">
                <a:pos x="91" y="8"/>
              </a:cxn>
              <a:cxn ang="0">
                <a:pos x="123" y="16"/>
              </a:cxn>
              <a:cxn ang="0">
                <a:pos x="155" y="38"/>
              </a:cxn>
              <a:cxn ang="0">
                <a:pos x="173" y="66"/>
              </a:cxn>
              <a:cxn ang="0">
                <a:pos x="213" y="98"/>
              </a:cxn>
              <a:cxn ang="0">
                <a:pos x="191" y="105"/>
              </a:cxn>
              <a:cxn ang="0">
                <a:pos x="177" y="126"/>
              </a:cxn>
              <a:cxn ang="0">
                <a:pos x="174" y="136"/>
              </a:cxn>
              <a:cxn ang="0">
                <a:pos x="166" y="173"/>
              </a:cxn>
              <a:cxn ang="0">
                <a:pos x="137" y="163"/>
              </a:cxn>
              <a:cxn ang="0">
                <a:pos x="130" y="130"/>
              </a:cxn>
              <a:cxn ang="0">
                <a:pos x="102" y="143"/>
              </a:cxn>
              <a:cxn ang="0">
                <a:pos x="71" y="162"/>
              </a:cxn>
              <a:cxn ang="0">
                <a:pos x="54" y="157"/>
              </a:cxn>
              <a:cxn ang="0">
                <a:pos x="38" y="141"/>
              </a:cxn>
              <a:cxn ang="0">
                <a:pos x="29" y="126"/>
              </a:cxn>
              <a:cxn ang="0">
                <a:pos x="41" y="110"/>
              </a:cxn>
              <a:cxn ang="0">
                <a:pos x="49" y="122"/>
              </a:cxn>
              <a:cxn ang="0">
                <a:pos x="87" y="140"/>
              </a:cxn>
              <a:cxn ang="0">
                <a:pos x="95" y="124"/>
              </a:cxn>
              <a:cxn ang="0">
                <a:pos x="60" y="97"/>
              </a:cxn>
              <a:cxn ang="0">
                <a:pos x="48" y="75"/>
              </a:cxn>
              <a:cxn ang="0">
                <a:pos x="37" y="66"/>
              </a:cxn>
              <a:cxn ang="0">
                <a:pos x="37" y="53"/>
              </a:cxn>
              <a:cxn ang="0">
                <a:pos x="21" y="47"/>
              </a:cxn>
              <a:cxn ang="0">
                <a:pos x="0" y="43"/>
              </a:cxn>
              <a:cxn ang="0">
                <a:pos x="5" y="26"/>
              </a:cxn>
              <a:cxn ang="0">
                <a:pos x="9" y="16"/>
              </a:cxn>
              <a:cxn ang="0">
                <a:pos x="26" y="16"/>
              </a:cxn>
              <a:cxn ang="0">
                <a:pos x="37" y="22"/>
              </a:cxn>
              <a:cxn ang="0">
                <a:pos x="64" y="47"/>
              </a:cxn>
              <a:cxn ang="0">
                <a:pos x="66" y="31"/>
              </a:cxn>
              <a:cxn ang="0">
                <a:pos x="58" y="12"/>
              </a:cxn>
              <a:cxn ang="0">
                <a:pos x="64" y="0"/>
              </a:cxn>
              <a:cxn ang="0">
                <a:pos x="80" y="8"/>
              </a:cxn>
            </a:cxnLst>
            <a:rect l="0" t="0" r="r" b="b"/>
            <a:pathLst>
              <a:path w="213" h="173">
                <a:moveTo>
                  <a:pt x="80" y="8"/>
                </a:moveTo>
                <a:lnTo>
                  <a:pt x="91" y="8"/>
                </a:lnTo>
                <a:lnTo>
                  <a:pt x="123" y="16"/>
                </a:lnTo>
                <a:lnTo>
                  <a:pt x="155" y="38"/>
                </a:lnTo>
                <a:lnTo>
                  <a:pt x="173" y="66"/>
                </a:lnTo>
                <a:lnTo>
                  <a:pt x="213" y="98"/>
                </a:lnTo>
                <a:lnTo>
                  <a:pt x="191" y="105"/>
                </a:lnTo>
                <a:lnTo>
                  <a:pt x="177" y="126"/>
                </a:lnTo>
                <a:lnTo>
                  <a:pt x="174" y="136"/>
                </a:lnTo>
                <a:lnTo>
                  <a:pt x="166" y="173"/>
                </a:lnTo>
                <a:lnTo>
                  <a:pt x="137" y="163"/>
                </a:lnTo>
                <a:lnTo>
                  <a:pt x="130" y="130"/>
                </a:lnTo>
                <a:lnTo>
                  <a:pt x="102" y="143"/>
                </a:lnTo>
                <a:lnTo>
                  <a:pt x="71" y="162"/>
                </a:lnTo>
                <a:lnTo>
                  <a:pt x="54" y="157"/>
                </a:lnTo>
                <a:lnTo>
                  <a:pt x="38" y="141"/>
                </a:lnTo>
                <a:lnTo>
                  <a:pt x="29" y="126"/>
                </a:lnTo>
                <a:lnTo>
                  <a:pt x="41" y="110"/>
                </a:lnTo>
                <a:lnTo>
                  <a:pt x="49" y="122"/>
                </a:lnTo>
                <a:lnTo>
                  <a:pt x="87" y="140"/>
                </a:lnTo>
                <a:lnTo>
                  <a:pt x="95" y="124"/>
                </a:lnTo>
                <a:lnTo>
                  <a:pt x="60" y="97"/>
                </a:lnTo>
                <a:lnTo>
                  <a:pt x="48" y="75"/>
                </a:lnTo>
                <a:lnTo>
                  <a:pt x="37" y="66"/>
                </a:lnTo>
                <a:lnTo>
                  <a:pt x="37" y="53"/>
                </a:lnTo>
                <a:lnTo>
                  <a:pt x="21" y="47"/>
                </a:lnTo>
                <a:lnTo>
                  <a:pt x="0" y="43"/>
                </a:lnTo>
                <a:lnTo>
                  <a:pt x="5" y="26"/>
                </a:lnTo>
                <a:lnTo>
                  <a:pt x="9" y="16"/>
                </a:lnTo>
                <a:lnTo>
                  <a:pt x="26" y="16"/>
                </a:lnTo>
                <a:lnTo>
                  <a:pt x="37" y="22"/>
                </a:lnTo>
                <a:lnTo>
                  <a:pt x="64" y="47"/>
                </a:lnTo>
                <a:lnTo>
                  <a:pt x="66" y="31"/>
                </a:lnTo>
                <a:lnTo>
                  <a:pt x="58" y="12"/>
                </a:lnTo>
                <a:lnTo>
                  <a:pt x="64" y="0"/>
                </a:lnTo>
                <a:lnTo>
                  <a:pt x="80" y="8"/>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19" name="Freeform 242"/>
          <p:cNvSpPr>
            <a:spLocks noChangeAspect="1"/>
          </p:cNvSpPr>
          <p:nvPr/>
        </p:nvSpPr>
        <p:spPr bwMode="gray">
          <a:xfrm>
            <a:off x="6819901" y="3513114"/>
            <a:ext cx="109814" cy="80946"/>
          </a:xfrm>
          <a:custGeom>
            <a:avLst/>
            <a:gdLst/>
            <a:ahLst/>
            <a:cxnLst>
              <a:cxn ang="0">
                <a:pos x="0" y="16"/>
              </a:cxn>
              <a:cxn ang="0">
                <a:pos x="17" y="33"/>
              </a:cxn>
              <a:cxn ang="0">
                <a:pos x="38" y="59"/>
              </a:cxn>
              <a:cxn ang="0">
                <a:pos x="70" y="93"/>
              </a:cxn>
              <a:cxn ang="0">
                <a:pos x="92" y="73"/>
              </a:cxn>
              <a:cxn ang="0">
                <a:pos x="93" y="90"/>
              </a:cxn>
              <a:cxn ang="0">
                <a:pos x="109" y="93"/>
              </a:cxn>
              <a:cxn ang="0">
                <a:pos x="132" y="106"/>
              </a:cxn>
              <a:cxn ang="0">
                <a:pos x="141" y="90"/>
              </a:cxn>
              <a:cxn ang="0">
                <a:pos x="106" y="63"/>
              </a:cxn>
              <a:cxn ang="0">
                <a:pos x="98" y="42"/>
              </a:cxn>
              <a:cxn ang="0">
                <a:pos x="83" y="32"/>
              </a:cxn>
              <a:cxn ang="0">
                <a:pos x="83" y="19"/>
              </a:cxn>
              <a:cxn ang="0">
                <a:pos x="67" y="13"/>
              </a:cxn>
              <a:cxn ang="0">
                <a:pos x="44" y="8"/>
              </a:cxn>
              <a:cxn ang="0">
                <a:pos x="24" y="0"/>
              </a:cxn>
              <a:cxn ang="0">
                <a:pos x="7" y="3"/>
              </a:cxn>
              <a:cxn ang="0">
                <a:pos x="0" y="16"/>
              </a:cxn>
            </a:cxnLst>
            <a:rect l="0" t="0" r="r" b="b"/>
            <a:pathLst>
              <a:path w="141" h="106">
                <a:moveTo>
                  <a:pt x="0" y="16"/>
                </a:moveTo>
                <a:lnTo>
                  <a:pt x="17" y="33"/>
                </a:lnTo>
                <a:lnTo>
                  <a:pt x="38" y="59"/>
                </a:lnTo>
                <a:lnTo>
                  <a:pt x="70" y="93"/>
                </a:lnTo>
                <a:lnTo>
                  <a:pt x="92" y="73"/>
                </a:lnTo>
                <a:lnTo>
                  <a:pt x="93" y="90"/>
                </a:lnTo>
                <a:lnTo>
                  <a:pt x="109" y="93"/>
                </a:lnTo>
                <a:lnTo>
                  <a:pt x="132" y="106"/>
                </a:lnTo>
                <a:lnTo>
                  <a:pt x="141" y="90"/>
                </a:lnTo>
                <a:lnTo>
                  <a:pt x="106" y="63"/>
                </a:lnTo>
                <a:lnTo>
                  <a:pt x="98" y="42"/>
                </a:lnTo>
                <a:lnTo>
                  <a:pt x="83" y="32"/>
                </a:lnTo>
                <a:lnTo>
                  <a:pt x="83" y="19"/>
                </a:lnTo>
                <a:lnTo>
                  <a:pt x="67" y="13"/>
                </a:lnTo>
                <a:lnTo>
                  <a:pt x="44" y="8"/>
                </a:lnTo>
                <a:lnTo>
                  <a:pt x="24" y="0"/>
                </a:lnTo>
                <a:lnTo>
                  <a:pt x="7" y="3"/>
                </a:lnTo>
                <a:lnTo>
                  <a:pt x="0" y="1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20" name="Freeform 243"/>
          <p:cNvSpPr>
            <a:spLocks noChangeAspect="1"/>
          </p:cNvSpPr>
          <p:nvPr/>
        </p:nvSpPr>
        <p:spPr bwMode="gray">
          <a:xfrm>
            <a:off x="6880691" y="3036055"/>
            <a:ext cx="1098142" cy="499448"/>
          </a:xfrm>
          <a:custGeom>
            <a:avLst/>
            <a:gdLst/>
            <a:ahLst/>
            <a:cxnLst>
              <a:cxn ang="0">
                <a:pos x="1378" y="257"/>
              </a:cxn>
              <a:cxn ang="0">
                <a:pos x="1234" y="244"/>
              </a:cxn>
              <a:cxn ang="0">
                <a:pos x="1180" y="194"/>
              </a:cxn>
              <a:cxn ang="0">
                <a:pos x="1112" y="202"/>
              </a:cxn>
              <a:cxn ang="0">
                <a:pos x="1046" y="180"/>
              </a:cxn>
              <a:cxn ang="0">
                <a:pos x="925" y="104"/>
              </a:cxn>
              <a:cxn ang="0">
                <a:pos x="774" y="76"/>
              </a:cxn>
              <a:cxn ang="0">
                <a:pos x="670" y="46"/>
              </a:cxn>
              <a:cxn ang="0">
                <a:pos x="565" y="25"/>
              </a:cxn>
              <a:cxn ang="0">
                <a:pos x="467" y="53"/>
              </a:cxn>
              <a:cxn ang="0">
                <a:pos x="356" y="53"/>
              </a:cxn>
              <a:cxn ang="0">
                <a:pos x="356" y="125"/>
              </a:cxn>
              <a:cxn ang="0">
                <a:pos x="399" y="159"/>
              </a:cxn>
              <a:cxn ang="0">
                <a:pos x="399" y="206"/>
              </a:cxn>
              <a:cxn ang="0">
                <a:pos x="356" y="211"/>
              </a:cxn>
              <a:cxn ang="0">
                <a:pos x="291" y="185"/>
              </a:cxn>
              <a:cxn ang="0">
                <a:pos x="248" y="194"/>
              </a:cxn>
              <a:cxn ang="0">
                <a:pos x="198" y="176"/>
              </a:cxn>
              <a:cxn ang="0">
                <a:pos x="76" y="173"/>
              </a:cxn>
              <a:cxn ang="0">
                <a:pos x="49" y="198"/>
              </a:cxn>
              <a:cxn ang="0">
                <a:pos x="45" y="233"/>
              </a:cxn>
              <a:cxn ang="0">
                <a:pos x="5" y="216"/>
              </a:cxn>
              <a:cxn ang="0">
                <a:pos x="0" y="286"/>
              </a:cxn>
              <a:cxn ang="0">
                <a:pos x="18" y="333"/>
              </a:cxn>
              <a:cxn ang="0">
                <a:pos x="63" y="331"/>
              </a:cxn>
              <a:cxn ang="0">
                <a:pos x="109" y="400"/>
              </a:cxn>
              <a:cxn ang="0">
                <a:pos x="263" y="373"/>
              </a:cxn>
              <a:cxn ang="0">
                <a:pos x="249" y="448"/>
              </a:cxn>
              <a:cxn ang="0">
                <a:pos x="172" y="486"/>
              </a:cxn>
              <a:cxn ang="0">
                <a:pos x="258" y="556"/>
              </a:cxn>
              <a:cxn ang="0">
                <a:pos x="320" y="567"/>
              </a:cxn>
              <a:cxn ang="0">
                <a:pos x="367" y="576"/>
              </a:cxn>
              <a:cxn ang="0">
                <a:pos x="366" y="434"/>
              </a:cxn>
              <a:cxn ang="0">
                <a:pos x="426" y="392"/>
              </a:cxn>
              <a:cxn ang="0">
                <a:pos x="448" y="373"/>
              </a:cxn>
              <a:cxn ang="0">
                <a:pos x="477" y="386"/>
              </a:cxn>
              <a:cxn ang="0">
                <a:pos x="493" y="398"/>
              </a:cxn>
              <a:cxn ang="0">
                <a:pos x="531" y="456"/>
              </a:cxn>
              <a:cxn ang="0">
                <a:pos x="562" y="493"/>
              </a:cxn>
              <a:cxn ang="0">
                <a:pos x="648" y="493"/>
              </a:cxn>
              <a:cxn ang="0">
                <a:pos x="681" y="590"/>
              </a:cxn>
              <a:cxn ang="0">
                <a:pos x="715" y="623"/>
              </a:cxn>
              <a:cxn ang="0">
                <a:pos x="800" y="607"/>
              </a:cxn>
              <a:cxn ang="0">
                <a:pos x="900" y="609"/>
              </a:cxn>
              <a:cxn ang="0">
                <a:pos x="894" y="568"/>
              </a:cxn>
              <a:cxn ang="0">
                <a:pos x="911" y="546"/>
              </a:cxn>
              <a:cxn ang="0">
                <a:pos x="973" y="554"/>
              </a:cxn>
              <a:cxn ang="0">
                <a:pos x="1059" y="535"/>
              </a:cxn>
              <a:cxn ang="0">
                <a:pos x="1206" y="563"/>
              </a:cxn>
              <a:cxn ang="0">
                <a:pos x="1206" y="475"/>
              </a:cxn>
              <a:cxn ang="0">
                <a:pos x="1315" y="373"/>
              </a:cxn>
            </a:cxnLst>
            <a:rect l="0" t="0" r="r" b="b"/>
            <a:pathLst>
              <a:path w="1452" h="623">
                <a:moveTo>
                  <a:pt x="1416" y="321"/>
                </a:moveTo>
                <a:lnTo>
                  <a:pt x="1452" y="307"/>
                </a:lnTo>
                <a:lnTo>
                  <a:pt x="1378" y="257"/>
                </a:lnTo>
                <a:lnTo>
                  <a:pt x="1332" y="278"/>
                </a:lnTo>
                <a:lnTo>
                  <a:pt x="1265" y="258"/>
                </a:lnTo>
                <a:lnTo>
                  <a:pt x="1234" y="244"/>
                </a:lnTo>
                <a:lnTo>
                  <a:pt x="1206" y="244"/>
                </a:lnTo>
                <a:lnTo>
                  <a:pt x="1189" y="213"/>
                </a:lnTo>
                <a:lnTo>
                  <a:pt x="1180" y="194"/>
                </a:lnTo>
                <a:lnTo>
                  <a:pt x="1154" y="194"/>
                </a:lnTo>
                <a:lnTo>
                  <a:pt x="1132" y="194"/>
                </a:lnTo>
                <a:lnTo>
                  <a:pt x="1112" y="202"/>
                </a:lnTo>
                <a:lnTo>
                  <a:pt x="1077" y="168"/>
                </a:lnTo>
                <a:lnTo>
                  <a:pt x="1062" y="173"/>
                </a:lnTo>
                <a:lnTo>
                  <a:pt x="1046" y="180"/>
                </a:lnTo>
                <a:lnTo>
                  <a:pt x="1026" y="187"/>
                </a:lnTo>
                <a:lnTo>
                  <a:pt x="995" y="162"/>
                </a:lnTo>
                <a:lnTo>
                  <a:pt x="925" y="104"/>
                </a:lnTo>
                <a:lnTo>
                  <a:pt x="868" y="70"/>
                </a:lnTo>
                <a:lnTo>
                  <a:pt x="834" y="38"/>
                </a:lnTo>
                <a:lnTo>
                  <a:pt x="774" y="76"/>
                </a:lnTo>
                <a:lnTo>
                  <a:pt x="764" y="49"/>
                </a:lnTo>
                <a:lnTo>
                  <a:pt x="680" y="46"/>
                </a:lnTo>
                <a:lnTo>
                  <a:pt x="670" y="46"/>
                </a:lnTo>
                <a:lnTo>
                  <a:pt x="632" y="0"/>
                </a:lnTo>
                <a:lnTo>
                  <a:pt x="592" y="6"/>
                </a:lnTo>
                <a:lnTo>
                  <a:pt x="565" y="25"/>
                </a:lnTo>
                <a:lnTo>
                  <a:pt x="512" y="36"/>
                </a:lnTo>
                <a:lnTo>
                  <a:pt x="495" y="26"/>
                </a:lnTo>
                <a:lnTo>
                  <a:pt x="467" y="53"/>
                </a:lnTo>
                <a:lnTo>
                  <a:pt x="448" y="49"/>
                </a:lnTo>
                <a:lnTo>
                  <a:pt x="372" y="55"/>
                </a:lnTo>
                <a:lnTo>
                  <a:pt x="356" y="53"/>
                </a:lnTo>
                <a:lnTo>
                  <a:pt x="346" y="59"/>
                </a:lnTo>
                <a:lnTo>
                  <a:pt x="377" y="93"/>
                </a:lnTo>
                <a:lnTo>
                  <a:pt x="356" y="125"/>
                </a:lnTo>
                <a:lnTo>
                  <a:pt x="358" y="147"/>
                </a:lnTo>
                <a:lnTo>
                  <a:pt x="358" y="159"/>
                </a:lnTo>
                <a:lnTo>
                  <a:pt x="399" y="159"/>
                </a:lnTo>
                <a:lnTo>
                  <a:pt x="411" y="180"/>
                </a:lnTo>
                <a:lnTo>
                  <a:pt x="411" y="202"/>
                </a:lnTo>
                <a:lnTo>
                  <a:pt x="399" y="206"/>
                </a:lnTo>
                <a:lnTo>
                  <a:pt x="383" y="194"/>
                </a:lnTo>
                <a:lnTo>
                  <a:pt x="366" y="202"/>
                </a:lnTo>
                <a:lnTo>
                  <a:pt x="356" y="211"/>
                </a:lnTo>
                <a:lnTo>
                  <a:pt x="326" y="194"/>
                </a:lnTo>
                <a:lnTo>
                  <a:pt x="318" y="176"/>
                </a:lnTo>
                <a:lnTo>
                  <a:pt x="291" y="185"/>
                </a:lnTo>
                <a:lnTo>
                  <a:pt x="291" y="190"/>
                </a:lnTo>
                <a:lnTo>
                  <a:pt x="273" y="176"/>
                </a:lnTo>
                <a:lnTo>
                  <a:pt x="248" y="194"/>
                </a:lnTo>
                <a:lnTo>
                  <a:pt x="216" y="202"/>
                </a:lnTo>
                <a:lnTo>
                  <a:pt x="207" y="194"/>
                </a:lnTo>
                <a:lnTo>
                  <a:pt x="198" y="176"/>
                </a:lnTo>
                <a:lnTo>
                  <a:pt x="158" y="173"/>
                </a:lnTo>
                <a:lnTo>
                  <a:pt x="92" y="169"/>
                </a:lnTo>
                <a:lnTo>
                  <a:pt x="76" y="173"/>
                </a:lnTo>
                <a:lnTo>
                  <a:pt x="70" y="185"/>
                </a:lnTo>
                <a:lnTo>
                  <a:pt x="59" y="180"/>
                </a:lnTo>
                <a:lnTo>
                  <a:pt x="49" y="198"/>
                </a:lnTo>
                <a:lnTo>
                  <a:pt x="38" y="213"/>
                </a:lnTo>
                <a:lnTo>
                  <a:pt x="38" y="220"/>
                </a:lnTo>
                <a:lnTo>
                  <a:pt x="45" y="233"/>
                </a:lnTo>
                <a:lnTo>
                  <a:pt x="34" y="238"/>
                </a:lnTo>
                <a:lnTo>
                  <a:pt x="22" y="213"/>
                </a:lnTo>
                <a:lnTo>
                  <a:pt x="5" y="216"/>
                </a:lnTo>
                <a:lnTo>
                  <a:pt x="0" y="249"/>
                </a:lnTo>
                <a:lnTo>
                  <a:pt x="0" y="269"/>
                </a:lnTo>
                <a:lnTo>
                  <a:pt x="0" y="286"/>
                </a:lnTo>
                <a:lnTo>
                  <a:pt x="8" y="301"/>
                </a:lnTo>
                <a:lnTo>
                  <a:pt x="18" y="313"/>
                </a:lnTo>
                <a:lnTo>
                  <a:pt x="18" y="333"/>
                </a:lnTo>
                <a:lnTo>
                  <a:pt x="34" y="331"/>
                </a:lnTo>
                <a:lnTo>
                  <a:pt x="54" y="316"/>
                </a:lnTo>
                <a:lnTo>
                  <a:pt x="63" y="331"/>
                </a:lnTo>
                <a:lnTo>
                  <a:pt x="79" y="349"/>
                </a:lnTo>
                <a:lnTo>
                  <a:pt x="93" y="366"/>
                </a:lnTo>
                <a:lnTo>
                  <a:pt x="109" y="400"/>
                </a:lnTo>
                <a:lnTo>
                  <a:pt x="138" y="392"/>
                </a:lnTo>
                <a:lnTo>
                  <a:pt x="187" y="383"/>
                </a:lnTo>
                <a:lnTo>
                  <a:pt x="263" y="373"/>
                </a:lnTo>
                <a:lnTo>
                  <a:pt x="281" y="397"/>
                </a:lnTo>
                <a:lnTo>
                  <a:pt x="284" y="439"/>
                </a:lnTo>
                <a:lnTo>
                  <a:pt x="249" y="448"/>
                </a:lnTo>
                <a:lnTo>
                  <a:pt x="216" y="456"/>
                </a:lnTo>
                <a:lnTo>
                  <a:pt x="221" y="486"/>
                </a:lnTo>
                <a:lnTo>
                  <a:pt x="172" y="486"/>
                </a:lnTo>
                <a:lnTo>
                  <a:pt x="216" y="547"/>
                </a:lnTo>
                <a:lnTo>
                  <a:pt x="237" y="552"/>
                </a:lnTo>
                <a:lnTo>
                  <a:pt x="258" y="556"/>
                </a:lnTo>
                <a:lnTo>
                  <a:pt x="268" y="581"/>
                </a:lnTo>
                <a:lnTo>
                  <a:pt x="280" y="571"/>
                </a:lnTo>
                <a:lnTo>
                  <a:pt x="320" y="567"/>
                </a:lnTo>
                <a:lnTo>
                  <a:pt x="341" y="576"/>
                </a:lnTo>
                <a:lnTo>
                  <a:pt x="356" y="589"/>
                </a:lnTo>
                <a:lnTo>
                  <a:pt x="367" y="576"/>
                </a:lnTo>
                <a:lnTo>
                  <a:pt x="392" y="579"/>
                </a:lnTo>
                <a:lnTo>
                  <a:pt x="348" y="442"/>
                </a:lnTo>
                <a:lnTo>
                  <a:pt x="366" y="434"/>
                </a:lnTo>
                <a:lnTo>
                  <a:pt x="424" y="405"/>
                </a:lnTo>
                <a:lnTo>
                  <a:pt x="434" y="403"/>
                </a:lnTo>
                <a:lnTo>
                  <a:pt x="426" y="392"/>
                </a:lnTo>
                <a:lnTo>
                  <a:pt x="439" y="398"/>
                </a:lnTo>
                <a:lnTo>
                  <a:pt x="439" y="383"/>
                </a:lnTo>
                <a:lnTo>
                  <a:pt x="448" y="373"/>
                </a:lnTo>
                <a:lnTo>
                  <a:pt x="451" y="377"/>
                </a:lnTo>
                <a:lnTo>
                  <a:pt x="465" y="377"/>
                </a:lnTo>
                <a:lnTo>
                  <a:pt x="477" y="386"/>
                </a:lnTo>
                <a:lnTo>
                  <a:pt x="494" y="368"/>
                </a:lnTo>
                <a:lnTo>
                  <a:pt x="504" y="373"/>
                </a:lnTo>
                <a:lnTo>
                  <a:pt x="493" y="398"/>
                </a:lnTo>
                <a:lnTo>
                  <a:pt x="501" y="431"/>
                </a:lnTo>
                <a:lnTo>
                  <a:pt x="531" y="449"/>
                </a:lnTo>
                <a:lnTo>
                  <a:pt x="531" y="456"/>
                </a:lnTo>
                <a:lnTo>
                  <a:pt x="521" y="471"/>
                </a:lnTo>
                <a:lnTo>
                  <a:pt x="526" y="478"/>
                </a:lnTo>
                <a:lnTo>
                  <a:pt x="562" y="493"/>
                </a:lnTo>
                <a:lnTo>
                  <a:pt x="575" y="513"/>
                </a:lnTo>
                <a:lnTo>
                  <a:pt x="610" y="502"/>
                </a:lnTo>
                <a:lnTo>
                  <a:pt x="648" y="493"/>
                </a:lnTo>
                <a:lnTo>
                  <a:pt x="680" y="554"/>
                </a:lnTo>
                <a:lnTo>
                  <a:pt x="691" y="584"/>
                </a:lnTo>
                <a:lnTo>
                  <a:pt x="681" y="590"/>
                </a:lnTo>
                <a:lnTo>
                  <a:pt x="675" y="601"/>
                </a:lnTo>
                <a:lnTo>
                  <a:pt x="706" y="611"/>
                </a:lnTo>
                <a:lnTo>
                  <a:pt x="715" y="623"/>
                </a:lnTo>
                <a:lnTo>
                  <a:pt x="757" y="611"/>
                </a:lnTo>
                <a:lnTo>
                  <a:pt x="772" y="623"/>
                </a:lnTo>
                <a:lnTo>
                  <a:pt x="800" y="607"/>
                </a:lnTo>
                <a:lnTo>
                  <a:pt x="819" y="604"/>
                </a:lnTo>
                <a:lnTo>
                  <a:pt x="846" y="609"/>
                </a:lnTo>
                <a:lnTo>
                  <a:pt x="900" y="609"/>
                </a:lnTo>
                <a:lnTo>
                  <a:pt x="885" y="597"/>
                </a:lnTo>
                <a:lnTo>
                  <a:pt x="885" y="579"/>
                </a:lnTo>
                <a:lnTo>
                  <a:pt x="894" y="568"/>
                </a:lnTo>
                <a:lnTo>
                  <a:pt x="894" y="558"/>
                </a:lnTo>
                <a:lnTo>
                  <a:pt x="877" y="549"/>
                </a:lnTo>
                <a:lnTo>
                  <a:pt x="911" y="546"/>
                </a:lnTo>
                <a:lnTo>
                  <a:pt x="942" y="549"/>
                </a:lnTo>
                <a:lnTo>
                  <a:pt x="949" y="558"/>
                </a:lnTo>
                <a:lnTo>
                  <a:pt x="973" y="554"/>
                </a:lnTo>
                <a:lnTo>
                  <a:pt x="955" y="527"/>
                </a:lnTo>
                <a:lnTo>
                  <a:pt x="975" y="524"/>
                </a:lnTo>
                <a:lnTo>
                  <a:pt x="1059" y="535"/>
                </a:lnTo>
                <a:lnTo>
                  <a:pt x="1129" y="541"/>
                </a:lnTo>
                <a:lnTo>
                  <a:pt x="1180" y="563"/>
                </a:lnTo>
                <a:lnTo>
                  <a:pt x="1206" y="563"/>
                </a:lnTo>
                <a:lnTo>
                  <a:pt x="1214" y="589"/>
                </a:lnTo>
                <a:lnTo>
                  <a:pt x="1234" y="535"/>
                </a:lnTo>
                <a:lnTo>
                  <a:pt x="1206" y="475"/>
                </a:lnTo>
                <a:lnTo>
                  <a:pt x="1291" y="454"/>
                </a:lnTo>
                <a:lnTo>
                  <a:pt x="1301" y="422"/>
                </a:lnTo>
                <a:lnTo>
                  <a:pt x="1315" y="373"/>
                </a:lnTo>
                <a:lnTo>
                  <a:pt x="1403" y="377"/>
                </a:lnTo>
                <a:lnTo>
                  <a:pt x="1416" y="32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21" name="Freeform 244"/>
          <p:cNvSpPr>
            <a:spLocks noChangeAspect="1"/>
          </p:cNvSpPr>
          <p:nvPr/>
        </p:nvSpPr>
        <p:spPr bwMode="gray">
          <a:xfrm>
            <a:off x="7145423" y="3359836"/>
            <a:ext cx="480438" cy="306558"/>
          </a:xfrm>
          <a:custGeom>
            <a:avLst/>
            <a:gdLst/>
            <a:ahLst/>
            <a:cxnLst>
              <a:cxn ang="0">
                <a:pos x="60" y="173"/>
              </a:cxn>
              <a:cxn ang="0">
                <a:pos x="71" y="144"/>
              </a:cxn>
              <a:cxn ang="0">
                <a:pos x="86" y="132"/>
              </a:cxn>
              <a:cxn ang="0">
                <a:pos x="113" y="138"/>
              </a:cxn>
              <a:cxn ang="0">
                <a:pos x="145" y="146"/>
              </a:cxn>
              <a:cxn ang="0">
                <a:pos x="153" y="155"/>
              </a:cxn>
              <a:cxn ang="0">
                <a:pos x="173" y="173"/>
              </a:cxn>
              <a:cxn ang="0">
                <a:pos x="188" y="217"/>
              </a:cxn>
              <a:cxn ang="0">
                <a:pos x="212" y="212"/>
              </a:cxn>
              <a:cxn ang="0">
                <a:pos x="246" y="217"/>
              </a:cxn>
              <a:cxn ang="0">
                <a:pos x="296" y="269"/>
              </a:cxn>
              <a:cxn ang="0">
                <a:pos x="350" y="301"/>
              </a:cxn>
              <a:cxn ang="0">
                <a:pos x="400" y="331"/>
              </a:cxn>
              <a:cxn ang="0">
                <a:pos x="420" y="386"/>
              </a:cxn>
              <a:cxn ang="0">
                <a:pos x="453" y="343"/>
              </a:cxn>
              <a:cxn ang="0">
                <a:pos x="457" y="303"/>
              </a:cxn>
              <a:cxn ang="0">
                <a:pos x="437" y="245"/>
              </a:cxn>
              <a:cxn ang="0">
                <a:pos x="479" y="233"/>
              </a:cxn>
              <a:cxn ang="0">
                <a:pos x="534" y="244"/>
              </a:cxn>
              <a:cxn ang="0">
                <a:pos x="619" y="239"/>
              </a:cxn>
              <a:cxn ang="0">
                <a:pos x="619" y="204"/>
              </a:cxn>
              <a:cxn ang="0">
                <a:pos x="517" y="204"/>
              </a:cxn>
              <a:cxn ang="0">
                <a:pos x="465" y="200"/>
              </a:cxn>
              <a:cxn ang="0">
                <a:pos x="419" y="217"/>
              </a:cxn>
              <a:cxn ang="0">
                <a:pos x="388" y="212"/>
              </a:cxn>
              <a:cxn ang="0">
                <a:pos x="364" y="216"/>
              </a:cxn>
              <a:cxn ang="0">
                <a:pos x="333" y="200"/>
              </a:cxn>
              <a:cxn ang="0">
                <a:pos x="332" y="187"/>
              </a:cxn>
              <a:cxn ang="0">
                <a:pos x="327" y="143"/>
              </a:cxn>
              <a:cxn ang="0">
                <a:pos x="228" y="107"/>
              </a:cxn>
              <a:cxn ang="0">
                <a:pos x="178" y="75"/>
              </a:cxn>
              <a:cxn ang="0">
                <a:pos x="114" y="91"/>
              </a:cxn>
              <a:cxn ang="0">
                <a:pos x="75" y="40"/>
              </a:cxn>
              <a:cxn ang="0">
                <a:pos x="76" y="0"/>
              </a:cxn>
              <a:cxn ang="0">
                <a:pos x="44" y="176"/>
              </a:cxn>
            </a:cxnLst>
            <a:rect l="0" t="0" r="r" b="b"/>
            <a:pathLst>
              <a:path w="634" h="386">
                <a:moveTo>
                  <a:pt x="44" y="176"/>
                </a:moveTo>
                <a:lnTo>
                  <a:pt x="60" y="173"/>
                </a:lnTo>
                <a:lnTo>
                  <a:pt x="66" y="157"/>
                </a:lnTo>
                <a:lnTo>
                  <a:pt x="71" y="144"/>
                </a:lnTo>
                <a:lnTo>
                  <a:pt x="91" y="151"/>
                </a:lnTo>
                <a:lnTo>
                  <a:pt x="86" y="132"/>
                </a:lnTo>
                <a:lnTo>
                  <a:pt x="103" y="124"/>
                </a:lnTo>
                <a:lnTo>
                  <a:pt x="113" y="138"/>
                </a:lnTo>
                <a:lnTo>
                  <a:pt x="129" y="138"/>
                </a:lnTo>
                <a:lnTo>
                  <a:pt x="145" y="146"/>
                </a:lnTo>
                <a:lnTo>
                  <a:pt x="153" y="151"/>
                </a:lnTo>
                <a:lnTo>
                  <a:pt x="153" y="155"/>
                </a:lnTo>
                <a:lnTo>
                  <a:pt x="155" y="167"/>
                </a:lnTo>
                <a:lnTo>
                  <a:pt x="173" y="173"/>
                </a:lnTo>
                <a:lnTo>
                  <a:pt x="173" y="190"/>
                </a:lnTo>
                <a:lnTo>
                  <a:pt x="188" y="217"/>
                </a:lnTo>
                <a:lnTo>
                  <a:pt x="205" y="220"/>
                </a:lnTo>
                <a:lnTo>
                  <a:pt x="212" y="212"/>
                </a:lnTo>
                <a:lnTo>
                  <a:pt x="230" y="203"/>
                </a:lnTo>
                <a:lnTo>
                  <a:pt x="246" y="217"/>
                </a:lnTo>
                <a:lnTo>
                  <a:pt x="266" y="239"/>
                </a:lnTo>
                <a:lnTo>
                  <a:pt x="296" y="269"/>
                </a:lnTo>
                <a:lnTo>
                  <a:pt x="349" y="282"/>
                </a:lnTo>
                <a:lnTo>
                  <a:pt x="350" y="301"/>
                </a:lnTo>
                <a:lnTo>
                  <a:pt x="384" y="313"/>
                </a:lnTo>
                <a:lnTo>
                  <a:pt x="400" y="331"/>
                </a:lnTo>
                <a:lnTo>
                  <a:pt x="389" y="385"/>
                </a:lnTo>
                <a:lnTo>
                  <a:pt x="420" y="386"/>
                </a:lnTo>
                <a:lnTo>
                  <a:pt x="441" y="359"/>
                </a:lnTo>
                <a:lnTo>
                  <a:pt x="453" y="343"/>
                </a:lnTo>
                <a:lnTo>
                  <a:pt x="462" y="329"/>
                </a:lnTo>
                <a:lnTo>
                  <a:pt x="457" y="303"/>
                </a:lnTo>
                <a:lnTo>
                  <a:pt x="432" y="293"/>
                </a:lnTo>
                <a:lnTo>
                  <a:pt x="437" y="245"/>
                </a:lnTo>
                <a:lnTo>
                  <a:pt x="460" y="227"/>
                </a:lnTo>
                <a:lnTo>
                  <a:pt x="479" y="233"/>
                </a:lnTo>
                <a:lnTo>
                  <a:pt x="526" y="225"/>
                </a:lnTo>
                <a:lnTo>
                  <a:pt x="534" y="244"/>
                </a:lnTo>
                <a:lnTo>
                  <a:pt x="561" y="243"/>
                </a:lnTo>
                <a:lnTo>
                  <a:pt x="619" y="239"/>
                </a:lnTo>
                <a:lnTo>
                  <a:pt x="634" y="217"/>
                </a:lnTo>
                <a:lnTo>
                  <a:pt x="619" y="204"/>
                </a:lnTo>
                <a:lnTo>
                  <a:pt x="581" y="204"/>
                </a:lnTo>
                <a:lnTo>
                  <a:pt x="517" y="204"/>
                </a:lnTo>
                <a:lnTo>
                  <a:pt x="491" y="204"/>
                </a:lnTo>
                <a:lnTo>
                  <a:pt x="465" y="200"/>
                </a:lnTo>
                <a:lnTo>
                  <a:pt x="424" y="220"/>
                </a:lnTo>
                <a:lnTo>
                  <a:pt x="419" y="217"/>
                </a:lnTo>
                <a:lnTo>
                  <a:pt x="409" y="208"/>
                </a:lnTo>
                <a:lnTo>
                  <a:pt x="388" y="212"/>
                </a:lnTo>
                <a:lnTo>
                  <a:pt x="367" y="220"/>
                </a:lnTo>
                <a:lnTo>
                  <a:pt x="364" y="216"/>
                </a:lnTo>
                <a:lnTo>
                  <a:pt x="359" y="208"/>
                </a:lnTo>
                <a:lnTo>
                  <a:pt x="333" y="200"/>
                </a:lnTo>
                <a:lnTo>
                  <a:pt x="327" y="198"/>
                </a:lnTo>
                <a:lnTo>
                  <a:pt x="332" y="187"/>
                </a:lnTo>
                <a:lnTo>
                  <a:pt x="344" y="181"/>
                </a:lnTo>
                <a:lnTo>
                  <a:pt x="327" y="143"/>
                </a:lnTo>
                <a:lnTo>
                  <a:pt x="300" y="90"/>
                </a:lnTo>
                <a:lnTo>
                  <a:pt x="228" y="107"/>
                </a:lnTo>
                <a:lnTo>
                  <a:pt x="212" y="90"/>
                </a:lnTo>
                <a:lnTo>
                  <a:pt x="178" y="75"/>
                </a:lnTo>
                <a:lnTo>
                  <a:pt x="146" y="97"/>
                </a:lnTo>
                <a:lnTo>
                  <a:pt x="114" y="91"/>
                </a:lnTo>
                <a:lnTo>
                  <a:pt x="80" y="68"/>
                </a:lnTo>
                <a:lnTo>
                  <a:pt x="75" y="40"/>
                </a:lnTo>
                <a:lnTo>
                  <a:pt x="78" y="20"/>
                </a:lnTo>
                <a:lnTo>
                  <a:pt x="76" y="0"/>
                </a:lnTo>
                <a:lnTo>
                  <a:pt x="0" y="40"/>
                </a:lnTo>
                <a:lnTo>
                  <a:pt x="44" y="176"/>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22" name="Freeform 245"/>
          <p:cNvSpPr>
            <a:spLocks noChangeAspect="1"/>
          </p:cNvSpPr>
          <p:nvPr/>
        </p:nvSpPr>
        <p:spPr bwMode="gray">
          <a:xfrm>
            <a:off x="7084631" y="3459725"/>
            <a:ext cx="362780" cy="270392"/>
          </a:xfrm>
          <a:custGeom>
            <a:avLst/>
            <a:gdLst/>
            <a:ahLst/>
            <a:cxnLst>
              <a:cxn ang="0">
                <a:pos x="0" y="49"/>
              </a:cxn>
              <a:cxn ang="0">
                <a:pos x="3" y="93"/>
              </a:cxn>
              <a:cxn ang="0">
                <a:pos x="31" y="66"/>
              </a:cxn>
              <a:cxn ang="0">
                <a:pos x="66" y="101"/>
              </a:cxn>
              <a:cxn ang="0">
                <a:pos x="50" y="121"/>
              </a:cxn>
              <a:cxn ang="0">
                <a:pos x="6" y="102"/>
              </a:cxn>
              <a:cxn ang="0">
                <a:pos x="2" y="132"/>
              </a:cxn>
              <a:cxn ang="0">
                <a:pos x="6" y="150"/>
              </a:cxn>
              <a:cxn ang="0">
                <a:pos x="31" y="153"/>
              </a:cxn>
              <a:cxn ang="0">
                <a:pos x="19" y="172"/>
              </a:cxn>
              <a:cxn ang="0">
                <a:pos x="41" y="186"/>
              </a:cxn>
              <a:cxn ang="0">
                <a:pos x="41" y="246"/>
              </a:cxn>
              <a:cxn ang="0">
                <a:pos x="107" y="229"/>
              </a:cxn>
              <a:cxn ang="0">
                <a:pos x="143" y="211"/>
              </a:cxn>
              <a:cxn ang="0">
                <a:pos x="229" y="251"/>
              </a:cxn>
              <a:cxn ang="0">
                <a:pos x="282" y="274"/>
              </a:cxn>
              <a:cxn ang="0">
                <a:pos x="294" y="287"/>
              </a:cxn>
              <a:cxn ang="0">
                <a:pos x="299" y="316"/>
              </a:cxn>
              <a:cxn ang="0">
                <a:pos x="349" y="338"/>
              </a:cxn>
              <a:cxn ang="0">
                <a:pos x="423" y="257"/>
              </a:cxn>
              <a:cxn ang="0">
                <a:pos x="472" y="257"/>
              </a:cxn>
              <a:cxn ang="0">
                <a:pos x="480" y="223"/>
              </a:cxn>
              <a:cxn ang="0">
                <a:pos x="485" y="210"/>
              </a:cxn>
              <a:cxn ang="0">
                <a:pos x="469" y="188"/>
              </a:cxn>
              <a:cxn ang="0">
                <a:pos x="433" y="175"/>
              </a:cxn>
              <a:cxn ang="0">
                <a:pos x="431" y="158"/>
              </a:cxn>
              <a:cxn ang="0">
                <a:pos x="379" y="145"/>
              </a:cxn>
              <a:cxn ang="0">
                <a:pos x="349" y="115"/>
              </a:cxn>
              <a:cxn ang="0">
                <a:pos x="338" y="96"/>
              </a:cxn>
              <a:cxn ang="0">
                <a:pos x="313" y="77"/>
              </a:cxn>
              <a:cxn ang="0">
                <a:pos x="297" y="87"/>
              </a:cxn>
              <a:cxn ang="0">
                <a:pos x="288" y="96"/>
              </a:cxn>
              <a:cxn ang="0">
                <a:pos x="271" y="93"/>
              </a:cxn>
              <a:cxn ang="0">
                <a:pos x="256" y="66"/>
              </a:cxn>
              <a:cxn ang="0">
                <a:pos x="255" y="49"/>
              </a:cxn>
              <a:cxn ang="0">
                <a:pos x="238" y="43"/>
              </a:cxn>
              <a:cxn ang="0">
                <a:pos x="234" y="27"/>
              </a:cxn>
              <a:cxn ang="0">
                <a:pos x="212" y="14"/>
              </a:cxn>
              <a:cxn ang="0">
                <a:pos x="196" y="14"/>
              </a:cxn>
              <a:cxn ang="0">
                <a:pos x="186" y="0"/>
              </a:cxn>
              <a:cxn ang="0">
                <a:pos x="169" y="8"/>
              </a:cxn>
              <a:cxn ang="0">
                <a:pos x="175" y="27"/>
              </a:cxn>
              <a:cxn ang="0">
                <a:pos x="167" y="24"/>
              </a:cxn>
              <a:cxn ang="0">
                <a:pos x="154" y="20"/>
              </a:cxn>
              <a:cxn ang="0">
                <a:pos x="143" y="49"/>
              </a:cxn>
              <a:cxn ang="0">
                <a:pos x="125" y="52"/>
              </a:cxn>
              <a:cxn ang="0">
                <a:pos x="107" y="48"/>
              </a:cxn>
              <a:cxn ang="0">
                <a:pos x="91" y="62"/>
              </a:cxn>
              <a:cxn ang="0">
                <a:pos x="76" y="49"/>
              </a:cxn>
              <a:cxn ang="0">
                <a:pos x="53" y="36"/>
              </a:cxn>
              <a:cxn ang="0">
                <a:pos x="0" y="49"/>
              </a:cxn>
            </a:cxnLst>
            <a:rect l="0" t="0" r="r" b="b"/>
            <a:pathLst>
              <a:path w="485" h="338">
                <a:moveTo>
                  <a:pt x="0" y="49"/>
                </a:moveTo>
                <a:lnTo>
                  <a:pt x="3" y="93"/>
                </a:lnTo>
                <a:lnTo>
                  <a:pt x="31" y="66"/>
                </a:lnTo>
                <a:lnTo>
                  <a:pt x="66" y="101"/>
                </a:lnTo>
                <a:lnTo>
                  <a:pt x="50" y="121"/>
                </a:lnTo>
                <a:lnTo>
                  <a:pt x="6" y="102"/>
                </a:lnTo>
                <a:lnTo>
                  <a:pt x="2" y="132"/>
                </a:lnTo>
                <a:lnTo>
                  <a:pt x="6" y="150"/>
                </a:lnTo>
                <a:lnTo>
                  <a:pt x="31" y="153"/>
                </a:lnTo>
                <a:lnTo>
                  <a:pt x="19" y="172"/>
                </a:lnTo>
                <a:lnTo>
                  <a:pt x="41" y="186"/>
                </a:lnTo>
                <a:lnTo>
                  <a:pt x="41" y="246"/>
                </a:lnTo>
                <a:lnTo>
                  <a:pt x="107" y="229"/>
                </a:lnTo>
                <a:lnTo>
                  <a:pt x="143" y="211"/>
                </a:lnTo>
                <a:lnTo>
                  <a:pt x="229" y="251"/>
                </a:lnTo>
                <a:lnTo>
                  <a:pt x="282" y="274"/>
                </a:lnTo>
                <a:lnTo>
                  <a:pt x="294" y="287"/>
                </a:lnTo>
                <a:lnTo>
                  <a:pt x="299" y="316"/>
                </a:lnTo>
                <a:lnTo>
                  <a:pt x="349" y="338"/>
                </a:lnTo>
                <a:lnTo>
                  <a:pt x="423" y="257"/>
                </a:lnTo>
                <a:lnTo>
                  <a:pt x="472" y="257"/>
                </a:lnTo>
                <a:lnTo>
                  <a:pt x="480" y="223"/>
                </a:lnTo>
                <a:lnTo>
                  <a:pt x="485" y="210"/>
                </a:lnTo>
                <a:lnTo>
                  <a:pt x="469" y="188"/>
                </a:lnTo>
                <a:lnTo>
                  <a:pt x="433" y="175"/>
                </a:lnTo>
                <a:lnTo>
                  <a:pt x="431" y="158"/>
                </a:lnTo>
                <a:lnTo>
                  <a:pt x="379" y="145"/>
                </a:lnTo>
                <a:lnTo>
                  <a:pt x="349" y="115"/>
                </a:lnTo>
                <a:lnTo>
                  <a:pt x="338" y="96"/>
                </a:lnTo>
                <a:lnTo>
                  <a:pt x="313" y="77"/>
                </a:lnTo>
                <a:lnTo>
                  <a:pt x="297" y="87"/>
                </a:lnTo>
                <a:lnTo>
                  <a:pt x="288" y="96"/>
                </a:lnTo>
                <a:lnTo>
                  <a:pt x="271" y="93"/>
                </a:lnTo>
                <a:lnTo>
                  <a:pt x="256" y="66"/>
                </a:lnTo>
                <a:lnTo>
                  <a:pt x="255" y="49"/>
                </a:lnTo>
                <a:lnTo>
                  <a:pt x="238" y="43"/>
                </a:lnTo>
                <a:lnTo>
                  <a:pt x="234" y="27"/>
                </a:lnTo>
                <a:lnTo>
                  <a:pt x="212" y="14"/>
                </a:lnTo>
                <a:lnTo>
                  <a:pt x="196" y="14"/>
                </a:lnTo>
                <a:lnTo>
                  <a:pt x="186" y="0"/>
                </a:lnTo>
                <a:lnTo>
                  <a:pt x="169" y="8"/>
                </a:lnTo>
                <a:lnTo>
                  <a:pt x="175" y="27"/>
                </a:lnTo>
                <a:lnTo>
                  <a:pt x="167" y="24"/>
                </a:lnTo>
                <a:lnTo>
                  <a:pt x="154" y="20"/>
                </a:lnTo>
                <a:lnTo>
                  <a:pt x="143" y="49"/>
                </a:lnTo>
                <a:lnTo>
                  <a:pt x="125" y="52"/>
                </a:lnTo>
                <a:lnTo>
                  <a:pt x="107" y="48"/>
                </a:lnTo>
                <a:lnTo>
                  <a:pt x="91" y="62"/>
                </a:lnTo>
                <a:lnTo>
                  <a:pt x="76" y="49"/>
                </a:lnTo>
                <a:lnTo>
                  <a:pt x="53" y="36"/>
                </a:lnTo>
                <a:lnTo>
                  <a:pt x="0" y="49"/>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23" name="Freeform 246"/>
          <p:cNvSpPr>
            <a:spLocks noChangeAspect="1"/>
          </p:cNvSpPr>
          <p:nvPr/>
        </p:nvSpPr>
        <p:spPr bwMode="gray">
          <a:xfrm>
            <a:off x="7490555" y="3458002"/>
            <a:ext cx="307873" cy="134335"/>
          </a:xfrm>
          <a:custGeom>
            <a:avLst/>
            <a:gdLst/>
            <a:ahLst/>
            <a:cxnLst>
              <a:cxn ang="0">
                <a:pos x="103" y="122"/>
              </a:cxn>
              <a:cxn ang="0">
                <a:pos x="74" y="122"/>
              </a:cxn>
              <a:cxn ang="0">
                <a:pos x="15" y="129"/>
              </a:cxn>
              <a:cxn ang="0">
                <a:pos x="0" y="148"/>
              </a:cxn>
              <a:cxn ang="0">
                <a:pos x="15" y="156"/>
              </a:cxn>
              <a:cxn ang="0">
                <a:pos x="27" y="162"/>
              </a:cxn>
              <a:cxn ang="0">
                <a:pos x="109" y="161"/>
              </a:cxn>
              <a:cxn ang="0">
                <a:pos x="163" y="161"/>
              </a:cxn>
              <a:cxn ang="0">
                <a:pos x="187" y="172"/>
              </a:cxn>
              <a:cxn ang="0">
                <a:pos x="196" y="150"/>
              </a:cxn>
              <a:cxn ang="0">
                <a:pos x="219" y="148"/>
              </a:cxn>
              <a:cxn ang="0">
                <a:pos x="252" y="140"/>
              </a:cxn>
              <a:cxn ang="0">
                <a:pos x="280" y="135"/>
              </a:cxn>
              <a:cxn ang="0">
                <a:pos x="332" y="106"/>
              </a:cxn>
              <a:cxn ang="0">
                <a:pos x="387" y="79"/>
              </a:cxn>
              <a:cxn ang="0">
                <a:pos x="405" y="65"/>
              </a:cxn>
              <a:cxn ang="0">
                <a:pos x="398" y="39"/>
              </a:cxn>
              <a:cxn ang="0">
                <a:pos x="372" y="39"/>
              </a:cxn>
              <a:cxn ang="0">
                <a:pos x="346" y="27"/>
              </a:cxn>
              <a:cxn ang="0">
                <a:pos x="320" y="17"/>
              </a:cxn>
              <a:cxn ang="0">
                <a:pos x="251" y="11"/>
              </a:cxn>
              <a:cxn ang="0">
                <a:pos x="167" y="0"/>
              </a:cxn>
              <a:cxn ang="0">
                <a:pos x="150" y="3"/>
              </a:cxn>
              <a:cxn ang="0">
                <a:pos x="154" y="17"/>
              </a:cxn>
              <a:cxn ang="0">
                <a:pos x="165" y="30"/>
              </a:cxn>
              <a:cxn ang="0">
                <a:pos x="141" y="34"/>
              </a:cxn>
              <a:cxn ang="0">
                <a:pos x="134" y="25"/>
              </a:cxn>
              <a:cxn ang="0">
                <a:pos x="107" y="22"/>
              </a:cxn>
              <a:cxn ang="0">
                <a:pos x="69" y="25"/>
              </a:cxn>
              <a:cxn ang="0">
                <a:pos x="86" y="34"/>
              </a:cxn>
              <a:cxn ang="0">
                <a:pos x="90" y="44"/>
              </a:cxn>
              <a:cxn ang="0">
                <a:pos x="77" y="55"/>
              </a:cxn>
              <a:cxn ang="0">
                <a:pos x="77" y="73"/>
              </a:cxn>
              <a:cxn ang="0">
                <a:pos x="92" y="85"/>
              </a:cxn>
              <a:cxn ang="0">
                <a:pos x="141" y="85"/>
              </a:cxn>
              <a:cxn ang="0">
                <a:pos x="158" y="83"/>
              </a:cxn>
              <a:cxn ang="0">
                <a:pos x="174" y="99"/>
              </a:cxn>
              <a:cxn ang="0">
                <a:pos x="156" y="120"/>
              </a:cxn>
              <a:cxn ang="0">
                <a:pos x="139" y="120"/>
              </a:cxn>
              <a:cxn ang="0">
                <a:pos x="121" y="118"/>
              </a:cxn>
              <a:cxn ang="0">
                <a:pos x="113" y="120"/>
              </a:cxn>
              <a:cxn ang="0">
                <a:pos x="103" y="122"/>
              </a:cxn>
            </a:cxnLst>
            <a:rect l="0" t="0" r="r" b="b"/>
            <a:pathLst>
              <a:path w="405" h="172">
                <a:moveTo>
                  <a:pt x="103" y="122"/>
                </a:moveTo>
                <a:lnTo>
                  <a:pt x="74" y="122"/>
                </a:lnTo>
                <a:lnTo>
                  <a:pt x="15" y="129"/>
                </a:lnTo>
                <a:lnTo>
                  <a:pt x="0" y="148"/>
                </a:lnTo>
                <a:lnTo>
                  <a:pt x="15" y="156"/>
                </a:lnTo>
                <a:lnTo>
                  <a:pt x="27" y="162"/>
                </a:lnTo>
                <a:lnTo>
                  <a:pt x="109" y="161"/>
                </a:lnTo>
                <a:lnTo>
                  <a:pt x="163" y="161"/>
                </a:lnTo>
                <a:lnTo>
                  <a:pt x="187" y="172"/>
                </a:lnTo>
                <a:lnTo>
                  <a:pt x="196" y="150"/>
                </a:lnTo>
                <a:lnTo>
                  <a:pt x="219" y="148"/>
                </a:lnTo>
                <a:lnTo>
                  <a:pt x="252" y="140"/>
                </a:lnTo>
                <a:lnTo>
                  <a:pt x="280" y="135"/>
                </a:lnTo>
                <a:lnTo>
                  <a:pt x="332" y="106"/>
                </a:lnTo>
                <a:lnTo>
                  <a:pt x="387" y="79"/>
                </a:lnTo>
                <a:lnTo>
                  <a:pt x="405" y="65"/>
                </a:lnTo>
                <a:lnTo>
                  <a:pt x="398" y="39"/>
                </a:lnTo>
                <a:lnTo>
                  <a:pt x="372" y="39"/>
                </a:lnTo>
                <a:lnTo>
                  <a:pt x="346" y="27"/>
                </a:lnTo>
                <a:lnTo>
                  <a:pt x="320" y="17"/>
                </a:lnTo>
                <a:lnTo>
                  <a:pt x="251" y="11"/>
                </a:lnTo>
                <a:lnTo>
                  <a:pt x="167" y="0"/>
                </a:lnTo>
                <a:lnTo>
                  <a:pt x="150" y="3"/>
                </a:lnTo>
                <a:lnTo>
                  <a:pt x="154" y="17"/>
                </a:lnTo>
                <a:lnTo>
                  <a:pt x="165" y="30"/>
                </a:lnTo>
                <a:lnTo>
                  <a:pt x="141" y="34"/>
                </a:lnTo>
                <a:lnTo>
                  <a:pt x="134" y="25"/>
                </a:lnTo>
                <a:lnTo>
                  <a:pt x="107" y="22"/>
                </a:lnTo>
                <a:lnTo>
                  <a:pt x="69" y="25"/>
                </a:lnTo>
                <a:lnTo>
                  <a:pt x="86" y="34"/>
                </a:lnTo>
                <a:lnTo>
                  <a:pt x="90" y="44"/>
                </a:lnTo>
                <a:lnTo>
                  <a:pt x="77" y="55"/>
                </a:lnTo>
                <a:lnTo>
                  <a:pt x="77" y="73"/>
                </a:lnTo>
                <a:lnTo>
                  <a:pt x="92" y="85"/>
                </a:lnTo>
                <a:lnTo>
                  <a:pt x="141" y="85"/>
                </a:lnTo>
                <a:lnTo>
                  <a:pt x="158" y="83"/>
                </a:lnTo>
                <a:lnTo>
                  <a:pt x="174" y="99"/>
                </a:lnTo>
                <a:lnTo>
                  <a:pt x="156" y="120"/>
                </a:lnTo>
                <a:lnTo>
                  <a:pt x="139" y="120"/>
                </a:lnTo>
                <a:lnTo>
                  <a:pt x="121" y="118"/>
                </a:lnTo>
                <a:lnTo>
                  <a:pt x="113" y="120"/>
                </a:lnTo>
                <a:lnTo>
                  <a:pt x="103" y="122"/>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24" name="Freeform 247"/>
          <p:cNvSpPr>
            <a:spLocks noChangeAspect="1"/>
          </p:cNvSpPr>
          <p:nvPr/>
        </p:nvSpPr>
        <p:spPr bwMode="gray">
          <a:xfrm>
            <a:off x="7451335" y="3526895"/>
            <a:ext cx="192175" cy="139502"/>
          </a:xfrm>
          <a:custGeom>
            <a:avLst/>
            <a:gdLst/>
            <a:ahLst/>
            <a:cxnLst>
              <a:cxn ang="0">
                <a:pos x="0" y="151"/>
              </a:cxn>
              <a:cxn ang="0">
                <a:pos x="2" y="159"/>
              </a:cxn>
              <a:cxn ang="0">
                <a:pos x="20" y="161"/>
              </a:cxn>
              <a:cxn ang="0">
                <a:pos x="67" y="162"/>
              </a:cxn>
              <a:cxn ang="0">
                <a:pos x="121" y="106"/>
              </a:cxn>
              <a:cxn ang="0">
                <a:pos x="134" y="143"/>
              </a:cxn>
              <a:cxn ang="0">
                <a:pos x="149" y="178"/>
              </a:cxn>
              <a:cxn ang="0">
                <a:pos x="182" y="164"/>
              </a:cxn>
              <a:cxn ang="0">
                <a:pos x="219" y="150"/>
              </a:cxn>
              <a:cxn ang="0">
                <a:pos x="254" y="161"/>
              </a:cxn>
              <a:cxn ang="0">
                <a:pos x="256" y="109"/>
              </a:cxn>
              <a:cxn ang="0">
                <a:pos x="231" y="98"/>
              </a:cxn>
              <a:cxn ang="0">
                <a:pos x="216" y="100"/>
              </a:cxn>
              <a:cxn ang="0">
                <a:pos x="227" y="67"/>
              </a:cxn>
              <a:cxn ang="0">
                <a:pos x="197" y="60"/>
              </a:cxn>
              <a:cxn ang="0">
                <a:pos x="171" y="57"/>
              </a:cxn>
              <a:cxn ang="0">
                <a:pos x="135" y="57"/>
              </a:cxn>
              <a:cxn ang="0">
                <a:pos x="106" y="57"/>
              </a:cxn>
              <a:cxn ang="0">
                <a:pos x="72" y="57"/>
              </a:cxn>
              <a:cxn ang="0">
                <a:pos x="42" y="51"/>
              </a:cxn>
              <a:cxn ang="0">
                <a:pos x="38" y="46"/>
              </a:cxn>
              <a:cxn ang="0">
                <a:pos x="44" y="34"/>
              </a:cxn>
              <a:cxn ang="0">
                <a:pos x="56" y="25"/>
              </a:cxn>
              <a:cxn ang="0">
                <a:pos x="105" y="17"/>
              </a:cxn>
              <a:cxn ang="0">
                <a:pos x="102" y="0"/>
              </a:cxn>
              <a:cxn ang="0">
                <a:pos x="66" y="6"/>
              </a:cxn>
              <a:cxn ang="0">
                <a:pos x="34" y="3"/>
              </a:cxn>
              <a:cxn ang="0">
                <a:pos x="13" y="20"/>
              </a:cxn>
              <a:cxn ang="0">
                <a:pos x="7" y="57"/>
              </a:cxn>
              <a:cxn ang="0">
                <a:pos x="8" y="66"/>
              </a:cxn>
              <a:cxn ang="0">
                <a:pos x="5" y="68"/>
              </a:cxn>
              <a:cxn ang="0">
                <a:pos x="28" y="76"/>
              </a:cxn>
              <a:cxn ang="0">
                <a:pos x="39" y="95"/>
              </a:cxn>
              <a:cxn ang="0">
                <a:pos x="33" y="118"/>
              </a:cxn>
              <a:cxn ang="0">
                <a:pos x="27" y="121"/>
              </a:cxn>
              <a:cxn ang="0">
                <a:pos x="18" y="131"/>
              </a:cxn>
              <a:cxn ang="0">
                <a:pos x="0" y="151"/>
              </a:cxn>
            </a:cxnLst>
            <a:rect l="0" t="0" r="r" b="b"/>
            <a:pathLst>
              <a:path w="256" h="178">
                <a:moveTo>
                  <a:pt x="0" y="151"/>
                </a:moveTo>
                <a:lnTo>
                  <a:pt x="2" y="159"/>
                </a:lnTo>
                <a:lnTo>
                  <a:pt x="20" y="161"/>
                </a:lnTo>
                <a:lnTo>
                  <a:pt x="67" y="162"/>
                </a:lnTo>
                <a:lnTo>
                  <a:pt x="121" y="106"/>
                </a:lnTo>
                <a:lnTo>
                  <a:pt x="134" y="143"/>
                </a:lnTo>
                <a:lnTo>
                  <a:pt x="149" y="178"/>
                </a:lnTo>
                <a:lnTo>
                  <a:pt x="182" y="164"/>
                </a:lnTo>
                <a:lnTo>
                  <a:pt x="219" y="150"/>
                </a:lnTo>
                <a:lnTo>
                  <a:pt x="254" y="161"/>
                </a:lnTo>
                <a:lnTo>
                  <a:pt x="256" y="109"/>
                </a:lnTo>
                <a:lnTo>
                  <a:pt x="231" y="98"/>
                </a:lnTo>
                <a:lnTo>
                  <a:pt x="216" y="100"/>
                </a:lnTo>
                <a:lnTo>
                  <a:pt x="227" y="67"/>
                </a:lnTo>
                <a:lnTo>
                  <a:pt x="197" y="60"/>
                </a:lnTo>
                <a:lnTo>
                  <a:pt x="171" y="57"/>
                </a:lnTo>
                <a:lnTo>
                  <a:pt x="135" y="57"/>
                </a:lnTo>
                <a:lnTo>
                  <a:pt x="106" y="57"/>
                </a:lnTo>
                <a:lnTo>
                  <a:pt x="72" y="57"/>
                </a:lnTo>
                <a:lnTo>
                  <a:pt x="42" y="51"/>
                </a:lnTo>
                <a:lnTo>
                  <a:pt x="38" y="46"/>
                </a:lnTo>
                <a:lnTo>
                  <a:pt x="44" y="34"/>
                </a:lnTo>
                <a:lnTo>
                  <a:pt x="56" y="25"/>
                </a:lnTo>
                <a:lnTo>
                  <a:pt x="105" y="17"/>
                </a:lnTo>
                <a:lnTo>
                  <a:pt x="102" y="0"/>
                </a:lnTo>
                <a:lnTo>
                  <a:pt x="66" y="6"/>
                </a:lnTo>
                <a:lnTo>
                  <a:pt x="34" y="3"/>
                </a:lnTo>
                <a:lnTo>
                  <a:pt x="13" y="20"/>
                </a:lnTo>
                <a:lnTo>
                  <a:pt x="7" y="57"/>
                </a:lnTo>
                <a:lnTo>
                  <a:pt x="8" y="66"/>
                </a:lnTo>
                <a:lnTo>
                  <a:pt x="5" y="68"/>
                </a:lnTo>
                <a:lnTo>
                  <a:pt x="28" y="76"/>
                </a:lnTo>
                <a:lnTo>
                  <a:pt x="39" y="95"/>
                </a:lnTo>
                <a:lnTo>
                  <a:pt x="33" y="118"/>
                </a:lnTo>
                <a:lnTo>
                  <a:pt x="27" y="121"/>
                </a:lnTo>
                <a:lnTo>
                  <a:pt x="18" y="131"/>
                </a:lnTo>
                <a:lnTo>
                  <a:pt x="0" y="151"/>
                </a:lnTo>
                <a:close/>
              </a:path>
            </a:pathLst>
          </a:custGeom>
          <a:solidFill>
            <a:srgbClr val="FFFFFF"/>
          </a:solidFill>
          <a:ln w="6350" cap="flat" cmpd="sng" algn="ctr">
            <a:solidFill>
              <a:srgbClr val="00B0F0"/>
            </a:solidFill>
            <a:prstDash val="solid"/>
            <a:miter lim="800000"/>
            <a:headEnd type="none" w="med" len="med"/>
            <a:tailEnd type="none" w="med" len="med"/>
          </a:ln>
          <a:effectLst/>
        </p:spPr>
        <p:txBody>
          <a:bodyPr lIns="90679" tIns="45340" rIns="90679" bIns="45340"/>
          <a:lstStyle/>
          <a:p>
            <a:pPr defTabSz="1087349">
              <a:defRPr/>
            </a:pPr>
            <a:endParaRPr lang="en-US" sz="1600" kern="0" dirty="0">
              <a:solidFill>
                <a:srgbClr val="000000"/>
              </a:solidFill>
            </a:endParaRPr>
          </a:p>
        </p:txBody>
      </p:sp>
      <p:sp>
        <p:nvSpPr>
          <p:cNvPr id="325" name="Rectangle 324"/>
          <p:cNvSpPr/>
          <p:nvPr/>
        </p:nvSpPr>
        <p:spPr>
          <a:xfrm>
            <a:off x="982813" y="1715560"/>
            <a:ext cx="2639340" cy="1403162"/>
          </a:xfrm>
          <a:prstGeom prst="rect">
            <a:avLst/>
          </a:prstGeom>
          <a:solidFill>
            <a:srgbClr val="BCD9EE">
              <a:lumMod val="20000"/>
              <a:lumOff val="80000"/>
            </a:srgbClr>
          </a:solidFill>
          <a:ln w="6350" cap="flat" cmpd="sng" algn="ctr">
            <a:noFill/>
            <a:prstDash val="solid"/>
            <a:miter lim="800000"/>
          </a:ln>
          <a:effectLst/>
        </p:spPr>
        <p:txBody>
          <a:bodyPr lIns="90679" tIns="45340" rIns="90679" bIns="45340" rtlCol="0" anchor="ctr"/>
          <a:lstStyle/>
          <a:p>
            <a:pPr defTabSz="1087349">
              <a:defRPr/>
            </a:pPr>
            <a:r>
              <a:rPr lang="en-US" sz="1600" b="1" kern="0" dirty="0">
                <a:solidFill>
                  <a:srgbClr val="172D55"/>
                </a:solidFill>
              </a:rPr>
              <a:t>North America</a:t>
            </a:r>
            <a:endParaRPr lang="en-US" sz="1600" kern="0" dirty="0">
              <a:solidFill>
                <a:srgbClr val="172D55"/>
              </a:solidFill>
            </a:endParaRPr>
          </a:p>
          <a:p>
            <a:pPr marL="285750" indent="-285750" defTabSz="1087349">
              <a:buClr>
                <a:schemeClr val="tx2"/>
              </a:buClr>
              <a:buFont typeface="Arial" panose="020B0604020202020204" pitchFamily="34" charset="0"/>
              <a:buChar char="•"/>
              <a:defRPr/>
            </a:pPr>
            <a:r>
              <a:rPr lang="en-GB" sz="1600" kern="0" dirty="0"/>
              <a:t>California key market – slowdown in 2023</a:t>
            </a:r>
          </a:p>
          <a:p>
            <a:pPr marL="285750" indent="-285750" defTabSz="1087349">
              <a:buClr>
                <a:schemeClr val="tx2"/>
              </a:buClr>
              <a:buFont typeface="Arial" panose="020B0604020202020204" pitchFamily="34" charset="0"/>
              <a:buChar char="•"/>
              <a:defRPr/>
            </a:pPr>
            <a:r>
              <a:rPr lang="en-GB" sz="1600" kern="0" dirty="0"/>
              <a:t>Grid resiliency key issue</a:t>
            </a:r>
          </a:p>
        </p:txBody>
      </p:sp>
      <p:sp>
        <p:nvSpPr>
          <p:cNvPr id="326" name="Rectangle 325"/>
          <p:cNvSpPr/>
          <p:nvPr/>
        </p:nvSpPr>
        <p:spPr>
          <a:xfrm>
            <a:off x="4780498" y="1544432"/>
            <a:ext cx="2878702" cy="1342336"/>
          </a:xfrm>
          <a:prstGeom prst="rect">
            <a:avLst/>
          </a:prstGeom>
          <a:solidFill>
            <a:srgbClr val="BCD9EE">
              <a:lumMod val="20000"/>
              <a:lumOff val="80000"/>
            </a:srgbClr>
          </a:solidFill>
          <a:ln w="6350" cap="flat" cmpd="sng" algn="ctr">
            <a:noFill/>
            <a:prstDash val="solid"/>
            <a:miter lim="800000"/>
          </a:ln>
          <a:effectLst/>
        </p:spPr>
        <p:txBody>
          <a:bodyPr lIns="90679" tIns="45340" rIns="90679" bIns="45340" rtlCol="0" anchor="ctr"/>
          <a:lstStyle/>
          <a:p>
            <a:pPr defTabSz="1087349">
              <a:defRPr/>
            </a:pPr>
            <a:r>
              <a:rPr lang="en-US" sz="1600" b="1" kern="0" dirty="0">
                <a:solidFill>
                  <a:srgbClr val="172D55"/>
                </a:solidFill>
              </a:rPr>
              <a:t>Europe</a:t>
            </a:r>
          </a:p>
          <a:p>
            <a:pPr marL="285750" indent="-285750" defTabSz="1087349">
              <a:buClr>
                <a:schemeClr val="tx2"/>
              </a:buClr>
              <a:buFont typeface="Arial" panose="020B0604020202020204" pitchFamily="34" charset="0"/>
              <a:buChar char="•"/>
              <a:defRPr/>
            </a:pPr>
            <a:r>
              <a:rPr lang="en-GB" sz="1600" kern="0" dirty="0"/>
              <a:t>Germany dominates</a:t>
            </a:r>
          </a:p>
          <a:p>
            <a:pPr marL="285750" indent="-285750" defTabSz="1087349">
              <a:buClr>
                <a:schemeClr val="tx2"/>
              </a:buClr>
              <a:buFont typeface="Arial" panose="020B0604020202020204" pitchFamily="34" charset="0"/>
              <a:buChar char="•"/>
              <a:defRPr/>
            </a:pPr>
            <a:r>
              <a:rPr lang="en-GB" sz="1600" kern="0" dirty="0"/>
              <a:t>High price electricity markets</a:t>
            </a:r>
          </a:p>
          <a:p>
            <a:pPr marL="285750" indent="-285750" defTabSz="1087349">
              <a:buClr>
                <a:schemeClr val="tx2"/>
              </a:buClr>
              <a:buFont typeface="Arial" panose="020B0604020202020204" pitchFamily="34" charset="0"/>
              <a:buChar char="•"/>
              <a:defRPr/>
            </a:pPr>
            <a:r>
              <a:rPr lang="en-GB" sz="1600" kern="0" dirty="0"/>
              <a:t>Lower incentives encourage self consumption</a:t>
            </a:r>
          </a:p>
        </p:txBody>
      </p:sp>
      <p:sp>
        <p:nvSpPr>
          <p:cNvPr id="327" name="Rectangle 326"/>
          <p:cNvSpPr/>
          <p:nvPr/>
        </p:nvSpPr>
        <p:spPr>
          <a:xfrm>
            <a:off x="8659299" y="1896796"/>
            <a:ext cx="2568867" cy="1403622"/>
          </a:xfrm>
          <a:prstGeom prst="rect">
            <a:avLst/>
          </a:prstGeom>
          <a:solidFill>
            <a:srgbClr val="BCD9EE">
              <a:lumMod val="20000"/>
              <a:lumOff val="80000"/>
            </a:srgbClr>
          </a:solidFill>
          <a:ln w="6350" cap="flat" cmpd="sng" algn="ctr">
            <a:noFill/>
            <a:prstDash val="solid"/>
            <a:miter lim="800000"/>
          </a:ln>
          <a:effectLst/>
        </p:spPr>
        <p:txBody>
          <a:bodyPr lIns="90679" tIns="45340" rIns="90679" bIns="45340" rtlCol="0" anchor="ctr"/>
          <a:lstStyle/>
          <a:p>
            <a:pPr defTabSz="1087349">
              <a:defRPr/>
            </a:pPr>
            <a:r>
              <a:rPr lang="en-US" sz="1600" b="1" kern="0" dirty="0">
                <a:solidFill>
                  <a:srgbClr val="172D55"/>
                </a:solidFill>
              </a:rPr>
              <a:t>Asia</a:t>
            </a:r>
          </a:p>
          <a:p>
            <a:pPr marL="285750" indent="-285750" defTabSz="1087349">
              <a:buClr>
                <a:schemeClr val="tx2"/>
              </a:buClr>
              <a:buFont typeface="Arial" panose="020B0604020202020204" pitchFamily="34" charset="0"/>
              <a:buChar char="•"/>
              <a:defRPr/>
            </a:pPr>
            <a:r>
              <a:rPr lang="en-GB" sz="1600" kern="0" dirty="0"/>
              <a:t>Japan and Australia leading markets</a:t>
            </a:r>
          </a:p>
          <a:p>
            <a:pPr marL="285750" indent="-285750" defTabSz="1087349">
              <a:buClr>
                <a:schemeClr val="tx2"/>
              </a:buClr>
              <a:buFont typeface="Arial" panose="020B0604020202020204" pitchFamily="34" charset="0"/>
              <a:buChar char="•"/>
              <a:defRPr/>
            </a:pPr>
            <a:r>
              <a:rPr lang="en-GB" sz="1600" kern="0" dirty="0"/>
              <a:t>China key hub for future growth</a:t>
            </a:r>
          </a:p>
        </p:txBody>
      </p:sp>
      <p:sp>
        <p:nvSpPr>
          <p:cNvPr id="328" name="Oval 327"/>
          <p:cNvSpPr/>
          <p:nvPr/>
        </p:nvSpPr>
        <p:spPr>
          <a:xfrm>
            <a:off x="2629314" y="3485559"/>
            <a:ext cx="182369" cy="164329"/>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90679" tIns="45340" rIns="90679" bIns="45340" rtlCol="0" anchor="ctr"/>
          <a:lstStyle/>
          <a:p>
            <a:pPr algn="ctr" defTabSz="1087349">
              <a:defRPr/>
            </a:pPr>
            <a:endParaRPr lang="en-US" sz="1600" kern="0" dirty="0">
              <a:solidFill>
                <a:srgbClr val="FF0000"/>
              </a:solidFill>
              <a:cs typeface="Arial"/>
            </a:endParaRPr>
          </a:p>
        </p:txBody>
      </p:sp>
      <p:cxnSp>
        <p:nvCxnSpPr>
          <p:cNvPr id="329" name="Straight Connector 328"/>
          <p:cNvCxnSpPr/>
          <p:nvPr/>
        </p:nvCxnSpPr>
        <p:spPr>
          <a:xfrm>
            <a:off x="2491905" y="3118721"/>
            <a:ext cx="204458" cy="390902"/>
          </a:xfrm>
          <a:prstGeom prst="line">
            <a:avLst/>
          </a:prstGeom>
          <a:noFill/>
          <a:ln w="6350" cap="flat" cmpd="sng" algn="ctr">
            <a:solidFill>
              <a:srgbClr val="172D55"/>
            </a:solidFill>
            <a:prstDash val="sysDash"/>
            <a:miter lim="800000"/>
          </a:ln>
          <a:effectLst/>
        </p:spPr>
      </p:cxnSp>
      <p:sp>
        <p:nvSpPr>
          <p:cNvPr id="330" name="Oval 329"/>
          <p:cNvSpPr/>
          <p:nvPr/>
        </p:nvSpPr>
        <p:spPr>
          <a:xfrm>
            <a:off x="6101208" y="3264004"/>
            <a:ext cx="182369" cy="164329"/>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90679" tIns="45340" rIns="90679" bIns="45340" rtlCol="0" anchor="ctr"/>
          <a:lstStyle/>
          <a:p>
            <a:pPr algn="ctr" defTabSz="1087349">
              <a:defRPr/>
            </a:pPr>
            <a:endParaRPr lang="en-US" sz="1600" kern="0" dirty="0">
              <a:solidFill>
                <a:srgbClr val="FF0000"/>
              </a:solidFill>
              <a:cs typeface="Arial"/>
            </a:endParaRPr>
          </a:p>
        </p:txBody>
      </p:sp>
      <p:cxnSp>
        <p:nvCxnSpPr>
          <p:cNvPr id="331" name="Straight Connector 330"/>
          <p:cNvCxnSpPr>
            <a:cxnSpLocks/>
            <a:stCxn id="326" idx="2"/>
          </p:cNvCxnSpPr>
          <p:nvPr/>
        </p:nvCxnSpPr>
        <p:spPr>
          <a:xfrm flipH="1">
            <a:off x="6219845" y="2886769"/>
            <a:ext cx="4" cy="406289"/>
          </a:xfrm>
          <a:prstGeom prst="line">
            <a:avLst/>
          </a:prstGeom>
          <a:noFill/>
          <a:ln w="6350" cap="flat" cmpd="sng" algn="ctr">
            <a:solidFill>
              <a:srgbClr val="172D55"/>
            </a:solidFill>
            <a:prstDash val="sysDash"/>
            <a:miter lim="800000"/>
          </a:ln>
          <a:effectLst/>
        </p:spPr>
      </p:cxnSp>
      <p:sp>
        <p:nvSpPr>
          <p:cNvPr id="332" name="Oval 331"/>
          <p:cNvSpPr/>
          <p:nvPr/>
        </p:nvSpPr>
        <p:spPr>
          <a:xfrm>
            <a:off x="8083390" y="3739230"/>
            <a:ext cx="182369" cy="164329"/>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90679" tIns="45340" rIns="90679" bIns="45340" rtlCol="0" anchor="ctr"/>
          <a:lstStyle/>
          <a:p>
            <a:pPr algn="ctr" defTabSz="1087349">
              <a:defRPr/>
            </a:pPr>
            <a:endParaRPr lang="en-US" sz="1600" kern="0" dirty="0">
              <a:solidFill>
                <a:srgbClr val="FF0000"/>
              </a:solidFill>
              <a:cs typeface="Arial"/>
            </a:endParaRPr>
          </a:p>
        </p:txBody>
      </p:sp>
      <p:cxnSp>
        <p:nvCxnSpPr>
          <p:cNvPr id="333" name="Straight Connector 332"/>
          <p:cNvCxnSpPr/>
          <p:nvPr/>
        </p:nvCxnSpPr>
        <p:spPr>
          <a:xfrm flipV="1">
            <a:off x="8265760" y="3285778"/>
            <a:ext cx="1460296" cy="459076"/>
          </a:xfrm>
          <a:prstGeom prst="line">
            <a:avLst/>
          </a:prstGeom>
          <a:noFill/>
          <a:ln w="6350" cap="flat" cmpd="sng" algn="ctr">
            <a:solidFill>
              <a:srgbClr val="172D55"/>
            </a:solidFill>
            <a:prstDash val="sysDash"/>
            <a:miter lim="800000"/>
          </a:ln>
          <a:effectLst/>
        </p:spPr>
      </p:cxnSp>
      <p:sp>
        <p:nvSpPr>
          <p:cNvPr id="334" name="Rectangle 333"/>
          <p:cNvSpPr/>
          <p:nvPr/>
        </p:nvSpPr>
        <p:spPr>
          <a:xfrm>
            <a:off x="5769247" y="4524926"/>
            <a:ext cx="3513630" cy="1091040"/>
          </a:xfrm>
          <a:prstGeom prst="rect">
            <a:avLst/>
          </a:prstGeom>
          <a:solidFill>
            <a:srgbClr val="BCD9EE">
              <a:lumMod val="20000"/>
              <a:lumOff val="80000"/>
            </a:srgbClr>
          </a:solidFill>
          <a:ln w="6350" cap="flat" cmpd="sng" algn="ctr">
            <a:noFill/>
            <a:prstDash val="solid"/>
            <a:miter lim="800000"/>
          </a:ln>
          <a:effectLst/>
        </p:spPr>
        <p:txBody>
          <a:bodyPr lIns="90679" tIns="45340" rIns="90679" bIns="45340" rtlCol="0" anchor="ctr"/>
          <a:lstStyle/>
          <a:p>
            <a:pPr defTabSz="1087349">
              <a:defRPr/>
            </a:pPr>
            <a:r>
              <a:rPr lang="en-US" sz="1600" b="1" kern="0" dirty="0">
                <a:solidFill>
                  <a:srgbClr val="172D55"/>
                </a:solidFill>
              </a:rPr>
              <a:t>Africa and Middle East</a:t>
            </a:r>
          </a:p>
          <a:p>
            <a:pPr marL="285750" indent="-285750" defTabSz="1087349">
              <a:buClr>
                <a:schemeClr val="tx2"/>
              </a:buClr>
              <a:buFont typeface="Arial" panose="020B0604020202020204" pitchFamily="34" charset="0"/>
              <a:buChar char="•"/>
              <a:defRPr/>
            </a:pPr>
            <a:r>
              <a:rPr lang="en-GB" sz="1600" kern="0" dirty="0"/>
              <a:t>Low volume market</a:t>
            </a:r>
          </a:p>
          <a:p>
            <a:pPr marL="285750" indent="-285750" defTabSz="1087349">
              <a:buClr>
                <a:schemeClr val="tx2"/>
              </a:buClr>
              <a:buFont typeface="Arial" panose="020B0604020202020204" pitchFamily="34" charset="0"/>
              <a:buChar char="•"/>
              <a:defRPr/>
            </a:pPr>
            <a:r>
              <a:rPr lang="en-GB" sz="1600" kern="0" dirty="0"/>
              <a:t>Gulf region key pocket of growth</a:t>
            </a:r>
            <a:endParaRPr lang="en-US" sz="1600" kern="0" dirty="0"/>
          </a:p>
        </p:txBody>
      </p:sp>
      <p:cxnSp>
        <p:nvCxnSpPr>
          <p:cNvPr id="335" name="Straight Connector 334"/>
          <p:cNvCxnSpPr>
            <a:endCxn id="334" idx="0"/>
          </p:cNvCxnSpPr>
          <p:nvPr/>
        </p:nvCxnSpPr>
        <p:spPr>
          <a:xfrm>
            <a:off x="6837552" y="4031508"/>
            <a:ext cx="688512" cy="493419"/>
          </a:xfrm>
          <a:prstGeom prst="line">
            <a:avLst/>
          </a:prstGeom>
          <a:noFill/>
          <a:ln w="6350" cap="flat" cmpd="sng" algn="ctr">
            <a:solidFill>
              <a:srgbClr val="172D55"/>
            </a:solidFill>
            <a:prstDash val="sysDash"/>
            <a:miter lim="800000"/>
          </a:ln>
          <a:effectLst/>
        </p:spPr>
      </p:cxnSp>
      <p:sp>
        <p:nvSpPr>
          <p:cNvPr id="336" name="Oval 335"/>
          <p:cNvSpPr/>
          <p:nvPr/>
        </p:nvSpPr>
        <p:spPr>
          <a:xfrm>
            <a:off x="6704766" y="3861508"/>
            <a:ext cx="182369" cy="164329"/>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90679" tIns="45340" rIns="90679" bIns="45340" rtlCol="0" anchor="ctr"/>
          <a:lstStyle/>
          <a:p>
            <a:pPr algn="ctr" defTabSz="1087349">
              <a:defRPr/>
            </a:pPr>
            <a:endParaRPr lang="en-US" sz="1600" kern="0" dirty="0">
              <a:solidFill>
                <a:srgbClr val="FF0000"/>
              </a:solidFill>
              <a:cs typeface="Arial"/>
            </a:endParaRPr>
          </a:p>
        </p:txBody>
      </p:sp>
      <p:sp>
        <p:nvSpPr>
          <p:cNvPr id="337" name="Oval 336"/>
          <p:cNvSpPr/>
          <p:nvPr/>
        </p:nvSpPr>
        <p:spPr>
          <a:xfrm>
            <a:off x="3741927" y="4784629"/>
            <a:ext cx="182369" cy="164329"/>
          </a:xfrm>
          <a:prstGeom prst="ellipse">
            <a:avLst/>
          </a:prstGeom>
          <a:solidFill>
            <a:srgbClr val="C00000"/>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90679" tIns="45340" rIns="90679" bIns="45340" rtlCol="0" anchor="ctr"/>
          <a:lstStyle/>
          <a:p>
            <a:pPr algn="ctr" defTabSz="1087349">
              <a:defRPr/>
            </a:pPr>
            <a:endParaRPr lang="en-US" sz="1600" kern="0" dirty="0">
              <a:solidFill>
                <a:srgbClr val="FF0000"/>
              </a:solidFill>
              <a:cs typeface="Arial"/>
            </a:endParaRPr>
          </a:p>
        </p:txBody>
      </p:sp>
      <p:cxnSp>
        <p:nvCxnSpPr>
          <p:cNvPr id="338" name="Straight Connector 337"/>
          <p:cNvCxnSpPr/>
          <p:nvPr/>
        </p:nvCxnSpPr>
        <p:spPr>
          <a:xfrm flipV="1">
            <a:off x="2811684" y="4831432"/>
            <a:ext cx="1040430" cy="140417"/>
          </a:xfrm>
          <a:prstGeom prst="line">
            <a:avLst/>
          </a:prstGeom>
          <a:noFill/>
          <a:ln w="6350" cap="flat" cmpd="sng" algn="ctr">
            <a:solidFill>
              <a:srgbClr val="172D55"/>
            </a:solidFill>
            <a:prstDash val="sysDash"/>
            <a:miter lim="800000"/>
          </a:ln>
          <a:effectLst/>
        </p:spPr>
      </p:cxnSp>
      <p:sp>
        <p:nvSpPr>
          <p:cNvPr id="339" name="Rectangle 338"/>
          <p:cNvSpPr/>
          <p:nvPr/>
        </p:nvSpPr>
        <p:spPr>
          <a:xfrm>
            <a:off x="867515" y="4245926"/>
            <a:ext cx="2318713" cy="1240872"/>
          </a:xfrm>
          <a:prstGeom prst="rect">
            <a:avLst/>
          </a:prstGeom>
          <a:solidFill>
            <a:srgbClr val="BCD9EE">
              <a:lumMod val="20000"/>
              <a:lumOff val="80000"/>
            </a:srgbClr>
          </a:solidFill>
          <a:ln w="6350" cap="flat" cmpd="sng" algn="ctr">
            <a:noFill/>
            <a:prstDash val="solid"/>
            <a:miter lim="800000"/>
          </a:ln>
          <a:effectLst/>
        </p:spPr>
        <p:txBody>
          <a:bodyPr lIns="90679" tIns="45340" rIns="90679" bIns="45340" rtlCol="0" anchor="ctr"/>
          <a:lstStyle/>
          <a:p>
            <a:pPr defTabSz="1087349">
              <a:defRPr/>
            </a:pPr>
            <a:r>
              <a:rPr lang="en-US" sz="1600" b="1" kern="0" dirty="0">
                <a:solidFill>
                  <a:srgbClr val="172D55"/>
                </a:solidFill>
              </a:rPr>
              <a:t>Latin America</a:t>
            </a:r>
          </a:p>
          <a:p>
            <a:pPr marL="285750" indent="-285750" defTabSz="1087349">
              <a:buClr>
                <a:schemeClr val="tx2"/>
              </a:buClr>
              <a:buFont typeface="Arial" panose="020B0604020202020204" pitchFamily="34" charset="0"/>
              <a:buChar char="•"/>
              <a:defRPr/>
            </a:pPr>
            <a:r>
              <a:rPr lang="en-GB" sz="1600" kern="0" dirty="0"/>
              <a:t>Immature market with low volumes of sales</a:t>
            </a:r>
          </a:p>
        </p:txBody>
      </p:sp>
      <p:sp>
        <p:nvSpPr>
          <p:cNvPr id="6" name="TextBox 5">
            <a:extLst>
              <a:ext uri="{FF2B5EF4-FFF2-40B4-BE49-F238E27FC236}">
                <a16:creationId xmlns:a16="http://schemas.microsoft.com/office/drawing/2014/main" id="{D18168E4-E15D-3514-7BC1-0CBB18B9C89C}"/>
              </a:ext>
            </a:extLst>
          </p:cNvPr>
          <p:cNvSpPr txBox="1"/>
          <p:nvPr/>
        </p:nvSpPr>
        <p:spPr>
          <a:xfrm>
            <a:off x="10679629" y="6473517"/>
            <a:ext cx="1229504" cy="153888"/>
          </a:xfrm>
          <a:prstGeom prst="rect">
            <a:avLst/>
          </a:prstGeom>
          <a:noFill/>
        </p:spPr>
        <p:txBody>
          <a:bodyPr wrap="square" lIns="0" tIns="0" rIns="0" bIns="0" rtlCol="0" anchor="b">
            <a:spAutoFit/>
          </a:bodyPr>
          <a:lstStyle/>
          <a:p>
            <a:pPr algn="r" defTabSz="835867"/>
            <a:r>
              <a:rPr lang="en-US" sz="1000" dirty="0">
                <a:solidFill>
                  <a:schemeClr val="tx2"/>
                </a:solidFill>
                <a:latin typeface="Calibri"/>
                <a:cs typeface="Calibri" panose="020F0502020204030204" pitchFamily="34" charset="0"/>
              </a:rPr>
              <a:t>Source: Frost &amp; Sullivan</a:t>
            </a:r>
          </a:p>
        </p:txBody>
      </p:sp>
      <p:sp>
        <p:nvSpPr>
          <p:cNvPr id="5" name="Rectangle: Rounded Corners 4">
            <a:extLst>
              <a:ext uri="{FF2B5EF4-FFF2-40B4-BE49-F238E27FC236}">
                <a16:creationId xmlns:a16="http://schemas.microsoft.com/office/drawing/2014/main" id="{2FA2CD8E-C1B9-7107-945E-C1968C6419FC}"/>
              </a:ext>
            </a:extLst>
          </p:cNvPr>
          <p:cNvSpPr>
            <a:spLocks/>
          </p:cNvSpPr>
          <p:nvPr/>
        </p:nvSpPr>
        <p:spPr>
          <a:xfrm flipH="1">
            <a:off x="280416" y="771846"/>
            <a:ext cx="11631168" cy="64293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224" defTabSz="857228"/>
            <a:endParaRPr lang="en-US" sz="1500" b="1" dirty="0">
              <a:solidFill>
                <a:prstClr val="white"/>
              </a:solidFill>
            </a:endParaRPr>
          </a:p>
        </p:txBody>
      </p:sp>
      <p:sp>
        <p:nvSpPr>
          <p:cNvPr id="7" name="Rectangle 6">
            <a:extLst>
              <a:ext uri="{FF2B5EF4-FFF2-40B4-BE49-F238E27FC236}">
                <a16:creationId xmlns:a16="http://schemas.microsoft.com/office/drawing/2014/main" id="{0BEA9760-C115-C1BD-F313-A5E2260D294F}"/>
              </a:ext>
            </a:extLst>
          </p:cNvPr>
          <p:cNvSpPr/>
          <p:nvPr/>
        </p:nvSpPr>
        <p:spPr>
          <a:xfrm>
            <a:off x="1119061" y="970207"/>
            <a:ext cx="10656276" cy="246221"/>
          </a:xfrm>
          <a:prstGeom prst="rect">
            <a:avLst/>
          </a:prstGeom>
        </p:spPr>
        <p:txBody>
          <a:bodyPr wrap="square" lIns="0" tIns="0" rIns="0" bIns="0" anchor="ctr">
            <a:spAutoFit/>
          </a:bodyPr>
          <a:lstStyle/>
          <a:p>
            <a:pPr defTabSz="835867"/>
            <a:r>
              <a:rPr lang="en-US" sz="1600" b="1" dirty="0">
                <a:solidFill>
                  <a:prstClr val="white"/>
                </a:solidFill>
              </a:rPr>
              <a:t>US and China catching up on early movers Germany, Japan and Australia</a:t>
            </a:r>
          </a:p>
        </p:txBody>
      </p:sp>
      <p:sp>
        <p:nvSpPr>
          <p:cNvPr id="9" name="Oval 8">
            <a:extLst>
              <a:ext uri="{FF2B5EF4-FFF2-40B4-BE49-F238E27FC236}">
                <a16:creationId xmlns:a16="http://schemas.microsoft.com/office/drawing/2014/main" id="{022658A1-003A-B5F2-93DA-50303F277FBD}"/>
              </a:ext>
            </a:extLst>
          </p:cNvPr>
          <p:cNvSpPr/>
          <p:nvPr/>
        </p:nvSpPr>
        <p:spPr>
          <a:xfrm>
            <a:off x="416665" y="810242"/>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dirty="0"/>
          </a:p>
        </p:txBody>
      </p:sp>
      <p:sp>
        <p:nvSpPr>
          <p:cNvPr id="10" name="Rectangle 9">
            <a:extLst>
              <a:ext uri="{FF2B5EF4-FFF2-40B4-BE49-F238E27FC236}">
                <a16:creationId xmlns:a16="http://schemas.microsoft.com/office/drawing/2014/main" id="{26D502D2-3EE3-02BB-095F-8295CDE810E0}"/>
              </a:ext>
            </a:extLst>
          </p:cNvPr>
          <p:cNvSpPr/>
          <p:nvPr/>
        </p:nvSpPr>
        <p:spPr>
          <a:xfrm>
            <a:off x="280417" y="1071885"/>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dirty="0"/>
          </a:p>
        </p:txBody>
      </p:sp>
      <p:grpSp>
        <p:nvGrpSpPr>
          <p:cNvPr id="352" name="Group 351"/>
          <p:cNvGrpSpPr/>
          <p:nvPr/>
        </p:nvGrpSpPr>
        <p:grpSpPr>
          <a:xfrm>
            <a:off x="504749" y="884492"/>
            <a:ext cx="389981" cy="417649"/>
            <a:chOff x="-1587500" y="2274888"/>
            <a:chExt cx="1035050" cy="1174750"/>
          </a:xfrm>
          <a:solidFill>
            <a:schemeClr val="bg1"/>
          </a:solidFill>
        </p:grpSpPr>
        <p:sp>
          <p:nvSpPr>
            <p:cNvPr id="353" name="Freeform 42"/>
            <p:cNvSpPr>
              <a:spLocks/>
            </p:cNvSpPr>
            <p:nvPr/>
          </p:nvSpPr>
          <p:spPr bwMode="auto">
            <a:xfrm>
              <a:off x="-1587500" y="2397125"/>
              <a:ext cx="1020763" cy="1052513"/>
            </a:xfrm>
            <a:custGeom>
              <a:avLst/>
              <a:gdLst>
                <a:gd name="T0" fmla="*/ 317 w 660"/>
                <a:gd name="T1" fmla="*/ 4 h 681"/>
                <a:gd name="T2" fmla="*/ 501 w 660"/>
                <a:gd name="T3" fmla="*/ 52 h 681"/>
                <a:gd name="T4" fmla="*/ 504 w 660"/>
                <a:gd name="T5" fmla="*/ 67 h 681"/>
                <a:gd name="T6" fmla="*/ 488 w 660"/>
                <a:gd name="T7" fmla="*/ 95 h 681"/>
                <a:gd name="T8" fmla="*/ 513 w 660"/>
                <a:gd name="T9" fmla="*/ 154 h 681"/>
                <a:gd name="T10" fmla="*/ 540 w 660"/>
                <a:gd name="T11" fmla="*/ 173 h 681"/>
                <a:gd name="T12" fmla="*/ 525 w 660"/>
                <a:gd name="T13" fmla="*/ 205 h 681"/>
                <a:gd name="T14" fmla="*/ 490 w 660"/>
                <a:gd name="T15" fmla="*/ 236 h 681"/>
                <a:gd name="T16" fmla="*/ 491 w 660"/>
                <a:gd name="T17" fmla="*/ 309 h 681"/>
                <a:gd name="T18" fmla="*/ 501 w 660"/>
                <a:gd name="T19" fmla="*/ 332 h 681"/>
                <a:gd name="T20" fmla="*/ 539 w 660"/>
                <a:gd name="T21" fmla="*/ 367 h 681"/>
                <a:gd name="T22" fmla="*/ 614 w 660"/>
                <a:gd name="T23" fmla="*/ 330 h 681"/>
                <a:gd name="T24" fmla="*/ 652 w 660"/>
                <a:gd name="T25" fmla="*/ 316 h 681"/>
                <a:gd name="T26" fmla="*/ 657 w 660"/>
                <a:gd name="T27" fmla="*/ 331 h 681"/>
                <a:gd name="T28" fmla="*/ 594 w 660"/>
                <a:gd name="T29" fmla="*/ 524 h 681"/>
                <a:gd name="T30" fmla="*/ 256 w 660"/>
                <a:gd name="T31" fmla="*/ 651 h 681"/>
                <a:gd name="T32" fmla="*/ 6 w 660"/>
                <a:gd name="T33" fmla="*/ 384 h 681"/>
                <a:gd name="T34" fmla="*/ 4 w 660"/>
                <a:gd name="T35" fmla="*/ 286 h 681"/>
                <a:gd name="T36" fmla="*/ 36 w 660"/>
                <a:gd name="T37" fmla="*/ 253 h 681"/>
                <a:gd name="T38" fmla="*/ 83 w 660"/>
                <a:gd name="T39" fmla="*/ 265 h 681"/>
                <a:gd name="T40" fmla="*/ 157 w 660"/>
                <a:gd name="T41" fmla="*/ 326 h 681"/>
                <a:gd name="T42" fmla="*/ 176 w 660"/>
                <a:gd name="T43" fmla="*/ 351 h 681"/>
                <a:gd name="T44" fmla="*/ 233 w 660"/>
                <a:gd name="T45" fmla="*/ 462 h 681"/>
                <a:gd name="T46" fmla="*/ 256 w 660"/>
                <a:gd name="T47" fmla="*/ 544 h 681"/>
                <a:gd name="T48" fmla="*/ 283 w 660"/>
                <a:gd name="T49" fmla="*/ 575 h 681"/>
                <a:gd name="T50" fmla="*/ 315 w 660"/>
                <a:gd name="T51" fmla="*/ 546 h 681"/>
                <a:gd name="T52" fmla="*/ 335 w 660"/>
                <a:gd name="T53" fmla="*/ 507 h 681"/>
                <a:gd name="T54" fmla="*/ 353 w 660"/>
                <a:gd name="T55" fmla="*/ 468 h 681"/>
                <a:gd name="T56" fmla="*/ 391 w 660"/>
                <a:gd name="T57" fmla="*/ 414 h 681"/>
                <a:gd name="T58" fmla="*/ 408 w 660"/>
                <a:gd name="T59" fmla="*/ 401 h 681"/>
                <a:gd name="T60" fmla="*/ 412 w 660"/>
                <a:gd name="T61" fmla="*/ 354 h 681"/>
                <a:gd name="T62" fmla="*/ 406 w 660"/>
                <a:gd name="T63" fmla="*/ 346 h 681"/>
                <a:gd name="T64" fmla="*/ 384 w 660"/>
                <a:gd name="T65" fmla="*/ 318 h 681"/>
                <a:gd name="T66" fmla="*/ 399 w 660"/>
                <a:gd name="T67" fmla="*/ 288 h 681"/>
                <a:gd name="T68" fmla="*/ 369 w 660"/>
                <a:gd name="T69" fmla="*/ 194 h 681"/>
                <a:gd name="T70" fmla="*/ 278 w 660"/>
                <a:gd name="T71" fmla="*/ 226 h 681"/>
                <a:gd name="T72" fmla="*/ 255 w 660"/>
                <a:gd name="T73" fmla="*/ 240 h 681"/>
                <a:gd name="T74" fmla="*/ 212 w 660"/>
                <a:gd name="T75" fmla="*/ 252 h 681"/>
                <a:gd name="T76" fmla="*/ 172 w 660"/>
                <a:gd name="T77" fmla="*/ 242 h 681"/>
                <a:gd name="T78" fmla="*/ 158 w 660"/>
                <a:gd name="T79" fmla="*/ 220 h 681"/>
                <a:gd name="T80" fmla="*/ 183 w 660"/>
                <a:gd name="T81" fmla="*/ 178 h 681"/>
                <a:gd name="T82" fmla="*/ 209 w 660"/>
                <a:gd name="T83" fmla="*/ 180 h 681"/>
                <a:gd name="T84" fmla="*/ 258 w 660"/>
                <a:gd name="T85" fmla="*/ 161 h 681"/>
                <a:gd name="T86" fmla="*/ 289 w 660"/>
                <a:gd name="T87" fmla="*/ 148 h 681"/>
                <a:gd name="T88" fmla="*/ 353 w 660"/>
                <a:gd name="T89" fmla="*/ 111 h 681"/>
                <a:gd name="T90" fmla="*/ 345 w 660"/>
                <a:gd name="T91" fmla="*/ 44 h 681"/>
                <a:gd name="T92" fmla="*/ 317 w 660"/>
                <a:gd name="T93" fmla="*/ 4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60" h="681">
                  <a:moveTo>
                    <a:pt x="317" y="4"/>
                  </a:moveTo>
                  <a:cubicBezTo>
                    <a:pt x="386" y="0"/>
                    <a:pt x="445" y="21"/>
                    <a:pt x="501" y="52"/>
                  </a:cubicBezTo>
                  <a:cubicBezTo>
                    <a:pt x="510" y="56"/>
                    <a:pt x="509" y="61"/>
                    <a:pt x="504" y="67"/>
                  </a:cubicBezTo>
                  <a:cubicBezTo>
                    <a:pt x="499" y="76"/>
                    <a:pt x="493" y="86"/>
                    <a:pt x="488" y="95"/>
                  </a:cubicBezTo>
                  <a:cubicBezTo>
                    <a:pt x="472" y="123"/>
                    <a:pt x="482" y="147"/>
                    <a:pt x="513" y="154"/>
                  </a:cubicBezTo>
                  <a:cubicBezTo>
                    <a:pt x="525" y="157"/>
                    <a:pt x="537" y="160"/>
                    <a:pt x="540" y="173"/>
                  </a:cubicBezTo>
                  <a:cubicBezTo>
                    <a:pt x="544" y="188"/>
                    <a:pt x="535" y="197"/>
                    <a:pt x="525" y="205"/>
                  </a:cubicBezTo>
                  <a:cubicBezTo>
                    <a:pt x="513" y="215"/>
                    <a:pt x="501" y="225"/>
                    <a:pt x="490" y="236"/>
                  </a:cubicBezTo>
                  <a:cubicBezTo>
                    <a:pt x="467" y="257"/>
                    <a:pt x="468" y="288"/>
                    <a:pt x="491" y="309"/>
                  </a:cubicBezTo>
                  <a:cubicBezTo>
                    <a:pt x="498" y="315"/>
                    <a:pt x="500" y="322"/>
                    <a:pt x="501" y="332"/>
                  </a:cubicBezTo>
                  <a:cubicBezTo>
                    <a:pt x="504" y="355"/>
                    <a:pt x="516" y="365"/>
                    <a:pt x="539" y="367"/>
                  </a:cubicBezTo>
                  <a:cubicBezTo>
                    <a:pt x="571" y="368"/>
                    <a:pt x="599" y="363"/>
                    <a:pt x="614" y="330"/>
                  </a:cubicBezTo>
                  <a:cubicBezTo>
                    <a:pt x="621" y="313"/>
                    <a:pt x="638" y="315"/>
                    <a:pt x="652" y="316"/>
                  </a:cubicBezTo>
                  <a:cubicBezTo>
                    <a:pt x="660" y="317"/>
                    <a:pt x="657" y="326"/>
                    <a:pt x="657" y="331"/>
                  </a:cubicBezTo>
                  <a:cubicBezTo>
                    <a:pt x="657" y="402"/>
                    <a:pt x="636" y="466"/>
                    <a:pt x="594" y="524"/>
                  </a:cubicBezTo>
                  <a:cubicBezTo>
                    <a:pt x="516" y="631"/>
                    <a:pt x="382" y="681"/>
                    <a:pt x="256" y="651"/>
                  </a:cubicBezTo>
                  <a:cubicBezTo>
                    <a:pt x="126" y="620"/>
                    <a:pt x="28" y="515"/>
                    <a:pt x="6" y="384"/>
                  </a:cubicBezTo>
                  <a:cubicBezTo>
                    <a:pt x="0" y="352"/>
                    <a:pt x="1" y="319"/>
                    <a:pt x="4" y="286"/>
                  </a:cubicBezTo>
                  <a:cubicBezTo>
                    <a:pt x="6" y="265"/>
                    <a:pt x="19" y="258"/>
                    <a:pt x="36" y="253"/>
                  </a:cubicBezTo>
                  <a:cubicBezTo>
                    <a:pt x="55" y="248"/>
                    <a:pt x="71" y="249"/>
                    <a:pt x="83" y="265"/>
                  </a:cubicBezTo>
                  <a:cubicBezTo>
                    <a:pt x="104" y="290"/>
                    <a:pt x="124" y="316"/>
                    <a:pt x="157" y="326"/>
                  </a:cubicBezTo>
                  <a:cubicBezTo>
                    <a:pt x="168" y="330"/>
                    <a:pt x="174" y="340"/>
                    <a:pt x="176" y="351"/>
                  </a:cubicBezTo>
                  <a:cubicBezTo>
                    <a:pt x="182" y="394"/>
                    <a:pt x="205" y="430"/>
                    <a:pt x="233" y="462"/>
                  </a:cubicBezTo>
                  <a:cubicBezTo>
                    <a:pt x="254" y="486"/>
                    <a:pt x="250" y="516"/>
                    <a:pt x="256" y="544"/>
                  </a:cubicBezTo>
                  <a:cubicBezTo>
                    <a:pt x="260" y="561"/>
                    <a:pt x="265" y="575"/>
                    <a:pt x="283" y="575"/>
                  </a:cubicBezTo>
                  <a:cubicBezTo>
                    <a:pt x="302" y="576"/>
                    <a:pt x="312" y="563"/>
                    <a:pt x="315" y="546"/>
                  </a:cubicBezTo>
                  <a:cubicBezTo>
                    <a:pt x="318" y="530"/>
                    <a:pt x="325" y="518"/>
                    <a:pt x="335" y="507"/>
                  </a:cubicBezTo>
                  <a:cubicBezTo>
                    <a:pt x="346" y="496"/>
                    <a:pt x="350" y="482"/>
                    <a:pt x="353" y="468"/>
                  </a:cubicBezTo>
                  <a:cubicBezTo>
                    <a:pt x="358" y="444"/>
                    <a:pt x="370" y="426"/>
                    <a:pt x="391" y="414"/>
                  </a:cubicBezTo>
                  <a:cubicBezTo>
                    <a:pt x="397" y="410"/>
                    <a:pt x="402" y="405"/>
                    <a:pt x="408" y="401"/>
                  </a:cubicBezTo>
                  <a:cubicBezTo>
                    <a:pt x="425" y="387"/>
                    <a:pt x="426" y="371"/>
                    <a:pt x="412" y="354"/>
                  </a:cubicBezTo>
                  <a:cubicBezTo>
                    <a:pt x="410" y="351"/>
                    <a:pt x="408" y="349"/>
                    <a:pt x="406" y="346"/>
                  </a:cubicBezTo>
                  <a:cubicBezTo>
                    <a:pt x="398" y="337"/>
                    <a:pt x="388" y="329"/>
                    <a:pt x="384" y="318"/>
                  </a:cubicBezTo>
                  <a:cubicBezTo>
                    <a:pt x="379" y="305"/>
                    <a:pt x="394" y="298"/>
                    <a:pt x="399" y="288"/>
                  </a:cubicBezTo>
                  <a:cubicBezTo>
                    <a:pt x="416" y="254"/>
                    <a:pt x="403" y="211"/>
                    <a:pt x="369" y="194"/>
                  </a:cubicBezTo>
                  <a:cubicBezTo>
                    <a:pt x="336" y="177"/>
                    <a:pt x="294" y="190"/>
                    <a:pt x="278" y="226"/>
                  </a:cubicBezTo>
                  <a:cubicBezTo>
                    <a:pt x="273" y="238"/>
                    <a:pt x="268" y="242"/>
                    <a:pt x="255" y="240"/>
                  </a:cubicBezTo>
                  <a:cubicBezTo>
                    <a:pt x="239" y="237"/>
                    <a:pt x="226" y="245"/>
                    <a:pt x="212" y="252"/>
                  </a:cubicBezTo>
                  <a:cubicBezTo>
                    <a:pt x="191" y="263"/>
                    <a:pt x="185" y="261"/>
                    <a:pt x="172" y="242"/>
                  </a:cubicBezTo>
                  <a:cubicBezTo>
                    <a:pt x="168" y="235"/>
                    <a:pt x="163" y="228"/>
                    <a:pt x="158" y="220"/>
                  </a:cubicBezTo>
                  <a:cubicBezTo>
                    <a:pt x="147" y="199"/>
                    <a:pt x="159" y="177"/>
                    <a:pt x="183" y="178"/>
                  </a:cubicBezTo>
                  <a:cubicBezTo>
                    <a:pt x="192" y="178"/>
                    <a:pt x="201" y="179"/>
                    <a:pt x="209" y="180"/>
                  </a:cubicBezTo>
                  <a:cubicBezTo>
                    <a:pt x="230" y="184"/>
                    <a:pt x="246" y="178"/>
                    <a:pt x="258" y="161"/>
                  </a:cubicBezTo>
                  <a:cubicBezTo>
                    <a:pt x="265" y="149"/>
                    <a:pt x="276" y="145"/>
                    <a:pt x="289" y="148"/>
                  </a:cubicBezTo>
                  <a:cubicBezTo>
                    <a:pt x="321" y="153"/>
                    <a:pt x="339" y="136"/>
                    <a:pt x="353" y="111"/>
                  </a:cubicBezTo>
                  <a:cubicBezTo>
                    <a:pt x="367" y="87"/>
                    <a:pt x="360" y="65"/>
                    <a:pt x="345" y="44"/>
                  </a:cubicBezTo>
                  <a:cubicBezTo>
                    <a:pt x="336" y="32"/>
                    <a:pt x="328" y="19"/>
                    <a:pt x="317"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p>
          </p:txBody>
        </p:sp>
        <p:sp>
          <p:nvSpPr>
            <p:cNvPr id="354" name="Freeform 43"/>
            <p:cNvSpPr>
              <a:spLocks/>
            </p:cNvSpPr>
            <p:nvPr/>
          </p:nvSpPr>
          <p:spPr bwMode="auto">
            <a:xfrm>
              <a:off x="-1563688" y="2397125"/>
              <a:ext cx="608013" cy="865188"/>
            </a:xfrm>
            <a:custGeom>
              <a:avLst/>
              <a:gdLst>
                <a:gd name="T0" fmla="*/ 0 w 393"/>
                <a:gd name="T1" fmla="*/ 245 h 559"/>
                <a:gd name="T2" fmla="*/ 23 w 393"/>
                <a:gd name="T3" fmla="*/ 180 h 559"/>
                <a:gd name="T4" fmla="*/ 45 w 393"/>
                <a:gd name="T5" fmla="*/ 205 h 559"/>
                <a:gd name="T6" fmla="*/ 65 w 393"/>
                <a:gd name="T7" fmla="*/ 206 h 559"/>
                <a:gd name="T8" fmla="*/ 112 w 393"/>
                <a:gd name="T9" fmla="*/ 142 h 559"/>
                <a:gd name="T10" fmla="*/ 119 w 393"/>
                <a:gd name="T11" fmla="*/ 83 h 559"/>
                <a:gd name="T12" fmla="*/ 125 w 393"/>
                <a:gd name="T13" fmla="*/ 63 h 559"/>
                <a:gd name="T14" fmla="*/ 192 w 393"/>
                <a:gd name="T15" fmla="*/ 72 h 559"/>
                <a:gd name="T16" fmla="*/ 223 w 393"/>
                <a:gd name="T17" fmla="*/ 71 h 559"/>
                <a:gd name="T18" fmla="*/ 265 w 393"/>
                <a:gd name="T19" fmla="*/ 13 h 559"/>
                <a:gd name="T20" fmla="*/ 289 w 393"/>
                <a:gd name="T21" fmla="*/ 14 h 559"/>
                <a:gd name="T22" fmla="*/ 321 w 393"/>
                <a:gd name="T23" fmla="*/ 60 h 559"/>
                <a:gd name="T24" fmla="*/ 324 w 393"/>
                <a:gd name="T25" fmla="*/ 104 h 559"/>
                <a:gd name="T26" fmla="*/ 280 w 393"/>
                <a:gd name="T27" fmla="*/ 132 h 559"/>
                <a:gd name="T28" fmla="*/ 227 w 393"/>
                <a:gd name="T29" fmla="*/ 155 h 559"/>
                <a:gd name="T30" fmla="*/ 201 w 393"/>
                <a:gd name="T31" fmla="*/ 165 h 559"/>
                <a:gd name="T32" fmla="*/ 171 w 393"/>
                <a:gd name="T33" fmla="*/ 162 h 559"/>
                <a:gd name="T34" fmla="*/ 129 w 393"/>
                <a:gd name="T35" fmla="*/ 184 h 559"/>
                <a:gd name="T36" fmla="*/ 130 w 393"/>
                <a:gd name="T37" fmla="*/ 229 h 559"/>
                <a:gd name="T38" fmla="*/ 146 w 393"/>
                <a:gd name="T39" fmla="*/ 254 h 559"/>
                <a:gd name="T40" fmla="*/ 201 w 393"/>
                <a:gd name="T41" fmla="*/ 268 h 559"/>
                <a:gd name="T42" fmla="*/ 221 w 393"/>
                <a:gd name="T43" fmla="*/ 258 h 559"/>
                <a:gd name="T44" fmla="*/ 259 w 393"/>
                <a:gd name="T45" fmla="*/ 276 h 559"/>
                <a:gd name="T46" fmla="*/ 318 w 393"/>
                <a:gd name="T47" fmla="*/ 361 h 559"/>
                <a:gd name="T48" fmla="*/ 333 w 393"/>
                <a:gd name="T49" fmla="*/ 358 h 559"/>
                <a:gd name="T50" fmla="*/ 355 w 393"/>
                <a:gd name="T51" fmla="*/ 328 h 559"/>
                <a:gd name="T52" fmla="*/ 384 w 393"/>
                <a:gd name="T53" fmla="*/ 362 h 559"/>
                <a:gd name="T54" fmla="*/ 381 w 393"/>
                <a:gd name="T55" fmla="*/ 390 h 559"/>
                <a:gd name="T56" fmla="*/ 356 w 393"/>
                <a:gd name="T57" fmla="*/ 410 h 559"/>
                <a:gd name="T58" fmla="*/ 340 w 393"/>
                <a:gd name="T59" fmla="*/ 425 h 559"/>
                <a:gd name="T60" fmla="*/ 286 w 393"/>
                <a:gd name="T61" fmla="*/ 539 h 559"/>
                <a:gd name="T62" fmla="*/ 268 w 393"/>
                <a:gd name="T63" fmla="*/ 559 h 559"/>
                <a:gd name="T64" fmla="*/ 256 w 393"/>
                <a:gd name="T65" fmla="*/ 539 h 559"/>
                <a:gd name="T66" fmla="*/ 253 w 393"/>
                <a:gd name="T67" fmla="*/ 519 h 559"/>
                <a:gd name="T68" fmla="*/ 217 w 393"/>
                <a:gd name="T69" fmla="*/ 435 h 559"/>
                <a:gd name="T70" fmla="*/ 178 w 393"/>
                <a:gd name="T71" fmla="*/ 354 h 559"/>
                <a:gd name="T72" fmla="*/ 135 w 393"/>
                <a:gd name="T73" fmla="*/ 306 h 559"/>
                <a:gd name="T74" fmla="*/ 93 w 393"/>
                <a:gd name="T75" fmla="*/ 271 h 559"/>
                <a:gd name="T76" fmla="*/ 0 w 393"/>
                <a:gd name="T77" fmla="*/ 245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3" h="559">
                  <a:moveTo>
                    <a:pt x="0" y="245"/>
                  </a:moveTo>
                  <a:cubicBezTo>
                    <a:pt x="5" y="220"/>
                    <a:pt x="13" y="200"/>
                    <a:pt x="23" y="180"/>
                  </a:cubicBezTo>
                  <a:cubicBezTo>
                    <a:pt x="33" y="187"/>
                    <a:pt x="38" y="197"/>
                    <a:pt x="45" y="205"/>
                  </a:cubicBezTo>
                  <a:cubicBezTo>
                    <a:pt x="52" y="214"/>
                    <a:pt x="58" y="216"/>
                    <a:pt x="65" y="206"/>
                  </a:cubicBezTo>
                  <a:cubicBezTo>
                    <a:pt x="81" y="185"/>
                    <a:pt x="98" y="164"/>
                    <a:pt x="112" y="142"/>
                  </a:cubicBezTo>
                  <a:cubicBezTo>
                    <a:pt x="125" y="124"/>
                    <a:pt x="126" y="103"/>
                    <a:pt x="119" y="83"/>
                  </a:cubicBezTo>
                  <a:cubicBezTo>
                    <a:pt x="115" y="73"/>
                    <a:pt x="117" y="69"/>
                    <a:pt x="125" y="63"/>
                  </a:cubicBezTo>
                  <a:cubicBezTo>
                    <a:pt x="163" y="34"/>
                    <a:pt x="163" y="33"/>
                    <a:pt x="192" y="72"/>
                  </a:cubicBezTo>
                  <a:cubicBezTo>
                    <a:pt x="207" y="91"/>
                    <a:pt x="208" y="91"/>
                    <a:pt x="223" y="71"/>
                  </a:cubicBezTo>
                  <a:cubicBezTo>
                    <a:pt x="237" y="52"/>
                    <a:pt x="252" y="33"/>
                    <a:pt x="265" y="13"/>
                  </a:cubicBezTo>
                  <a:cubicBezTo>
                    <a:pt x="274" y="0"/>
                    <a:pt x="281" y="2"/>
                    <a:pt x="289" y="14"/>
                  </a:cubicBezTo>
                  <a:cubicBezTo>
                    <a:pt x="300" y="29"/>
                    <a:pt x="311" y="44"/>
                    <a:pt x="321" y="60"/>
                  </a:cubicBezTo>
                  <a:cubicBezTo>
                    <a:pt x="331" y="74"/>
                    <a:pt x="333" y="89"/>
                    <a:pt x="324" y="104"/>
                  </a:cubicBezTo>
                  <a:cubicBezTo>
                    <a:pt x="313" y="120"/>
                    <a:pt x="303" y="136"/>
                    <a:pt x="280" y="132"/>
                  </a:cubicBezTo>
                  <a:cubicBezTo>
                    <a:pt x="258" y="128"/>
                    <a:pt x="240" y="135"/>
                    <a:pt x="227" y="155"/>
                  </a:cubicBezTo>
                  <a:cubicBezTo>
                    <a:pt x="221" y="165"/>
                    <a:pt x="211" y="167"/>
                    <a:pt x="201" y="165"/>
                  </a:cubicBezTo>
                  <a:cubicBezTo>
                    <a:pt x="191" y="164"/>
                    <a:pt x="181" y="163"/>
                    <a:pt x="171" y="162"/>
                  </a:cubicBezTo>
                  <a:cubicBezTo>
                    <a:pt x="153" y="161"/>
                    <a:pt x="138" y="168"/>
                    <a:pt x="129" y="184"/>
                  </a:cubicBezTo>
                  <a:cubicBezTo>
                    <a:pt x="119" y="199"/>
                    <a:pt x="121" y="214"/>
                    <a:pt x="130" y="229"/>
                  </a:cubicBezTo>
                  <a:cubicBezTo>
                    <a:pt x="135" y="237"/>
                    <a:pt x="140" y="246"/>
                    <a:pt x="146" y="254"/>
                  </a:cubicBezTo>
                  <a:cubicBezTo>
                    <a:pt x="161" y="275"/>
                    <a:pt x="178" y="279"/>
                    <a:pt x="201" y="268"/>
                  </a:cubicBezTo>
                  <a:cubicBezTo>
                    <a:pt x="208" y="264"/>
                    <a:pt x="214" y="260"/>
                    <a:pt x="221" y="258"/>
                  </a:cubicBezTo>
                  <a:cubicBezTo>
                    <a:pt x="241" y="250"/>
                    <a:pt x="252" y="256"/>
                    <a:pt x="259" y="276"/>
                  </a:cubicBezTo>
                  <a:cubicBezTo>
                    <a:pt x="272" y="308"/>
                    <a:pt x="298" y="333"/>
                    <a:pt x="318" y="361"/>
                  </a:cubicBezTo>
                  <a:cubicBezTo>
                    <a:pt x="323" y="367"/>
                    <a:pt x="329" y="363"/>
                    <a:pt x="333" y="358"/>
                  </a:cubicBezTo>
                  <a:cubicBezTo>
                    <a:pt x="340" y="348"/>
                    <a:pt x="347" y="339"/>
                    <a:pt x="355" y="328"/>
                  </a:cubicBezTo>
                  <a:cubicBezTo>
                    <a:pt x="365" y="340"/>
                    <a:pt x="374" y="351"/>
                    <a:pt x="384" y="362"/>
                  </a:cubicBezTo>
                  <a:cubicBezTo>
                    <a:pt x="393" y="373"/>
                    <a:pt x="393" y="382"/>
                    <a:pt x="381" y="390"/>
                  </a:cubicBezTo>
                  <a:cubicBezTo>
                    <a:pt x="372" y="397"/>
                    <a:pt x="364" y="403"/>
                    <a:pt x="356" y="410"/>
                  </a:cubicBezTo>
                  <a:cubicBezTo>
                    <a:pt x="350" y="414"/>
                    <a:pt x="342" y="419"/>
                    <a:pt x="340" y="425"/>
                  </a:cubicBezTo>
                  <a:cubicBezTo>
                    <a:pt x="325" y="464"/>
                    <a:pt x="303" y="500"/>
                    <a:pt x="286" y="539"/>
                  </a:cubicBezTo>
                  <a:cubicBezTo>
                    <a:pt x="282" y="548"/>
                    <a:pt x="280" y="559"/>
                    <a:pt x="268" y="559"/>
                  </a:cubicBezTo>
                  <a:cubicBezTo>
                    <a:pt x="256" y="559"/>
                    <a:pt x="258" y="547"/>
                    <a:pt x="256" y="539"/>
                  </a:cubicBezTo>
                  <a:cubicBezTo>
                    <a:pt x="255" y="533"/>
                    <a:pt x="254" y="526"/>
                    <a:pt x="253" y="519"/>
                  </a:cubicBezTo>
                  <a:cubicBezTo>
                    <a:pt x="250" y="488"/>
                    <a:pt x="241" y="459"/>
                    <a:pt x="217" y="435"/>
                  </a:cubicBezTo>
                  <a:cubicBezTo>
                    <a:pt x="195" y="413"/>
                    <a:pt x="184" y="385"/>
                    <a:pt x="178" y="354"/>
                  </a:cubicBezTo>
                  <a:cubicBezTo>
                    <a:pt x="173" y="330"/>
                    <a:pt x="160" y="314"/>
                    <a:pt x="135" y="306"/>
                  </a:cubicBezTo>
                  <a:cubicBezTo>
                    <a:pt x="117" y="301"/>
                    <a:pt x="103" y="286"/>
                    <a:pt x="93" y="271"/>
                  </a:cubicBezTo>
                  <a:cubicBezTo>
                    <a:pt x="70" y="235"/>
                    <a:pt x="41" y="226"/>
                    <a:pt x="0" y="2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p>
          </p:txBody>
        </p:sp>
        <p:sp>
          <p:nvSpPr>
            <p:cNvPr id="355" name="Freeform 44"/>
            <p:cNvSpPr>
              <a:spLocks/>
            </p:cNvSpPr>
            <p:nvPr/>
          </p:nvSpPr>
          <p:spPr bwMode="auto">
            <a:xfrm>
              <a:off x="-836613" y="2492375"/>
              <a:ext cx="261938" cy="460375"/>
            </a:xfrm>
            <a:custGeom>
              <a:avLst/>
              <a:gdLst>
                <a:gd name="T0" fmla="*/ 153 w 170"/>
                <a:gd name="T1" fmla="*/ 150 h 297"/>
                <a:gd name="T2" fmla="*/ 169 w 170"/>
                <a:gd name="T3" fmla="*/ 226 h 297"/>
                <a:gd name="T4" fmla="*/ 158 w 170"/>
                <a:gd name="T5" fmla="*/ 238 h 297"/>
                <a:gd name="T6" fmla="*/ 110 w 170"/>
                <a:gd name="T7" fmla="*/ 268 h 297"/>
                <a:gd name="T8" fmla="*/ 42 w 170"/>
                <a:gd name="T9" fmla="*/ 286 h 297"/>
                <a:gd name="T10" fmla="*/ 32 w 170"/>
                <a:gd name="T11" fmla="*/ 268 h 297"/>
                <a:gd name="T12" fmla="*/ 16 w 170"/>
                <a:gd name="T13" fmla="*/ 235 h 297"/>
                <a:gd name="T14" fmla="*/ 16 w 170"/>
                <a:gd name="T15" fmla="*/ 185 h 297"/>
                <a:gd name="T16" fmla="*/ 55 w 170"/>
                <a:gd name="T17" fmla="*/ 150 h 297"/>
                <a:gd name="T18" fmla="*/ 71 w 170"/>
                <a:gd name="T19" fmla="*/ 106 h 297"/>
                <a:gd name="T20" fmla="*/ 36 w 170"/>
                <a:gd name="T21" fmla="*/ 77 h 297"/>
                <a:gd name="T22" fmla="*/ 18 w 170"/>
                <a:gd name="T23" fmla="*/ 40 h 297"/>
                <a:gd name="T24" fmla="*/ 73 w 170"/>
                <a:gd name="T25" fmla="*/ 29 h 297"/>
                <a:gd name="T26" fmla="*/ 85 w 170"/>
                <a:gd name="T27" fmla="*/ 63 h 297"/>
                <a:gd name="T28" fmla="*/ 94 w 170"/>
                <a:gd name="T29" fmla="*/ 110 h 297"/>
                <a:gd name="T30" fmla="*/ 124 w 170"/>
                <a:gd name="T31" fmla="*/ 150 h 297"/>
                <a:gd name="T32" fmla="*/ 153 w 170"/>
                <a:gd name="T33" fmla="*/ 15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0" h="297">
                  <a:moveTo>
                    <a:pt x="153" y="150"/>
                  </a:moveTo>
                  <a:cubicBezTo>
                    <a:pt x="162" y="178"/>
                    <a:pt x="166" y="202"/>
                    <a:pt x="169" y="226"/>
                  </a:cubicBezTo>
                  <a:cubicBezTo>
                    <a:pt x="170" y="235"/>
                    <a:pt x="167" y="238"/>
                    <a:pt x="158" y="238"/>
                  </a:cubicBezTo>
                  <a:cubicBezTo>
                    <a:pt x="135" y="237"/>
                    <a:pt x="120" y="247"/>
                    <a:pt x="110" y="268"/>
                  </a:cubicBezTo>
                  <a:cubicBezTo>
                    <a:pt x="100" y="289"/>
                    <a:pt x="61" y="297"/>
                    <a:pt x="42" y="286"/>
                  </a:cubicBezTo>
                  <a:cubicBezTo>
                    <a:pt x="35" y="282"/>
                    <a:pt x="32" y="276"/>
                    <a:pt x="32" y="268"/>
                  </a:cubicBezTo>
                  <a:cubicBezTo>
                    <a:pt x="32" y="254"/>
                    <a:pt x="26" y="244"/>
                    <a:pt x="16" y="235"/>
                  </a:cubicBezTo>
                  <a:cubicBezTo>
                    <a:pt x="0" y="220"/>
                    <a:pt x="0" y="200"/>
                    <a:pt x="16" y="185"/>
                  </a:cubicBezTo>
                  <a:cubicBezTo>
                    <a:pt x="29" y="173"/>
                    <a:pt x="42" y="162"/>
                    <a:pt x="55" y="150"/>
                  </a:cubicBezTo>
                  <a:cubicBezTo>
                    <a:pt x="69" y="139"/>
                    <a:pt x="76" y="124"/>
                    <a:pt x="71" y="106"/>
                  </a:cubicBezTo>
                  <a:cubicBezTo>
                    <a:pt x="66" y="90"/>
                    <a:pt x="53" y="81"/>
                    <a:pt x="36" y="77"/>
                  </a:cubicBezTo>
                  <a:cubicBezTo>
                    <a:pt x="11" y="73"/>
                    <a:pt x="6" y="61"/>
                    <a:pt x="18" y="40"/>
                  </a:cubicBezTo>
                  <a:cubicBezTo>
                    <a:pt x="39" y="0"/>
                    <a:pt x="39" y="1"/>
                    <a:pt x="73" y="29"/>
                  </a:cubicBezTo>
                  <a:cubicBezTo>
                    <a:pt x="84" y="38"/>
                    <a:pt x="91" y="46"/>
                    <a:pt x="85" y="63"/>
                  </a:cubicBezTo>
                  <a:cubicBezTo>
                    <a:pt x="79" y="78"/>
                    <a:pt x="83" y="96"/>
                    <a:pt x="94" y="110"/>
                  </a:cubicBezTo>
                  <a:cubicBezTo>
                    <a:pt x="104" y="123"/>
                    <a:pt x="114" y="137"/>
                    <a:pt x="124" y="150"/>
                  </a:cubicBezTo>
                  <a:cubicBezTo>
                    <a:pt x="132" y="161"/>
                    <a:pt x="140" y="176"/>
                    <a:pt x="153" y="1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p>
          </p:txBody>
        </p:sp>
        <p:sp>
          <p:nvSpPr>
            <p:cNvPr id="356" name="Freeform 45"/>
            <p:cNvSpPr>
              <a:spLocks noEditPoints="1"/>
            </p:cNvSpPr>
            <p:nvPr/>
          </p:nvSpPr>
          <p:spPr bwMode="auto">
            <a:xfrm>
              <a:off x="-1335088" y="2274888"/>
              <a:ext cx="180975" cy="222250"/>
            </a:xfrm>
            <a:custGeom>
              <a:avLst/>
              <a:gdLst>
                <a:gd name="T0" fmla="*/ 59 w 117"/>
                <a:gd name="T1" fmla="*/ 144 h 144"/>
                <a:gd name="T2" fmla="*/ 15 w 117"/>
                <a:gd name="T3" fmla="*/ 84 h 144"/>
                <a:gd name="T4" fmla="*/ 27 w 117"/>
                <a:gd name="T5" fmla="*/ 15 h 144"/>
                <a:gd name="T6" fmla="*/ 92 w 117"/>
                <a:gd name="T7" fmla="*/ 15 h 144"/>
                <a:gd name="T8" fmla="*/ 104 w 117"/>
                <a:gd name="T9" fmla="*/ 84 h 144"/>
                <a:gd name="T10" fmla="*/ 76 w 117"/>
                <a:gd name="T11" fmla="*/ 123 h 144"/>
                <a:gd name="T12" fmla="*/ 59 w 117"/>
                <a:gd name="T13" fmla="*/ 144 h 144"/>
                <a:gd name="T14" fmla="*/ 97 w 117"/>
                <a:gd name="T15" fmla="*/ 55 h 144"/>
                <a:gd name="T16" fmla="*/ 57 w 117"/>
                <a:gd name="T17" fmla="*/ 16 h 144"/>
                <a:gd name="T18" fmla="*/ 18 w 117"/>
                <a:gd name="T19" fmla="*/ 56 h 144"/>
                <a:gd name="T20" fmla="*/ 57 w 117"/>
                <a:gd name="T21" fmla="*/ 95 h 144"/>
                <a:gd name="T22" fmla="*/ 97 w 117"/>
                <a:gd name="T23" fmla="*/ 5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7" h="144">
                  <a:moveTo>
                    <a:pt x="59" y="144"/>
                  </a:moveTo>
                  <a:cubicBezTo>
                    <a:pt x="43" y="123"/>
                    <a:pt x="28" y="104"/>
                    <a:pt x="15" y="84"/>
                  </a:cubicBezTo>
                  <a:cubicBezTo>
                    <a:pt x="0" y="61"/>
                    <a:pt x="7" y="32"/>
                    <a:pt x="27" y="15"/>
                  </a:cubicBezTo>
                  <a:cubicBezTo>
                    <a:pt x="46" y="0"/>
                    <a:pt x="72" y="0"/>
                    <a:pt x="92" y="15"/>
                  </a:cubicBezTo>
                  <a:cubicBezTo>
                    <a:pt x="111" y="31"/>
                    <a:pt x="117" y="62"/>
                    <a:pt x="104" y="84"/>
                  </a:cubicBezTo>
                  <a:cubicBezTo>
                    <a:pt x="96" y="97"/>
                    <a:pt x="85" y="110"/>
                    <a:pt x="76" y="123"/>
                  </a:cubicBezTo>
                  <a:cubicBezTo>
                    <a:pt x="71" y="129"/>
                    <a:pt x="65" y="136"/>
                    <a:pt x="59" y="144"/>
                  </a:cubicBezTo>
                  <a:close/>
                  <a:moveTo>
                    <a:pt x="97" y="55"/>
                  </a:moveTo>
                  <a:cubicBezTo>
                    <a:pt x="97" y="35"/>
                    <a:pt x="78" y="16"/>
                    <a:pt x="57" y="16"/>
                  </a:cubicBezTo>
                  <a:cubicBezTo>
                    <a:pt x="37" y="16"/>
                    <a:pt x="18" y="35"/>
                    <a:pt x="18" y="56"/>
                  </a:cubicBezTo>
                  <a:cubicBezTo>
                    <a:pt x="18" y="77"/>
                    <a:pt x="36" y="95"/>
                    <a:pt x="57" y="95"/>
                  </a:cubicBezTo>
                  <a:cubicBezTo>
                    <a:pt x="78" y="95"/>
                    <a:pt x="97" y="76"/>
                    <a:pt x="97"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p>
          </p:txBody>
        </p:sp>
        <p:sp>
          <p:nvSpPr>
            <p:cNvPr id="357" name="Freeform 46"/>
            <p:cNvSpPr>
              <a:spLocks noEditPoints="1"/>
            </p:cNvSpPr>
            <p:nvPr/>
          </p:nvSpPr>
          <p:spPr bwMode="auto">
            <a:xfrm>
              <a:off x="-1570038" y="2471738"/>
              <a:ext cx="182563" cy="223838"/>
            </a:xfrm>
            <a:custGeom>
              <a:avLst/>
              <a:gdLst>
                <a:gd name="T0" fmla="*/ 59 w 118"/>
                <a:gd name="T1" fmla="*/ 145 h 145"/>
                <a:gd name="T2" fmla="*/ 15 w 118"/>
                <a:gd name="T3" fmla="*/ 85 h 145"/>
                <a:gd name="T4" fmla="*/ 28 w 118"/>
                <a:gd name="T5" fmla="*/ 15 h 145"/>
                <a:gd name="T6" fmla="*/ 92 w 118"/>
                <a:gd name="T7" fmla="*/ 16 h 145"/>
                <a:gd name="T8" fmla="*/ 103 w 118"/>
                <a:gd name="T9" fmla="*/ 86 h 145"/>
                <a:gd name="T10" fmla="*/ 59 w 118"/>
                <a:gd name="T11" fmla="*/ 145 h 145"/>
                <a:gd name="T12" fmla="*/ 97 w 118"/>
                <a:gd name="T13" fmla="*/ 56 h 145"/>
                <a:gd name="T14" fmla="*/ 58 w 118"/>
                <a:gd name="T15" fmla="*/ 16 h 145"/>
                <a:gd name="T16" fmla="*/ 18 w 118"/>
                <a:gd name="T17" fmla="*/ 55 h 145"/>
                <a:gd name="T18" fmla="*/ 57 w 118"/>
                <a:gd name="T19" fmla="*/ 95 h 145"/>
                <a:gd name="T20" fmla="*/ 97 w 118"/>
                <a:gd name="T21" fmla="*/ 5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8" h="145">
                  <a:moveTo>
                    <a:pt x="59" y="145"/>
                  </a:moveTo>
                  <a:cubicBezTo>
                    <a:pt x="44" y="124"/>
                    <a:pt x="28" y="105"/>
                    <a:pt x="15" y="85"/>
                  </a:cubicBezTo>
                  <a:cubicBezTo>
                    <a:pt x="0" y="61"/>
                    <a:pt x="6" y="33"/>
                    <a:pt x="28" y="15"/>
                  </a:cubicBezTo>
                  <a:cubicBezTo>
                    <a:pt x="47" y="0"/>
                    <a:pt x="73" y="0"/>
                    <a:pt x="92" y="16"/>
                  </a:cubicBezTo>
                  <a:cubicBezTo>
                    <a:pt x="112" y="33"/>
                    <a:pt x="118" y="63"/>
                    <a:pt x="103" y="86"/>
                  </a:cubicBezTo>
                  <a:cubicBezTo>
                    <a:pt x="90" y="106"/>
                    <a:pt x="75" y="124"/>
                    <a:pt x="59" y="145"/>
                  </a:cubicBezTo>
                  <a:close/>
                  <a:moveTo>
                    <a:pt x="97" y="56"/>
                  </a:moveTo>
                  <a:cubicBezTo>
                    <a:pt x="97" y="35"/>
                    <a:pt x="78" y="16"/>
                    <a:pt x="58" y="16"/>
                  </a:cubicBezTo>
                  <a:cubicBezTo>
                    <a:pt x="37" y="16"/>
                    <a:pt x="18" y="35"/>
                    <a:pt x="18" y="55"/>
                  </a:cubicBezTo>
                  <a:cubicBezTo>
                    <a:pt x="18" y="76"/>
                    <a:pt x="36" y="95"/>
                    <a:pt x="57" y="95"/>
                  </a:cubicBezTo>
                  <a:cubicBezTo>
                    <a:pt x="78" y="96"/>
                    <a:pt x="96" y="77"/>
                    <a:pt x="97" y="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p>
          </p:txBody>
        </p:sp>
        <p:sp>
          <p:nvSpPr>
            <p:cNvPr id="358" name="Freeform 47"/>
            <p:cNvSpPr>
              <a:spLocks noEditPoints="1"/>
            </p:cNvSpPr>
            <p:nvPr/>
          </p:nvSpPr>
          <p:spPr bwMode="auto">
            <a:xfrm>
              <a:off x="-1154113" y="2703513"/>
              <a:ext cx="179388" cy="223838"/>
            </a:xfrm>
            <a:custGeom>
              <a:avLst/>
              <a:gdLst>
                <a:gd name="T0" fmla="*/ 59 w 116"/>
                <a:gd name="T1" fmla="*/ 145 h 145"/>
                <a:gd name="T2" fmla="*/ 14 w 116"/>
                <a:gd name="T3" fmla="*/ 84 h 145"/>
                <a:gd name="T4" fmla="*/ 27 w 116"/>
                <a:gd name="T5" fmla="*/ 16 h 145"/>
                <a:gd name="T6" fmla="*/ 93 w 116"/>
                <a:gd name="T7" fmla="*/ 17 h 145"/>
                <a:gd name="T8" fmla="*/ 103 w 116"/>
                <a:gd name="T9" fmla="*/ 86 h 145"/>
                <a:gd name="T10" fmla="*/ 92 w 116"/>
                <a:gd name="T11" fmla="*/ 100 h 145"/>
                <a:gd name="T12" fmla="*/ 59 w 116"/>
                <a:gd name="T13" fmla="*/ 145 h 145"/>
                <a:gd name="T14" fmla="*/ 57 w 116"/>
                <a:gd name="T15" fmla="*/ 94 h 145"/>
                <a:gd name="T16" fmla="*/ 97 w 116"/>
                <a:gd name="T17" fmla="*/ 56 h 145"/>
                <a:gd name="T18" fmla="*/ 56 w 116"/>
                <a:gd name="T19" fmla="*/ 17 h 145"/>
                <a:gd name="T20" fmla="*/ 18 w 116"/>
                <a:gd name="T21" fmla="*/ 55 h 145"/>
                <a:gd name="T22" fmla="*/ 57 w 116"/>
                <a:gd name="T23" fmla="*/ 9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45">
                  <a:moveTo>
                    <a:pt x="59" y="145"/>
                  </a:moveTo>
                  <a:cubicBezTo>
                    <a:pt x="43" y="124"/>
                    <a:pt x="28" y="105"/>
                    <a:pt x="14" y="84"/>
                  </a:cubicBezTo>
                  <a:cubicBezTo>
                    <a:pt x="0" y="63"/>
                    <a:pt x="7" y="32"/>
                    <a:pt x="27" y="16"/>
                  </a:cubicBezTo>
                  <a:cubicBezTo>
                    <a:pt x="45" y="0"/>
                    <a:pt x="75" y="1"/>
                    <a:pt x="93" y="17"/>
                  </a:cubicBezTo>
                  <a:cubicBezTo>
                    <a:pt x="112" y="34"/>
                    <a:pt x="116" y="64"/>
                    <a:pt x="103" y="86"/>
                  </a:cubicBezTo>
                  <a:cubicBezTo>
                    <a:pt x="100" y="91"/>
                    <a:pt x="96" y="96"/>
                    <a:pt x="92" y="100"/>
                  </a:cubicBezTo>
                  <a:cubicBezTo>
                    <a:pt x="82" y="115"/>
                    <a:pt x="71" y="129"/>
                    <a:pt x="59" y="145"/>
                  </a:cubicBezTo>
                  <a:close/>
                  <a:moveTo>
                    <a:pt x="57" y="94"/>
                  </a:moveTo>
                  <a:cubicBezTo>
                    <a:pt x="79" y="94"/>
                    <a:pt x="97" y="77"/>
                    <a:pt x="97" y="56"/>
                  </a:cubicBezTo>
                  <a:cubicBezTo>
                    <a:pt x="96" y="34"/>
                    <a:pt x="79" y="17"/>
                    <a:pt x="56" y="17"/>
                  </a:cubicBezTo>
                  <a:cubicBezTo>
                    <a:pt x="35" y="18"/>
                    <a:pt x="18" y="34"/>
                    <a:pt x="18" y="55"/>
                  </a:cubicBezTo>
                  <a:cubicBezTo>
                    <a:pt x="17" y="77"/>
                    <a:pt x="35" y="94"/>
                    <a:pt x="57"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p>
          </p:txBody>
        </p:sp>
        <p:sp>
          <p:nvSpPr>
            <p:cNvPr id="359" name="Freeform 48"/>
            <p:cNvSpPr>
              <a:spLocks/>
            </p:cNvSpPr>
            <p:nvPr/>
          </p:nvSpPr>
          <p:spPr bwMode="auto">
            <a:xfrm>
              <a:off x="-692150" y="2538413"/>
              <a:ext cx="139700" cy="177800"/>
            </a:xfrm>
            <a:custGeom>
              <a:avLst/>
              <a:gdLst>
                <a:gd name="T0" fmla="*/ 13 w 90"/>
                <a:gd name="T1" fmla="*/ 25 h 115"/>
                <a:gd name="T2" fmla="*/ 61 w 90"/>
                <a:gd name="T3" fmla="*/ 9 h 115"/>
                <a:gd name="T4" fmla="*/ 83 w 90"/>
                <a:gd name="T5" fmla="*/ 59 h 115"/>
                <a:gd name="T6" fmla="*/ 45 w 90"/>
                <a:gd name="T7" fmla="*/ 115 h 115"/>
                <a:gd name="T8" fmla="*/ 11 w 90"/>
                <a:gd name="T9" fmla="*/ 68 h 115"/>
                <a:gd name="T10" fmla="*/ 14 w 90"/>
                <a:gd name="T11" fmla="*/ 25 h 115"/>
                <a:gd name="T12" fmla="*/ 12 w 90"/>
                <a:gd name="T13" fmla="*/ 36 h 115"/>
                <a:gd name="T14" fmla="*/ 30 w 90"/>
                <a:gd name="T15" fmla="*/ 75 h 115"/>
                <a:gd name="T16" fmla="*/ 69 w 90"/>
                <a:gd name="T17" fmla="*/ 66 h 115"/>
                <a:gd name="T18" fmla="*/ 67 w 90"/>
                <a:gd name="T19" fmla="*/ 24 h 115"/>
                <a:gd name="T20" fmla="*/ 24 w 90"/>
                <a:gd name="T21" fmla="*/ 18 h 115"/>
                <a:gd name="T22" fmla="*/ 13 w 90"/>
                <a:gd name="T23" fmla="*/ 25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0" h="115">
                  <a:moveTo>
                    <a:pt x="13" y="25"/>
                  </a:moveTo>
                  <a:cubicBezTo>
                    <a:pt x="24" y="6"/>
                    <a:pt x="42" y="0"/>
                    <a:pt x="61" y="9"/>
                  </a:cubicBezTo>
                  <a:cubicBezTo>
                    <a:pt x="80" y="18"/>
                    <a:pt x="90" y="40"/>
                    <a:pt x="83" y="59"/>
                  </a:cubicBezTo>
                  <a:cubicBezTo>
                    <a:pt x="75" y="80"/>
                    <a:pt x="58" y="95"/>
                    <a:pt x="45" y="115"/>
                  </a:cubicBezTo>
                  <a:cubicBezTo>
                    <a:pt x="32" y="98"/>
                    <a:pt x="20" y="84"/>
                    <a:pt x="11" y="68"/>
                  </a:cubicBezTo>
                  <a:cubicBezTo>
                    <a:pt x="3" y="54"/>
                    <a:pt x="0" y="38"/>
                    <a:pt x="14" y="25"/>
                  </a:cubicBezTo>
                  <a:cubicBezTo>
                    <a:pt x="15" y="29"/>
                    <a:pt x="12" y="32"/>
                    <a:pt x="12" y="36"/>
                  </a:cubicBezTo>
                  <a:cubicBezTo>
                    <a:pt x="7" y="53"/>
                    <a:pt x="14" y="70"/>
                    <a:pt x="30" y="75"/>
                  </a:cubicBezTo>
                  <a:cubicBezTo>
                    <a:pt x="44" y="81"/>
                    <a:pt x="59" y="79"/>
                    <a:pt x="69" y="66"/>
                  </a:cubicBezTo>
                  <a:cubicBezTo>
                    <a:pt x="79" y="52"/>
                    <a:pt x="79" y="37"/>
                    <a:pt x="67" y="24"/>
                  </a:cubicBezTo>
                  <a:cubicBezTo>
                    <a:pt x="56" y="11"/>
                    <a:pt x="40" y="9"/>
                    <a:pt x="24" y="18"/>
                  </a:cubicBezTo>
                  <a:cubicBezTo>
                    <a:pt x="21" y="21"/>
                    <a:pt x="19" y="26"/>
                    <a:pt x="13" y="2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p>
          </p:txBody>
        </p:sp>
        <p:sp>
          <p:nvSpPr>
            <p:cNvPr id="360" name="Freeform 49"/>
            <p:cNvSpPr>
              <a:spLocks/>
            </p:cNvSpPr>
            <p:nvPr/>
          </p:nvSpPr>
          <p:spPr bwMode="auto">
            <a:xfrm>
              <a:off x="-1282700" y="2322513"/>
              <a:ext cx="74613" cy="74613"/>
            </a:xfrm>
            <a:custGeom>
              <a:avLst/>
              <a:gdLst>
                <a:gd name="T0" fmla="*/ 21 w 48"/>
                <a:gd name="T1" fmla="*/ 48 h 48"/>
                <a:gd name="T2" fmla="*/ 0 w 48"/>
                <a:gd name="T3" fmla="*/ 24 h 48"/>
                <a:gd name="T4" fmla="*/ 23 w 48"/>
                <a:gd name="T5" fmla="*/ 1 h 48"/>
                <a:gd name="T6" fmla="*/ 47 w 48"/>
                <a:gd name="T7" fmla="*/ 25 h 48"/>
                <a:gd name="T8" fmla="*/ 21 w 48"/>
                <a:gd name="T9" fmla="*/ 48 h 48"/>
              </a:gdLst>
              <a:ahLst/>
              <a:cxnLst>
                <a:cxn ang="0">
                  <a:pos x="T0" y="T1"/>
                </a:cxn>
                <a:cxn ang="0">
                  <a:pos x="T2" y="T3"/>
                </a:cxn>
                <a:cxn ang="0">
                  <a:pos x="T4" y="T5"/>
                </a:cxn>
                <a:cxn ang="0">
                  <a:pos x="T6" y="T7"/>
                </a:cxn>
                <a:cxn ang="0">
                  <a:pos x="T8" y="T9"/>
                </a:cxn>
              </a:cxnLst>
              <a:rect l="0" t="0" r="r" b="b"/>
              <a:pathLst>
                <a:path w="48" h="48">
                  <a:moveTo>
                    <a:pt x="21" y="48"/>
                  </a:moveTo>
                  <a:cubicBezTo>
                    <a:pt x="9" y="46"/>
                    <a:pt x="0" y="39"/>
                    <a:pt x="0" y="24"/>
                  </a:cubicBezTo>
                  <a:cubicBezTo>
                    <a:pt x="0" y="10"/>
                    <a:pt x="10" y="2"/>
                    <a:pt x="23" y="1"/>
                  </a:cubicBezTo>
                  <a:cubicBezTo>
                    <a:pt x="35" y="0"/>
                    <a:pt x="48" y="13"/>
                    <a:pt x="47" y="25"/>
                  </a:cubicBezTo>
                  <a:cubicBezTo>
                    <a:pt x="47" y="37"/>
                    <a:pt x="36" y="47"/>
                    <a:pt x="21"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p>
          </p:txBody>
        </p:sp>
        <p:sp>
          <p:nvSpPr>
            <p:cNvPr id="361" name="Freeform 50"/>
            <p:cNvSpPr>
              <a:spLocks/>
            </p:cNvSpPr>
            <p:nvPr/>
          </p:nvSpPr>
          <p:spPr bwMode="auto">
            <a:xfrm>
              <a:off x="-1517650" y="2520950"/>
              <a:ext cx="73025" cy="73025"/>
            </a:xfrm>
            <a:custGeom>
              <a:avLst/>
              <a:gdLst>
                <a:gd name="T0" fmla="*/ 0 w 47"/>
                <a:gd name="T1" fmla="*/ 24 h 47"/>
                <a:gd name="T2" fmla="*/ 24 w 47"/>
                <a:gd name="T3" fmla="*/ 0 h 47"/>
                <a:gd name="T4" fmla="*/ 46 w 47"/>
                <a:gd name="T5" fmla="*/ 23 h 47"/>
                <a:gd name="T6" fmla="*/ 23 w 47"/>
                <a:gd name="T7" fmla="*/ 47 h 47"/>
                <a:gd name="T8" fmla="*/ 0 w 47"/>
                <a:gd name="T9" fmla="*/ 24 h 47"/>
              </a:gdLst>
              <a:ahLst/>
              <a:cxnLst>
                <a:cxn ang="0">
                  <a:pos x="T0" y="T1"/>
                </a:cxn>
                <a:cxn ang="0">
                  <a:pos x="T2" y="T3"/>
                </a:cxn>
                <a:cxn ang="0">
                  <a:pos x="T4" y="T5"/>
                </a:cxn>
                <a:cxn ang="0">
                  <a:pos x="T6" y="T7"/>
                </a:cxn>
                <a:cxn ang="0">
                  <a:pos x="T8" y="T9"/>
                </a:cxn>
              </a:cxnLst>
              <a:rect l="0" t="0" r="r" b="b"/>
              <a:pathLst>
                <a:path w="47" h="47">
                  <a:moveTo>
                    <a:pt x="0" y="24"/>
                  </a:moveTo>
                  <a:cubicBezTo>
                    <a:pt x="1" y="10"/>
                    <a:pt x="9" y="1"/>
                    <a:pt x="24" y="0"/>
                  </a:cubicBezTo>
                  <a:cubicBezTo>
                    <a:pt x="37" y="0"/>
                    <a:pt x="46" y="10"/>
                    <a:pt x="46" y="23"/>
                  </a:cubicBezTo>
                  <a:cubicBezTo>
                    <a:pt x="47" y="37"/>
                    <a:pt x="38" y="47"/>
                    <a:pt x="23" y="47"/>
                  </a:cubicBezTo>
                  <a:cubicBezTo>
                    <a:pt x="9" y="47"/>
                    <a:pt x="1" y="38"/>
                    <a:pt x="0"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p>
          </p:txBody>
        </p:sp>
        <p:sp>
          <p:nvSpPr>
            <p:cNvPr id="362" name="Freeform 51"/>
            <p:cNvSpPr>
              <a:spLocks/>
            </p:cNvSpPr>
            <p:nvPr/>
          </p:nvSpPr>
          <p:spPr bwMode="auto">
            <a:xfrm>
              <a:off x="-1103313" y="2754313"/>
              <a:ext cx="74613" cy="71438"/>
            </a:xfrm>
            <a:custGeom>
              <a:avLst/>
              <a:gdLst>
                <a:gd name="T0" fmla="*/ 26 w 48"/>
                <a:gd name="T1" fmla="*/ 0 h 46"/>
                <a:gd name="T2" fmla="*/ 47 w 48"/>
                <a:gd name="T3" fmla="*/ 23 h 46"/>
                <a:gd name="T4" fmla="*/ 22 w 48"/>
                <a:gd name="T5" fmla="*/ 45 h 46"/>
                <a:gd name="T6" fmla="*/ 1 w 48"/>
                <a:gd name="T7" fmla="*/ 22 h 46"/>
                <a:gd name="T8" fmla="*/ 26 w 48"/>
                <a:gd name="T9" fmla="*/ 0 h 46"/>
              </a:gdLst>
              <a:ahLst/>
              <a:cxnLst>
                <a:cxn ang="0">
                  <a:pos x="T0" y="T1"/>
                </a:cxn>
                <a:cxn ang="0">
                  <a:pos x="T2" y="T3"/>
                </a:cxn>
                <a:cxn ang="0">
                  <a:pos x="T4" y="T5"/>
                </a:cxn>
                <a:cxn ang="0">
                  <a:pos x="T6" y="T7"/>
                </a:cxn>
                <a:cxn ang="0">
                  <a:pos x="T8" y="T9"/>
                </a:cxn>
              </a:cxnLst>
              <a:rect l="0" t="0" r="r" b="b"/>
              <a:pathLst>
                <a:path w="48" h="46">
                  <a:moveTo>
                    <a:pt x="26" y="0"/>
                  </a:moveTo>
                  <a:cubicBezTo>
                    <a:pt x="39" y="2"/>
                    <a:pt x="48" y="10"/>
                    <a:pt x="47" y="23"/>
                  </a:cubicBezTo>
                  <a:cubicBezTo>
                    <a:pt x="47" y="38"/>
                    <a:pt x="38" y="46"/>
                    <a:pt x="22" y="45"/>
                  </a:cubicBezTo>
                  <a:cubicBezTo>
                    <a:pt x="8" y="45"/>
                    <a:pt x="0" y="36"/>
                    <a:pt x="1" y="22"/>
                  </a:cubicBezTo>
                  <a:cubicBezTo>
                    <a:pt x="1" y="8"/>
                    <a:pt x="11" y="0"/>
                    <a:pt x="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p>
          </p:txBody>
        </p:sp>
        <p:sp>
          <p:nvSpPr>
            <p:cNvPr id="363" name="Freeform 52"/>
            <p:cNvSpPr>
              <a:spLocks/>
            </p:cNvSpPr>
            <p:nvPr/>
          </p:nvSpPr>
          <p:spPr bwMode="auto">
            <a:xfrm>
              <a:off x="-650875" y="2581275"/>
              <a:ext cx="52388" cy="53975"/>
            </a:xfrm>
            <a:custGeom>
              <a:avLst/>
              <a:gdLst>
                <a:gd name="T0" fmla="*/ 16 w 34"/>
                <a:gd name="T1" fmla="*/ 0 h 35"/>
                <a:gd name="T2" fmla="*/ 34 w 34"/>
                <a:gd name="T3" fmla="*/ 19 h 35"/>
                <a:gd name="T4" fmla="*/ 17 w 34"/>
                <a:gd name="T5" fmla="*/ 34 h 35"/>
                <a:gd name="T6" fmla="*/ 0 w 34"/>
                <a:gd name="T7" fmla="*/ 18 h 35"/>
                <a:gd name="T8" fmla="*/ 16 w 34"/>
                <a:gd name="T9" fmla="*/ 0 h 35"/>
              </a:gdLst>
              <a:ahLst/>
              <a:cxnLst>
                <a:cxn ang="0">
                  <a:pos x="T0" y="T1"/>
                </a:cxn>
                <a:cxn ang="0">
                  <a:pos x="T2" y="T3"/>
                </a:cxn>
                <a:cxn ang="0">
                  <a:pos x="T4" y="T5"/>
                </a:cxn>
                <a:cxn ang="0">
                  <a:pos x="T6" y="T7"/>
                </a:cxn>
                <a:cxn ang="0">
                  <a:pos x="T8" y="T9"/>
                </a:cxn>
              </a:cxnLst>
              <a:rect l="0" t="0" r="r" b="b"/>
              <a:pathLst>
                <a:path w="34" h="35">
                  <a:moveTo>
                    <a:pt x="16" y="0"/>
                  </a:moveTo>
                  <a:cubicBezTo>
                    <a:pt x="29" y="1"/>
                    <a:pt x="34" y="8"/>
                    <a:pt x="34" y="19"/>
                  </a:cubicBezTo>
                  <a:cubicBezTo>
                    <a:pt x="33" y="28"/>
                    <a:pt x="27" y="35"/>
                    <a:pt x="17" y="34"/>
                  </a:cubicBezTo>
                  <a:cubicBezTo>
                    <a:pt x="7" y="34"/>
                    <a:pt x="0" y="28"/>
                    <a:pt x="0" y="18"/>
                  </a:cubicBezTo>
                  <a:cubicBezTo>
                    <a:pt x="0" y="7"/>
                    <a:pt x="7" y="2"/>
                    <a:pt x="1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p>
          </p:txBody>
        </p:sp>
      </p:grpSp>
    </p:spTree>
    <p:extLst>
      <p:ext uri="{BB962C8B-B14F-4D97-AF65-F5344CB8AC3E}">
        <p14:creationId xmlns:p14="http://schemas.microsoft.com/office/powerpoint/2010/main" val="20642548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6" descr="Xandr | Make Advertising Better"/>
          <p:cNvSpPr>
            <a:spLocks noChangeAspect="1" noChangeArrowheads="1"/>
          </p:cNvSpPr>
          <p:nvPr/>
        </p:nvSpPr>
        <p:spPr bwMode="auto">
          <a:xfrm>
            <a:off x="-1995671" y="6003513"/>
            <a:ext cx="312535" cy="2856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0543" tIns="45276" rIns="90543" bIns="45276" numCol="1" anchor="t" anchorCtr="0" compatLnSpc="1">
            <a:prstTxWarp prst="textNoShape">
              <a:avLst/>
            </a:prstTxWarp>
          </a:bodyPr>
          <a:lstStyle/>
          <a:p>
            <a:pPr defTabSz="1086558"/>
            <a:endParaRPr lang="en-US" sz="2133">
              <a:solidFill>
                <a:srgbClr val="000000"/>
              </a:solidFill>
            </a:endParaRPr>
          </a:p>
        </p:txBody>
      </p:sp>
      <p:sp>
        <p:nvSpPr>
          <p:cNvPr id="4" name="AutoShape 8" descr="Xandr | Make Advertising Better"/>
          <p:cNvSpPr>
            <a:spLocks noChangeAspect="1" noChangeArrowheads="1"/>
          </p:cNvSpPr>
          <p:nvPr/>
        </p:nvSpPr>
        <p:spPr bwMode="auto">
          <a:xfrm>
            <a:off x="-1839405" y="6146346"/>
            <a:ext cx="312535" cy="2856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0543" tIns="45276" rIns="90543" bIns="45276" numCol="1" anchor="t" anchorCtr="0" compatLnSpc="1">
            <a:prstTxWarp prst="textNoShape">
              <a:avLst/>
            </a:prstTxWarp>
          </a:bodyPr>
          <a:lstStyle/>
          <a:p>
            <a:pPr defTabSz="1086558"/>
            <a:endParaRPr lang="en-US" sz="2133">
              <a:solidFill>
                <a:srgbClr val="000000"/>
              </a:solidFill>
            </a:endParaRPr>
          </a:p>
        </p:txBody>
      </p:sp>
      <p:sp>
        <p:nvSpPr>
          <p:cNvPr id="24" name="Title 7"/>
          <p:cNvSpPr txBox="1">
            <a:spLocks/>
          </p:cNvSpPr>
          <p:nvPr/>
        </p:nvSpPr>
        <p:spPr>
          <a:xfrm>
            <a:off x="281579" y="201116"/>
            <a:ext cx="11630497" cy="865684"/>
          </a:xfrm>
          <a:prstGeom prst="rect">
            <a:avLst/>
          </a:prstGeom>
        </p:spPr>
        <p:txBody>
          <a:bodyPr vert="horz" lIns="90548" tIns="45279" rIns="90548" bIns="45279" rtlCol="0" anchor="ctr">
            <a:normAutofit/>
          </a:bodyPr>
          <a:lstStyle>
            <a:lvl1pPr algn="l" defTabSz="815174" rtl="0" eaLnBrk="1" latinLnBrk="0" hangingPunct="1">
              <a:spcBef>
                <a:spcPct val="0"/>
              </a:spcBef>
              <a:buNone/>
              <a:defRPr sz="2100" b="1" kern="1200" cap="all" baseline="0">
                <a:solidFill>
                  <a:srgbClr val="17426B"/>
                </a:solidFill>
                <a:latin typeface="+mj-lt"/>
                <a:ea typeface="+mj-ea"/>
                <a:cs typeface="+mj-cs"/>
              </a:defRPr>
            </a:lvl1pPr>
          </a:lstStyle>
          <a:p>
            <a:endParaRPr lang="en-US" sz="2000" b="0" dirty="0"/>
          </a:p>
        </p:txBody>
      </p:sp>
      <p:sp>
        <p:nvSpPr>
          <p:cNvPr id="28" name="AutoShape 8" descr="Xandr | Make Advertising Better"/>
          <p:cNvSpPr>
            <a:spLocks noChangeAspect="1" noChangeArrowheads="1"/>
          </p:cNvSpPr>
          <p:nvPr/>
        </p:nvSpPr>
        <p:spPr bwMode="auto">
          <a:xfrm>
            <a:off x="473644" y="151199"/>
            <a:ext cx="312535" cy="2856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0543" tIns="45276" rIns="90543" bIns="45276" numCol="1" anchor="t" anchorCtr="0" compatLnSpc="1">
            <a:prstTxWarp prst="textNoShape">
              <a:avLst/>
            </a:prstTxWarp>
          </a:bodyPr>
          <a:lstStyle/>
          <a:p>
            <a:pPr defTabSz="1086558"/>
            <a:endParaRPr lang="en-US" sz="2133">
              <a:solidFill>
                <a:srgbClr val="000000"/>
              </a:solidFill>
            </a:endParaRPr>
          </a:p>
        </p:txBody>
      </p:sp>
      <p:graphicFrame>
        <p:nvGraphicFramePr>
          <p:cNvPr id="48" name="Chart 47">
            <a:extLst>
              <a:ext uri="{FF2B5EF4-FFF2-40B4-BE49-F238E27FC236}">
                <a16:creationId xmlns:a16="http://schemas.microsoft.com/office/drawing/2014/main" id="{D98BFF75-111D-DA40-9409-613023525C63}"/>
              </a:ext>
            </a:extLst>
          </p:cNvPr>
          <p:cNvGraphicFramePr/>
          <p:nvPr/>
        </p:nvGraphicFramePr>
        <p:xfrm>
          <a:off x="648589" y="1793432"/>
          <a:ext cx="10894825" cy="4493360"/>
        </p:xfrm>
        <a:graphic>
          <a:graphicData uri="http://schemas.openxmlformats.org/drawingml/2006/chart">
            <c:chart xmlns:c="http://schemas.openxmlformats.org/drawingml/2006/chart" xmlns:r="http://schemas.openxmlformats.org/officeDocument/2006/relationships" r:id="rId3"/>
          </a:graphicData>
        </a:graphic>
      </p:graphicFrame>
      <p:sp>
        <p:nvSpPr>
          <p:cNvPr id="49" name="TextBox 48"/>
          <p:cNvSpPr txBox="1"/>
          <p:nvPr/>
        </p:nvSpPr>
        <p:spPr>
          <a:xfrm>
            <a:off x="606406" y="1503376"/>
            <a:ext cx="10979188" cy="184666"/>
          </a:xfrm>
          <a:prstGeom prst="rect">
            <a:avLst/>
          </a:prstGeom>
        </p:spPr>
        <p:txBody>
          <a:bodyPr wrap="square" lIns="0" tIns="0" rIns="0" bIns="0">
            <a:spAutoFit/>
          </a:bodyPr>
          <a:lstStyle>
            <a:defPPr>
              <a:defRPr lang="en-US"/>
            </a:defPPr>
            <a:lvl1pPr algn="ctr" defTabSz="914400">
              <a:buSzPct val="75000"/>
              <a:defRPr sz="1400" b="1" kern="0">
                <a:solidFill>
                  <a:srgbClr val="17426B"/>
                </a:solidFill>
                <a:cs typeface="Arial" charset="0"/>
              </a:defRPr>
            </a:lvl1pPr>
          </a:lstStyle>
          <a:p>
            <a:pPr marL="0" marR="0" lvl="0" indent="0" algn="ctr" defTabSz="914400" eaLnBrk="1" fontAlgn="auto" latinLnBrk="0" hangingPunct="1">
              <a:lnSpc>
                <a:spcPct val="100000"/>
              </a:lnSpc>
              <a:spcBef>
                <a:spcPts val="0"/>
              </a:spcBef>
              <a:spcAft>
                <a:spcPts val="0"/>
              </a:spcAft>
              <a:buClrTx/>
              <a:buSzPct val="75000"/>
              <a:buFontTx/>
              <a:buNone/>
              <a:tabLst/>
              <a:defRPr/>
            </a:pPr>
            <a:r>
              <a:rPr kumimoji="0" lang="en-US" sz="1200" b="1" i="0" u="none" strike="noStrike" kern="0" cap="none" spc="0" normalizeH="0" baseline="0" noProof="0" dirty="0">
                <a:ln>
                  <a:noFill/>
                </a:ln>
                <a:solidFill>
                  <a:srgbClr val="172D55"/>
                </a:solidFill>
                <a:effectLst/>
                <a:uLnTx/>
                <a:uFillTx/>
                <a:cs typeface="Arial" charset="0"/>
              </a:rPr>
              <a:t>Residential Battery Energy Storage: System Installations Forecast by Region, Global, 2020–2030</a:t>
            </a:r>
          </a:p>
        </p:txBody>
      </p:sp>
      <p:sp>
        <p:nvSpPr>
          <p:cNvPr id="51" name="TextBox 50"/>
          <p:cNvSpPr txBox="1"/>
          <p:nvPr/>
        </p:nvSpPr>
        <p:spPr>
          <a:xfrm rot="16200000">
            <a:off x="483558" y="2933133"/>
            <a:ext cx="2111348" cy="276999"/>
          </a:xfrm>
          <a:prstGeom prst="rect">
            <a:avLst/>
          </a:prstGeom>
          <a:noFill/>
        </p:spPr>
        <p:txBody>
          <a:bodyPr wrap="square" rtlCol="0">
            <a:spAutoFit/>
          </a:bodyP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tx2"/>
                </a:solidFill>
                <a:effectLst/>
                <a:uLnTx/>
                <a:uFillTx/>
              </a:rPr>
              <a:t>System Installations (’000s)</a:t>
            </a:r>
          </a:p>
        </p:txBody>
      </p:sp>
      <p:sp>
        <p:nvSpPr>
          <p:cNvPr id="6" name="Title 5">
            <a:extLst>
              <a:ext uri="{FF2B5EF4-FFF2-40B4-BE49-F238E27FC236}">
                <a16:creationId xmlns:a16="http://schemas.microsoft.com/office/drawing/2014/main" id="{65469660-BAA7-A863-CC0B-8C16B12F99CC}"/>
              </a:ext>
            </a:extLst>
          </p:cNvPr>
          <p:cNvSpPr>
            <a:spLocks noGrp="1"/>
          </p:cNvSpPr>
          <p:nvPr>
            <p:ph type="title"/>
          </p:nvPr>
        </p:nvSpPr>
        <p:spPr/>
        <p:txBody>
          <a:bodyPr/>
          <a:lstStyle/>
          <a:p>
            <a:r>
              <a:rPr lang="en-US" dirty="0"/>
              <a:t>Global </a:t>
            </a:r>
            <a:r>
              <a:rPr lang="en-US" dirty="0" err="1"/>
              <a:t>bess</a:t>
            </a:r>
            <a:r>
              <a:rPr lang="en-US" dirty="0"/>
              <a:t>: Europe the leading regional market</a:t>
            </a:r>
          </a:p>
        </p:txBody>
      </p:sp>
      <p:sp>
        <p:nvSpPr>
          <p:cNvPr id="8" name="TextBox 7">
            <a:extLst>
              <a:ext uri="{FF2B5EF4-FFF2-40B4-BE49-F238E27FC236}">
                <a16:creationId xmlns:a16="http://schemas.microsoft.com/office/drawing/2014/main" id="{20FDCD44-C22F-0940-B6E9-A23B641AB253}"/>
              </a:ext>
            </a:extLst>
          </p:cNvPr>
          <p:cNvSpPr txBox="1"/>
          <p:nvPr/>
        </p:nvSpPr>
        <p:spPr>
          <a:xfrm>
            <a:off x="10679629" y="6473517"/>
            <a:ext cx="1229504" cy="153888"/>
          </a:xfrm>
          <a:prstGeom prst="rect">
            <a:avLst/>
          </a:prstGeom>
          <a:noFill/>
        </p:spPr>
        <p:txBody>
          <a:bodyPr wrap="square" lIns="0" tIns="0" rIns="0" bIns="0" rtlCol="0" anchor="b">
            <a:spAutoFit/>
          </a:bodyPr>
          <a:lstStyle/>
          <a:p>
            <a:pPr algn="r" defTabSz="835867"/>
            <a:r>
              <a:rPr lang="en-US" sz="1000" dirty="0">
                <a:solidFill>
                  <a:schemeClr val="tx2"/>
                </a:solidFill>
                <a:latin typeface="Calibri"/>
                <a:cs typeface="Calibri" panose="020F0502020204030204" pitchFamily="34" charset="0"/>
              </a:rPr>
              <a:t>Source: Frost &amp; Sullivan</a:t>
            </a:r>
          </a:p>
        </p:txBody>
      </p:sp>
      <p:sp>
        <p:nvSpPr>
          <p:cNvPr id="10" name="Rectangle: Rounded Corners 9">
            <a:extLst>
              <a:ext uri="{FF2B5EF4-FFF2-40B4-BE49-F238E27FC236}">
                <a16:creationId xmlns:a16="http://schemas.microsoft.com/office/drawing/2014/main" id="{6D67C614-0794-C634-7129-B52C5B74B94A}"/>
              </a:ext>
            </a:extLst>
          </p:cNvPr>
          <p:cNvSpPr>
            <a:spLocks/>
          </p:cNvSpPr>
          <p:nvPr/>
        </p:nvSpPr>
        <p:spPr>
          <a:xfrm flipH="1">
            <a:off x="280416" y="771846"/>
            <a:ext cx="11631168" cy="64293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224" defTabSz="857228"/>
            <a:endParaRPr lang="en-US" sz="1500" b="1" dirty="0">
              <a:solidFill>
                <a:prstClr val="white"/>
              </a:solidFill>
            </a:endParaRPr>
          </a:p>
        </p:txBody>
      </p:sp>
      <p:sp>
        <p:nvSpPr>
          <p:cNvPr id="11" name="Rectangle 10">
            <a:extLst>
              <a:ext uri="{FF2B5EF4-FFF2-40B4-BE49-F238E27FC236}">
                <a16:creationId xmlns:a16="http://schemas.microsoft.com/office/drawing/2014/main" id="{8E2C2479-5A04-5E8E-CDE8-1F07BB5B24C1}"/>
              </a:ext>
            </a:extLst>
          </p:cNvPr>
          <p:cNvSpPr/>
          <p:nvPr/>
        </p:nvSpPr>
        <p:spPr>
          <a:xfrm>
            <a:off x="1119061" y="970207"/>
            <a:ext cx="10656276" cy="246221"/>
          </a:xfrm>
          <a:prstGeom prst="rect">
            <a:avLst/>
          </a:prstGeom>
        </p:spPr>
        <p:txBody>
          <a:bodyPr wrap="square" lIns="0" tIns="0" rIns="0" bIns="0" anchor="ctr">
            <a:spAutoFit/>
          </a:bodyPr>
          <a:lstStyle/>
          <a:p>
            <a:pPr defTabSz="835867"/>
            <a:r>
              <a:rPr lang="en-US" sz="1600" b="1" dirty="0">
                <a:solidFill>
                  <a:prstClr val="white"/>
                </a:solidFill>
              </a:rPr>
              <a:t>High growth rates across all geographies</a:t>
            </a:r>
            <a:r>
              <a:rPr lang="en-US" sz="1500" b="1" dirty="0">
                <a:solidFill>
                  <a:prstClr val="white"/>
                </a:solidFill>
              </a:rPr>
              <a:t> </a:t>
            </a:r>
          </a:p>
        </p:txBody>
      </p:sp>
      <p:sp>
        <p:nvSpPr>
          <p:cNvPr id="12" name="Oval 11">
            <a:extLst>
              <a:ext uri="{FF2B5EF4-FFF2-40B4-BE49-F238E27FC236}">
                <a16:creationId xmlns:a16="http://schemas.microsoft.com/office/drawing/2014/main" id="{695B7D8C-7DC8-EDC1-B586-B9CB1677B17A}"/>
              </a:ext>
            </a:extLst>
          </p:cNvPr>
          <p:cNvSpPr/>
          <p:nvPr/>
        </p:nvSpPr>
        <p:spPr>
          <a:xfrm>
            <a:off x="416665" y="810242"/>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dirty="0"/>
          </a:p>
        </p:txBody>
      </p:sp>
      <p:sp>
        <p:nvSpPr>
          <p:cNvPr id="13" name="Rectangle 12">
            <a:extLst>
              <a:ext uri="{FF2B5EF4-FFF2-40B4-BE49-F238E27FC236}">
                <a16:creationId xmlns:a16="http://schemas.microsoft.com/office/drawing/2014/main" id="{5085CFA2-F140-B9E7-C0F4-408607A846B5}"/>
              </a:ext>
            </a:extLst>
          </p:cNvPr>
          <p:cNvSpPr/>
          <p:nvPr/>
        </p:nvSpPr>
        <p:spPr>
          <a:xfrm>
            <a:off x="280417" y="1071885"/>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dirty="0"/>
          </a:p>
        </p:txBody>
      </p:sp>
      <p:grpSp>
        <p:nvGrpSpPr>
          <p:cNvPr id="34" name="Group 33"/>
          <p:cNvGrpSpPr/>
          <p:nvPr/>
        </p:nvGrpSpPr>
        <p:grpSpPr>
          <a:xfrm>
            <a:off x="501636" y="940273"/>
            <a:ext cx="396204" cy="306084"/>
            <a:chOff x="-1346200" y="3205163"/>
            <a:chExt cx="1095375" cy="830262"/>
          </a:xfrm>
          <a:solidFill>
            <a:schemeClr val="bg1"/>
          </a:solidFill>
        </p:grpSpPr>
        <p:sp>
          <p:nvSpPr>
            <p:cNvPr id="35" name="Freeform 42"/>
            <p:cNvSpPr>
              <a:spLocks noEditPoints="1"/>
            </p:cNvSpPr>
            <p:nvPr/>
          </p:nvSpPr>
          <p:spPr bwMode="auto">
            <a:xfrm>
              <a:off x="-1346200" y="3205163"/>
              <a:ext cx="1095375" cy="787400"/>
            </a:xfrm>
            <a:custGeom>
              <a:avLst/>
              <a:gdLst>
                <a:gd name="T0" fmla="*/ 427 w 819"/>
                <a:gd name="T1" fmla="*/ 1 h 588"/>
                <a:gd name="T2" fmla="*/ 639 w 819"/>
                <a:gd name="T3" fmla="*/ 1 h 588"/>
                <a:gd name="T4" fmla="*/ 687 w 819"/>
                <a:gd name="T5" fmla="*/ 34 h 588"/>
                <a:gd name="T6" fmla="*/ 811 w 819"/>
                <a:gd name="T7" fmla="*/ 384 h 588"/>
                <a:gd name="T8" fmla="*/ 791 w 819"/>
                <a:gd name="T9" fmla="*/ 415 h 588"/>
                <a:gd name="T10" fmla="*/ 721 w 819"/>
                <a:gd name="T11" fmla="*/ 416 h 588"/>
                <a:gd name="T12" fmla="*/ 455 w 819"/>
                <a:gd name="T13" fmla="*/ 415 h 588"/>
                <a:gd name="T14" fmla="*/ 436 w 819"/>
                <a:gd name="T15" fmla="*/ 435 h 588"/>
                <a:gd name="T16" fmla="*/ 436 w 819"/>
                <a:gd name="T17" fmla="*/ 515 h 588"/>
                <a:gd name="T18" fmla="*/ 454 w 819"/>
                <a:gd name="T19" fmla="*/ 533 h 588"/>
                <a:gd name="T20" fmla="*/ 498 w 819"/>
                <a:gd name="T21" fmla="*/ 532 h 588"/>
                <a:gd name="T22" fmla="*/ 515 w 819"/>
                <a:gd name="T23" fmla="*/ 551 h 588"/>
                <a:gd name="T24" fmla="*/ 479 w 819"/>
                <a:gd name="T25" fmla="*/ 588 h 588"/>
                <a:gd name="T26" fmla="*/ 223 w 819"/>
                <a:gd name="T27" fmla="*/ 588 h 588"/>
                <a:gd name="T28" fmla="*/ 203 w 819"/>
                <a:gd name="T29" fmla="*/ 568 h 588"/>
                <a:gd name="T30" fmla="*/ 238 w 819"/>
                <a:gd name="T31" fmla="*/ 533 h 588"/>
                <a:gd name="T32" fmla="*/ 372 w 819"/>
                <a:gd name="T33" fmla="*/ 533 h 588"/>
                <a:gd name="T34" fmla="*/ 388 w 819"/>
                <a:gd name="T35" fmla="*/ 517 h 588"/>
                <a:gd name="T36" fmla="*/ 388 w 819"/>
                <a:gd name="T37" fmla="*/ 433 h 588"/>
                <a:gd name="T38" fmla="*/ 369 w 819"/>
                <a:gd name="T39" fmla="*/ 416 h 588"/>
                <a:gd name="T40" fmla="*/ 59 w 819"/>
                <a:gd name="T41" fmla="*/ 416 h 588"/>
                <a:gd name="T42" fmla="*/ 22 w 819"/>
                <a:gd name="T43" fmla="*/ 363 h 588"/>
                <a:gd name="T44" fmla="*/ 162 w 819"/>
                <a:gd name="T45" fmla="*/ 34 h 588"/>
                <a:gd name="T46" fmla="*/ 213 w 819"/>
                <a:gd name="T47" fmla="*/ 0 h 588"/>
                <a:gd name="T48" fmla="*/ 427 w 819"/>
                <a:gd name="T49" fmla="*/ 0 h 588"/>
                <a:gd name="T50" fmla="*/ 427 w 819"/>
                <a:gd name="T51" fmla="*/ 1 h 588"/>
                <a:gd name="T52" fmla="*/ 412 w 819"/>
                <a:gd name="T53" fmla="*/ 401 h 588"/>
                <a:gd name="T54" fmla="*/ 738 w 819"/>
                <a:gd name="T55" fmla="*/ 401 h 588"/>
                <a:gd name="T56" fmla="*/ 766 w 819"/>
                <a:gd name="T57" fmla="*/ 399 h 588"/>
                <a:gd name="T58" fmla="*/ 780 w 819"/>
                <a:gd name="T59" fmla="*/ 376 h 588"/>
                <a:gd name="T60" fmla="*/ 671 w 819"/>
                <a:gd name="T61" fmla="*/ 43 h 588"/>
                <a:gd name="T62" fmla="*/ 633 w 819"/>
                <a:gd name="T63" fmla="*/ 15 h 588"/>
                <a:gd name="T64" fmla="*/ 219 w 819"/>
                <a:gd name="T65" fmla="*/ 15 h 588"/>
                <a:gd name="T66" fmla="*/ 177 w 819"/>
                <a:gd name="T67" fmla="*/ 44 h 588"/>
                <a:gd name="T68" fmla="*/ 52 w 819"/>
                <a:gd name="T69" fmla="*/ 357 h 588"/>
                <a:gd name="T70" fmla="*/ 82 w 819"/>
                <a:gd name="T71" fmla="*/ 401 h 588"/>
                <a:gd name="T72" fmla="*/ 412 w 819"/>
                <a:gd name="T73" fmla="*/ 401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9" h="588">
                  <a:moveTo>
                    <a:pt x="427" y="1"/>
                  </a:moveTo>
                  <a:cubicBezTo>
                    <a:pt x="498" y="1"/>
                    <a:pt x="568" y="1"/>
                    <a:pt x="639" y="1"/>
                  </a:cubicBezTo>
                  <a:cubicBezTo>
                    <a:pt x="672" y="1"/>
                    <a:pt x="676" y="4"/>
                    <a:pt x="687" y="34"/>
                  </a:cubicBezTo>
                  <a:cubicBezTo>
                    <a:pt x="728" y="151"/>
                    <a:pt x="770" y="267"/>
                    <a:pt x="811" y="384"/>
                  </a:cubicBezTo>
                  <a:cubicBezTo>
                    <a:pt x="819" y="406"/>
                    <a:pt x="815" y="414"/>
                    <a:pt x="791" y="415"/>
                  </a:cubicBezTo>
                  <a:cubicBezTo>
                    <a:pt x="768" y="417"/>
                    <a:pt x="744" y="416"/>
                    <a:pt x="721" y="416"/>
                  </a:cubicBezTo>
                  <a:cubicBezTo>
                    <a:pt x="633" y="416"/>
                    <a:pt x="544" y="416"/>
                    <a:pt x="455" y="415"/>
                  </a:cubicBezTo>
                  <a:cubicBezTo>
                    <a:pt x="440" y="415"/>
                    <a:pt x="435" y="420"/>
                    <a:pt x="436" y="435"/>
                  </a:cubicBezTo>
                  <a:cubicBezTo>
                    <a:pt x="437" y="461"/>
                    <a:pt x="437" y="488"/>
                    <a:pt x="436" y="515"/>
                  </a:cubicBezTo>
                  <a:cubicBezTo>
                    <a:pt x="436" y="528"/>
                    <a:pt x="439" y="534"/>
                    <a:pt x="454" y="533"/>
                  </a:cubicBezTo>
                  <a:cubicBezTo>
                    <a:pt x="468" y="532"/>
                    <a:pt x="483" y="534"/>
                    <a:pt x="498" y="532"/>
                  </a:cubicBezTo>
                  <a:cubicBezTo>
                    <a:pt x="512" y="531"/>
                    <a:pt x="515" y="537"/>
                    <a:pt x="515" y="551"/>
                  </a:cubicBezTo>
                  <a:cubicBezTo>
                    <a:pt x="515" y="588"/>
                    <a:pt x="516" y="588"/>
                    <a:pt x="479" y="588"/>
                  </a:cubicBezTo>
                  <a:cubicBezTo>
                    <a:pt x="393" y="588"/>
                    <a:pt x="308" y="587"/>
                    <a:pt x="223" y="588"/>
                  </a:cubicBezTo>
                  <a:cubicBezTo>
                    <a:pt x="206" y="588"/>
                    <a:pt x="202" y="583"/>
                    <a:pt x="203" y="568"/>
                  </a:cubicBezTo>
                  <a:cubicBezTo>
                    <a:pt x="204" y="527"/>
                    <a:pt x="198" y="533"/>
                    <a:pt x="238" y="533"/>
                  </a:cubicBezTo>
                  <a:cubicBezTo>
                    <a:pt x="283" y="532"/>
                    <a:pt x="327" y="532"/>
                    <a:pt x="372" y="533"/>
                  </a:cubicBezTo>
                  <a:cubicBezTo>
                    <a:pt x="384" y="533"/>
                    <a:pt x="388" y="529"/>
                    <a:pt x="388" y="517"/>
                  </a:cubicBezTo>
                  <a:cubicBezTo>
                    <a:pt x="387" y="489"/>
                    <a:pt x="387" y="461"/>
                    <a:pt x="388" y="433"/>
                  </a:cubicBezTo>
                  <a:cubicBezTo>
                    <a:pt x="389" y="418"/>
                    <a:pt x="382" y="416"/>
                    <a:pt x="369" y="416"/>
                  </a:cubicBezTo>
                  <a:cubicBezTo>
                    <a:pt x="266" y="416"/>
                    <a:pt x="162" y="416"/>
                    <a:pt x="59" y="416"/>
                  </a:cubicBezTo>
                  <a:cubicBezTo>
                    <a:pt x="5" y="416"/>
                    <a:pt x="0" y="413"/>
                    <a:pt x="22" y="363"/>
                  </a:cubicBezTo>
                  <a:cubicBezTo>
                    <a:pt x="70" y="254"/>
                    <a:pt x="116" y="144"/>
                    <a:pt x="162" y="34"/>
                  </a:cubicBezTo>
                  <a:cubicBezTo>
                    <a:pt x="172" y="9"/>
                    <a:pt x="187" y="0"/>
                    <a:pt x="213" y="0"/>
                  </a:cubicBezTo>
                  <a:cubicBezTo>
                    <a:pt x="284" y="1"/>
                    <a:pt x="356" y="0"/>
                    <a:pt x="427" y="0"/>
                  </a:cubicBezTo>
                  <a:cubicBezTo>
                    <a:pt x="427" y="0"/>
                    <a:pt x="427" y="1"/>
                    <a:pt x="427" y="1"/>
                  </a:cubicBezTo>
                  <a:close/>
                  <a:moveTo>
                    <a:pt x="412" y="401"/>
                  </a:moveTo>
                  <a:cubicBezTo>
                    <a:pt x="520" y="401"/>
                    <a:pt x="629" y="401"/>
                    <a:pt x="738" y="401"/>
                  </a:cubicBezTo>
                  <a:cubicBezTo>
                    <a:pt x="747" y="401"/>
                    <a:pt x="756" y="401"/>
                    <a:pt x="766" y="399"/>
                  </a:cubicBezTo>
                  <a:cubicBezTo>
                    <a:pt x="779" y="397"/>
                    <a:pt x="785" y="392"/>
                    <a:pt x="780" y="376"/>
                  </a:cubicBezTo>
                  <a:cubicBezTo>
                    <a:pt x="743" y="265"/>
                    <a:pt x="707" y="154"/>
                    <a:pt x="671" y="43"/>
                  </a:cubicBezTo>
                  <a:cubicBezTo>
                    <a:pt x="665" y="23"/>
                    <a:pt x="653" y="15"/>
                    <a:pt x="633" y="15"/>
                  </a:cubicBezTo>
                  <a:cubicBezTo>
                    <a:pt x="495" y="16"/>
                    <a:pt x="357" y="16"/>
                    <a:pt x="219" y="15"/>
                  </a:cubicBezTo>
                  <a:cubicBezTo>
                    <a:pt x="197" y="15"/>
                    <a:pt x="185" y="24"/>
                    <a:pt x="177" y="44"/>
                  </a:cubicBezTo>
                  <a:cubicBezTo>
                    <a:pt x="136" y="149"/>
                    <a:pt x="94" y="253"/>
                    <a:pt x="52" y="357"/>
                  </a:cubicBezTo>
                  <a:cubicBezTo>
                    <a:pt x="36" y="397"/>
                    <a:pt x="39" y="401"/>
                    <a:pt x="82" y="401"/>
                  </a:cubicBezTo>
                  <a:cubicBezTo>
                    <a:pt x="192" y="401"/>
                    <a:pt x="302" y="401"/>
                    <a:pt x="412" y="4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solidFill>
                  <a:srgbClr val="000000"/>
                </a:solidFill>
              </a:endParaRPr>
            </a:p>
          </p:txBody>
        </p:sp>
        <p:sp>
          <p:nvSpPr>
            <p:cNvPr id="36" name="Freeform 43"/>
            <p:cNvSpPr>
              <a:spLocks noEditPoints="1"/>
            </p:cNvSpPr>
            <p:nvPr/>
          </p:nvSpPr>
          <p:spPr bwMode="auto">
            <a:xfrm>
              <a:off x="-649288" y="3767138"/>
              <a:ext cx="355600" cy="268287"/>
            </a:xfrm>
            <a:custGeom>
              <a:avLst/>
              <a:gdLst>
                <a:gd name="T0" fmla="*/ 133 w 266"/>
                <a:gd name="T1" fmla="*/ 199 h 200"/>
                <a:gd name="T2" fmla="*/ 23 w 266"/>
                <a:gd name="T3" fmla="*/ 199 h 200"/>
                <a:gd name="T4" fmla="*/ 0 w 266"/>
                <a:gd name="T5" fmla="*/ 177 h 200"/>
                <a:gd name="T6" fmla="*/ 0 w 266"/>
                <a:gd name="T7" fmla="*/ 44 h 200"/>
                <a:gd name="T8" fmla="*/ 19 w 266"/>
                <a:gd name="T9" fmla="*/ 22 h 200"/>
                <a:gd name="T10" fmla="*/ 29 w 266"/>
                <a:gd name="T11" fmla="*/ 18 h 200"/>
                <a:gd name="T12" fmla="*/ 38 w 266"/>
                <a:gd name="T13" fmla="*/ 3 h 200"/>
                <a:gd name="T14" fmla="*/ 78 w 266"/>
                <a:gd name="T15" fmla="*/ 5 h 200"/>
                <a:gd name="T16" fmla="*/ 120 w 266"/>
                <a:gd name="T17" fmla="*/ 22 h 200"/>
                <a:gd name="T18" fmla="*/ 172 w 266"/>
                <a:gd name="T19" fmla="*/ 22 h 200"/>
                <a:gd name="T20" fmla="*/ 180 w 266"/>
                <a:gd name="T21" fmla="*/ 19 h 200"/>
                <a:gd name="T22" fmla="*/ 189 w 266"/>
                <a:gd name="T23" fmla="*/ 3 h 200"/>
                <a:gd name="T24" fmla="*/ 229 w 266"/>
                <a:gd name="T25" fmla="*/ 4 h 200"/>
                <a:gd name="T26" fmla="*/ 236 w 266"/>
                <a:gd name="T27" fmla="*/ 13 h 200"/>
                <a:gd name="T28" fmla="*/ 246 w 266"/>
                <a:gd name="T29" fmla="*/ 22 h 200"/>
                <a:gd name="T30" fmla="*/ 266 w 266"/>
                <a:gd name="T31" fmla="*/ 46 h 200"/>
                <a:gd name="T32" fmla="*/ 266 w 266"/>
                <a:gd name="T33" fmla="*/ 176 h 200"/>
                <a:gd name="T34" fmla="*/ 243 w 266"/>
                <a:gd name="T35" fmla="*/ 199 h 200"/>
                <a:gd name="T36" fmla="*/ 133 w 266"/>
                <a:gd name="T37" fmla="*/ 199 h 200"/>
                <a:gd name="T38" fmla="*/ 131 w 266"/>
                <a:gd name="T39" fmla="*/ 120 h 200"/>
                <a:gd name="T40" fmla="*/ 95 w 266"/>
                <a:gd name="T41" fmla="*/ 165 h 200"/>
                <a:gd name="T42" fmla="*/ 98 w 266"/>
                <a:gd name="T43" fmla="*/ 168 h 200"/>
                <a:gd name="T44" fmla="*/ 172 w 266"/>
                <a:gd name="T45" fmla="*/ 113 h 200"/>
                <a:gd name="T46" fmla="*/ 130 w 266"/>
                <a:gd name="T47" fmla="*/ 110 h 200"/>
                <a:gd name="T48" fmla="*/ 159 w 266"/>
                <a:gd name="T49" fmla="*/ 71 h 200"/>
                <a:gd name="T50" fmla="*/ 157 w 266"/>
                <a:gd name="T51" fmla="*/ 68 h 200"/>
                <a:gd name="T52" fmla="*/ 92 w 266"/>
                <a:gd name="T53" fmla="*/ 118 h 200"/>
                <a:gd name="T54" fmla="*/ 131 w 266"/>
                <a:gd name="T55" fmla="*/ 120 h 200"/>
                <a:gd name="T56" fmla="*/ 208 w 266"/>
                <a:gd name="T57" fmla="*/ 102 h 200"/>
                <a:gd name="T58" fmla="*/ 230 w 266"/>
                <a:gd name="T59" fmla="*/ 75 h 200"/>
                <a:gd name="T60" fmla="*/ 210 w 266"/>
                <a:gd name="T61" fmla="*/ 52 h 200"/>
                <a:gd name="T62" fmla="*/ 186 w 266"/>
                <a:gd name="T63" fmla="*/ 75 h 200"/>
                <a:gd name="T64" fmla="*/ 208 w 266"/>
                <a:gd name="T65" fmla="*/ 102 h 200"/>
                <a:gd name="T66" fmla="*/ 55 w 266"/>
                <a:gd name="T67" fmla="*/ 83 h 200"/>
                <a:gd name="T68" fmla="*/ 55 w 266"/>
                <a:gd name="T69" fmla="*/ 83 h 200"/>
                <a:gd name="T70" fmla="*/ 65 w 266"/>
                <a:gd name="T71" fmla="*/ 83 h 200"/>
                <a:gd name="T72" fmla="*/ 79 w 266"/>
                <a:gd name="T73" fmla="*/ 76 h 200"/>
                <a:gd name="T74" fmla="*/ 65 w 266"/>
                <a:gd name="T75" fmla="*/ 67 h 200"/>
                <a:gd name="T76" fmla="*/ 43 w 266"/>
                <a:gd name="T77" fmla="*/ 67 h 200"/>
                <a:gd name="T78" fmla="*/ 34 w 266"/>
                <a:gd name="T79" fmla="*/ 75 h 200"/>
                <a:gd name="T80" fmla="*/ 43 w 266"/>
                <a:gd name="T81" fmla="*/ 83 h 200"/>
                <a:gd name="T82" fmla="*/ 55 w 266"/>
                <a:gd name="T83" fmla="*/ 8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6" h="200">
                  <a:moveTo>
                    <a:pt x="133" y="199"/>
                  </a:moveTo>
                  <a:cubicBezTo>
                    <a:pt x="96" y="199"/>
                    <a:pt x="60" y="199"/>
                    <a:pt x="23" y="199"/>
                  </a:cubicBezTo>
                  <a:cubicBezTo>
                    <a:pt x="7" y="199"/>
                    <a:pt x="0" y="194"/>
                    <a:pt x="0" y="177"/>
                  </a:cubicBezTo>
                  <a:cubicBezTo>
                    <a:pt x="0" y="133"/>
                    <a:pt x="0" y="88"/>
                    <a:pt x="0" y="44"/>
                  </a:cubicBezTo>
                  <a:cubicBezTo>
                    <a:pt x="0" y="30"/>
                    <a:pt x="3" y="21"/>
                    <a:pt x="19" y="22"/>
                  </a:cubicBezTo>
                  <a:cubicBezTo>
                    <a:pt x="22" y="23"/>
                    <a:pt x="27" y="23"/>
                    <a:pt x="29" y="18"/>
                  </a:cubicBezTo>
                  <a:cubicBezTo>
                    <a:pt x="31" y="12"/>
                    <a:pt x="27" y="3"/>
                    <a:pt x="38" y="3"/>
                  </a:cubicBezTo>
                  <a:cubicBezTo>
                    <a:pt x="52" y="3"/>
                    <a:pt x="76" y="0"/>
                    <a:pt x="78" y="5"/>
                  </a:cubicBezTo>
                  <a:cubicBezTo>
                    <a:pt x="87" y="28"/>
                    <a:pt x="104" y="22"/>
                    <a:pt x="120" y="22"/>
                  </a:cubicBezTo>
                  <a:cubicBezTo>
                    <a:pt x="137" y="23"/>
                    <a:pt x="154" y="22"/>
                    <a:pt x="172" y="22"/>
                  </a:cubicBezTo>
                  <a:cubicBezTo>
                    <a:pt x="175" y="22"/>
                    <a:pt x="178" y="22"/>
                    <a:pt x="180" y="19"/>
                  </a:cubicBezTo>
                  <a:cubicBezTo>
                    <a:pt x="183" y="14"/>
                    <a:pt x="179" y="4"/>
                    <a:pt x="189" y="3"/>
                  </a:cubicBezTo>
                  <a:cubicBezTo>
                    <a:pt x="203" y="3"/>
                    <a:pt x="216" y="3"/>
                    <a:pt x="229" y="4"/>
                  </a:cubicBezTo>
                  <a:cubicBezTo>
                    <a:pt x="234" y="4"/>
                    <a:pt x="235" y="9"/>
                    <a:pt x="236" y="13"/>
                  </a:cubicBezTo>
                  <a:cubicBezTo>
                    <a:pt x="236" y="19"/>
                    <a:pt x="239" y="23"/>
                    <a:pt x="246" y="22"/>
                  </a:cubicBezTo>
                  <a:cubicBezTo>
                    <a:pt x="264" y="21"/>
                    <a:pt x="266" y="31"/>
                    <a:pt x="266" y="46"/>
                  </a:cubicBezTo>
                  <a:cubicBezTo>
                    <a:pt x="265" y="89"/>
                    <a:pt x="265" y="132"/>
                    <a:pt x="266" y="176"/>
                  </a:cubicBezTo>
                  <a:cubicBezTo>
                    <a:pt x="266" y="193"/>
                    <a:pt x="260" y="200"/>
                    <a:pt x="243" y="199"/>
                  </a:cubicBezTo>
                  <a:cubicBezTo>
                    <a:pt x="206" y="198"/>
                    <a:pt x="169" y="199"/>
                    <a:pt x="133" y="199"/>
                  </a:cubicBezTo>
                  <a:close/>
                  <a:moveTo>
                    <a:pt x="131" y="120"/>
                  </a:moveTo>
                  <a:cubicBezTo>
                    <a:pt x="118" y="137"/>
                    <a:pt x="107" y="151"/>
                    <a:pt x="95" y="165"/>
                  </a:cubicBezTo>
                  <a:cubicBezTo>
                    <a:pt x="96" y="166"/>
                    <a:pt x="97" y="167"/>
                    <a:pt x="98" y="168"/>
                  </a:cubicBezTo>
                  <a:cubicBezTo>
                    <a:pt x="121" y="151"/>
                    <a:pt x="144" y="134"/>
                    <a:pt x="172" y="113"/>
                  </a:cubicBezTo>
                  <a:cubicBezTo>
                    <a:pt x="155" y="112"/>
                    <a:pt x="143" y="111"/>
                    <a:pt x="130" y="110"/>
                  </a:cubicBezTo>
                  <a:cubicBezTo>
                    <a:pt x="141" y="95"/>
                    <a:pt x="150" y="83"/>
                    <a:pt x="159" y="71"/>
                  </a:cubicBezTo>
                  <a:cubicBezTo>
                    <a:pt x="158" y="70"/>
                    <a:pt x="157" y="69"/>
                    <a:pt x="157" y="68"/>
                  </a:cubicBezTo>
                  <a:cubicBezTo>
                    <a:pt x="136" y="84"/>
                    <a:pt x="116" y="99"/>
                    <a:pt x="92" y="118"/>
                  </a:cubicBezTo>
                  <a:cubicBezTo>
                    <a:pt x="107" y="119"/>
                    <a:pt x="117" y="119"/>
                    <a:pt x="131" y="120"/>
                  </a:cubicBezTo>
                  <a:close/>
                  <a:moveTo>
                    <a:pt x="208" y="102"/>
                  </a:moveTo>
                  <a:cubicBezTo>
                    <a:pt x="217" y="91"/>
                    <a:pt x="230" y="83"/>
                    <a:pt x="230" y="75"/>
                  </a:cubicBezTo>
                  <a:cubicBezTo>
                    <a:pt x="231" y="68"/>
                    <a:pt x="217" y="60"/>
                    <a:pt x="210" y="52"/>
                  </a:cubicBezTo>
                  <a:cubicBezTo>
                    <a:pt x="208" y="51"/>
                    <a:pt x="185" y="73"/>
                    <a:pt x="186" y="75"/>
                  </a:cubicBezTo>
                  <a:cubicBezTo>
                    <a:pt x="192" y="85"/>
                    <a:pt x="203" y="88"/>
                    <a:pt x="208" y="102"/>
                  </a:cubicBezTo>
                  <a:close/>
                  <a:moveTo>
                    <a:pt x="55" y="83"/>
                  </a:moveTo>
                  <a:cubicBezTo>
                    <a:pt x="55" y="83"/>
                    <a:pt x="55" y="83"/>
                    <a:pt x="55" y="83"/>
                  </a:cubicBezTo>
                  <a:cubicBezTo>
                    <a:pt x="58" y="83"/>
                    <a:pt x="62" y="83"/>
                    <a:pt x="65" y="83"/>
                  </a:cubicBezTo>
                  <a:cubicBezTo>
                    <a:pt x="70" y="83"/>
                    <a:pt x="78" y="85"/>
                    <a:pt x="79" y="76"/>
                  </a:cubicBezTo>
                  <a:cubicBezTo>
                    <a:pt x="79" y="65"/>
                    <a:pt x="71" y="67"/>
                    <a:pt x="65" y="67"/>
                  </a:cubicBezTo>
                  <a:cubicBezTo>
                    <a:pt x="57" y="67"/>
                    <a:pt x="50" y="67"/>
                    <a:pt x="43" y="67"/>
                  </a:cubicBezTo>
                  <a:cubicBezTo>
                    <a:pt x="38" y="67"/>
                    <a:pt x="34" y="69"/>
                    <a:pt x="34" y="75"/>
                  </a:cubicBezTo>
                  <a:cubicBezTo>
                    <a:pt x="34" y="81"/>
                    <a:pt x="38" y="83"/>
                    <a:pt x="43" y="83"/>
                  </a:cubicBezTo>
                  <a:cubicBezTo>
                    <a:pt x="47" y="83"/>
                    <a:pt x="51" y="83"/>
                    <a:pt x="55"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solidFill>
                  <a:srgbClr val="000000"/>
                </a:solidFill>
              </a:endParaRPr>
            </a:p>
          </p:txBody>
        </p:sp>
        <p:sp>
          <p:nvSpPr>
            <p:cNvPr id="37" name="Freeform 44"/>
            <p:cNvSpPr>
              <a:spLocks/>
            </p:cNvSpPr>
            <p:nvPr/>
          </p:nvSpPr>
          <p:spPr bwMode="auto">
            <a:xfrm>
              <a:off x="-1266825" y="3575050"/>
              <a:ext cx="320675" cy="153987"/>
            </a:xfrm>
            <a:custGeom>
              <a:avLst/>
              <a:gdLst>
                <a:gd name="T0" fmla="*/ 110 w 239"/>
                <a:gd name="T1" fmla="*/ 115 h 116"/>
                <a:gd name="T2" fmla="*/ 16 w 239"/>
                <a:gd name="T3" fmla="*/ 116 h 116"/>
                <a:gd name="T4" fmla="*/ 5 w 239"/>
                <a:gd name="T5" fmla="*/ 101 h 116"/>
                <a:gd name="T6" fmla="*/ 39 w 239"/>
                <a:gd name="T7" fmla="*/ 12 h 116"/>
                <a:gd name="T8" fmla="*/ 54 w 239"/>
                <a:gd name="T9" fmla="*/ 0 h 116"/>
                <a:gd name="T10" fmla="*/ 226 w 239"/>
                <a:gd name="T11" fmla="*/ 0 h 116"/>
                <a:gd name="T12" fmla="*/ 238 w 239"/>
                <a:gd name="T13" fmla="*/ 13 h 116"/>
                <a:gd name="T14" fmla="*/ 222 w 239"/>
                <a:gd name="T15" fmla="*/ 104 h 116"/>
                <a:gd name="T16" fmla="*/ 205 w 239"/>
                <a:gd name="T17" fmla="*/ 115 h 116"/>
                <a:gd name="T18" fmla="*/ 110 w 239"/>
                <a:gd name="T19"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116">
                  <a:moveTo>
                    <a:pt x="110" y="115"/>
                  </a:moveTo>
                  <a:cubicBezTo>
                    <a:pt x="78" y="115"/>
                    <a:pt x="47" y="115"/>
                    <a:pt x="16" y="116"/>
                  </a:cubicBezTo>
                  <a:cubicBezTo>
                    <a:pt x="4" y="116"/>
                    <a:pt x="0" y="114"/>
                    <a:pt x="5" y="101"/>
                  </a:cubicBezTo>
                  <a:cubicBezTo>
                    <a:pt x="17" y="71"/>
                    <a:pt x="28" y="42"/>
                    <a:pt x="39" y="12"/>
                  </a:cubicBezTo>
                  <a:cubicBezTo>
                    <a:pt x="41" y="4"/>
                    <a:pt x="45" y="0"/>
                    <a:pt x="54" y="0"/>
                  </a:cubicBezTo>
                  <a:cubicBezTo>
                    <a:pt x="112" y="0"/>
                    <a:pt x="169" y="0"/>
                    <a:pt x="226" y="0"/>
                  </a:cubicBezTo>
                  <a:cubicBezTo>
                    <a:pt x="236" y="0"/>
                    <a:pt x="239" y="4"/>
                    <a:pt x="238" y="13"/>
                  </a:cubicBezTo>
                  <a:cubicBezTo>
                    <a:pt x="232" y="43"/>
                    <a:pt x="227" y="73"/>
                    <a:pt x="222" y="104"/>
                  </a:cubicBezTo>
                  <a:cubicBezTo>
                    <a:pt x="221" y="115"/>
                    <a:pt x="214" y="116"/>
                    <a:pt x="205" y="115"/>
                  </a:cubicBezTo>
                  <a:cubicBezTo>
                    <a:pt x="174" y="115"/>
                    <a:pt x="142" y="115"/>
                    <a:pt x="110"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solidFill>
                  <a:srgbClr val="000000"/>
                </a:solidFill>
              </a:endParaRPr>
            </a:p>
          </p:txBody>
        </p:sp>
        <p:sp>
          <p:nvSpPr>
            <p:cNvPr id="38" name="Freeform 45"/>
            <p:cNvSpPr>
              <a:spLocks/>
            </p:cNvSpPr>
            <p:nvPr/>
          </p:nvSpPr>
          <p:spPr bwMode="auto">
            <a:xfrm>
              <a:off x="-944563" y="3575050"/>
              <a:ext cx="298450" cy="153987"/>
            </a:xfrm>
            <a:custGeom>
              <a:avLst/>
              <a:gdLst>
                <a:gd name="T0" fmla="*/ 110 w 222"/>
                <a:gd name="T1" fmla="*/ 115 h 116"/>
                <a:gd name="T2" fmla="*/ 15 w 222"/>
                <a:gd name="T3" fmla="*/ 115 h 116"/>
                <a:gd name="T4" fmla="*/ 2 w 222"/>
                <a:gd name="T5" fmla="*/ 102 h 116"/>
                <a:gd name="T6" fmla="*/ 14 w 222"/>
                <a:gd name="T7" fmla="*/ 17 h 116"/>
                <a:gd name="T8" fmla="*/ 33 w 222"/>
                <a:gd name="T9" fmla="*/ 0 h 116"/>
                <a:gd name="T10" fmla="*/ 197 w 222"/>
                <a:gd name="T11" fmla="*/ 0 h 116"/>
                <a:gd name="T12" fmla="*/ 214 w 222"/>
                <a:gd name="T13" fmla="*/ 15 h 116"/>
                <a:gd name="T14" fmla="*/ 220 w 222"/>
                <a:gd name="T15" fmla="*/ 101 h 116"/>
                <a:gd name="T16" fmla="*/ 206 w 222"/>
                <a:gd name="T17" fmla="*/ 116 h 116"/>
                <a:gd name="T18" fmla="*/ 110 w 222"/>
                <a:gd name="T19"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16">
                  <a:moveTo>
                    <a:pt x="110" y="115"/>
                  </a:moveTo>
                  <a:cubicBezTo>
                    <a:pt x="78" y="115"/>
                    <a:pt x="46" y="115"/>
                    <a:pt x="15" y="115"/>
                  </a:cubicBezTo>
                  <a:cubicBezTo>
                    <a:pt x="5" y="116"/>
                    <a:pt x="0" y="114"/>
                    <a:pt x="2" y="102"/>
                  </a:cubicBezTo>
                  <a:cubicBezTo>
                    <a:pt x="7" y="74"/>
                    <a:pt x="11" y="45"/>
                    <a:pt x="14" y="17"/>
                  </a:cubicBezTo>
                  <a:cubicBezTo>
                    <a:pt x="16" y="5"/>
                    <a:pt x="20" y="0"/>
                    <a:pt x="33" y="0"/>
                  </a:cubicBezTo>
                  <a:cubicBezTo>
                    <a:pt x="88" y="1"/>
                    <a:pt x="142" y="1"/>
                    <a:pt x="197" y="0"/>
                  </a:cubicBezTo>
                  <a:cubicBezTo>
                    <a:pt x="208" y="0"/>
                    <a:pt x="214" y="2"/>
                    <a:pt x="214" y="15"/>
                  </a:cubicBezTo>
                  <a:cubicBezTo>
                    <a:pt x="215" y="44"/>
                    <a:pt x="218" y="72"/>
                    <a:pt x="220" y="101"/>
                  </a:cubicBezTo>
                  <a:cubicBezTo>
                    <a:pt x="222" y="112"/>
                    <a:pt x="218" y="116"/>
                    <a:pt x="206" y="116"/>
                  </a:cubicBezTo>
                  <a:cubicBezTo>
                    <a:pt x="174" y="115"/>
                    <a:pt x="142" y="115"/>
                    <a:pt x="110"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solidFill>
                  <a:srgbClr val="000000"/>
                </a:solidFill>
              </a:endParaRPr>
            </a:p>
          </p:txBody>
        </p:sp>
        <p:sp>
          <p:nvSpPr>
            <p:cNvPr id="39" name="Freeform 46"/>
            <p:cNvSpPr>
              <a:spLocks/>
            </p:cNvSpPr>
            <p:nvPr/>
          </p:nvSpPr>
          <p:spPr bwMode="auto">
            <a:xfrm>
              <a:off x="-633413" y="3575050"/>
              <a:ext cx="309563" cy="153987"/>
            </a:xfrm>
            <a:custGeom>
              <a:avLst/>
              <a:gdLst>
                <a:gd name="T0" fmla="*/ 120 w 231"/>
                <a:gd name="T1" fmla="*/ 115 h 116"/>
                <a:gd name="T2" fmla="*/ 28 w 231"/>
                <a:gd name="T3" fmla="*/ 116 h 116"/>
                <a:gd name="T4" fmla="*/ 10 w 231"/>
                <a:gd name="T5" fmla="*/ 101 h 116"/>
                <a:gd name="T6" fmla="*/ 1 w 231"/>
                <a:gd name="T7" fmla="*/ 15 h 116"/>
                <a:gd name="T8" fmla="*/ 15 w 231"/>
                <a:gd name="T9" fmla="*/ 0 h 116"/>
                <a:gd name="T10" fmla="*/ 185 w 231"/>
                <a:gd name="T11" fmla="*/ 0 h 116"/>
                <a:gd name="T12" fmla="*/ 200 w 231"/>
                <a:gd name="T13" fmla="*/ 12 h 116"/>
                <a:gd name="T14" fmla="*/ 227 w 231"/>
                <a:gd name="T15" fmla="*/ 99 h 116"/>
                <a:gd name="T16" fmla="*/ 215 w 231"/>
                <a:gd name="T17" fmla="*/ 116 h 116"/>
                <a:gd name="T18" fmla="*/ 120 w 231"/>
                <a:gd name="T19"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16">
                  <a:moveTo>
                    <a:pt x="120" y="115"/>
                  </a:moveTo>
                  <a:cubicBezTo>
                    <a:pt x="89" y="115"/>
                    <a:pt x="58" y="115"/>
                    <a:pt x="28" y="116"/>
                  </a:cubicBezTo>
                  <a:cubicBezTo>
                    <a:pt x="16" y="116"/>
                    <a:pt x="11" y="113"/>
                    <a:pt x="10" y="101"/>
                  </a:cubicBezTo>
                  <a:cubicBezTo>
                    <a:pt x="8" y="72"/>
                    <a:pt x="4" y="44"/>
                    <a:pt x="1" y="15"/>
                  </a:cubicBezTo>
                  <a:cubicBezTo>
                    <a:pt x="0" y="4"/>
                    <a:pt x="3" y="0"/>
                    <a:pt x="15" y="0"/>
                  </a:cubicBezTo>
                  <a:cubicBezTo>
                    <a:pt x="72" y="1"/>
                    <a:pt x="128" y="0"/>
                    <a:pt x="185" y="0"/>
                  </a:cubicBezTo>
                  <a:cubicBezTo>
                    <a:pt x="194" y="0"/>
                    <a:pt x="198" y="4"/>
                    <a:pt x="200" y="12"/>
                  </a:cubicBezTo>
                  <a:cubicBezTo>
                    <a:pt x="209" y="41"/>
                    <a:pt x="217" y="71"/>
                    <a:pt x="227" y="99"/>
                  </a:cubicBezTo>
                  <a:cubicBezTo>
                    <a:pt x="231" y="112"/>
                    <a:pt x="229" y="116"/>
                    <a:pt x="215" y="116"/>
                  </a:cubicBezTo>
                  <a:cubicBezTo>
                    <a:pt x="183" y="115"/>
                    <a:pt x="151" y="115"/>
                    <a:pt x="120"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solidFill>
                  <a:srgbClr val="000000"/>
                </a:solidFill>
              </a:endParaRPr>
            </a:p>
          </p:txBody>
        </p:sp>
        <p:sp>
          <p:nvSpPr>
            <p:cNvPr id="40" name="Freeform 47"/>
            <p:cNvSpPr>
              <a:spLocks/>
            </p:cNvSpPr>
            <p:nvPr/>
          </p:nvSpPr>
          <p:spPr bwMode="auto">
            <a:xfrm>
              <a:off x="-1203325" y="3406775"/>
              <a:ext cx="284163" cy="153987"/>
            </a:xfrm>
            <a:custGeom>
              <a:avLst/>
              <a:gdLst>
                <a:gd name="T0" fmla="*/ 97 w 212"/>
                <a:gd name="T1" fmla="*/ 114 h 115"/>
                <a:gd name="T2" fmla="*/ 15 w 212"/>
                <a:gd name="T3" fmla="*/ 115 h 115"/>
                <a:gd name="T4" fmla="*/ 5 w 212"/>
                <a:gd name="T5" fmla="*/ 101 h 115"/>
                <a:gd name="T6" fmla="*/ 38 w 212"/>
                <a:gd name="T7" fmla="*/ 13 h 115"/>
                <a:gd name="T8" fmla="*/ 57 w 212"/>
                <a:gd name="T9" fmla="*/ 0 h 115"/>
                <a:gd name="T10" fmla="*/ 197 w 212"/>
                <a:gd name="T11" fmla="*/ 0 h 115"/>
                <a:gd name="T12" fmla="*/ 210 w 212"/>
                <a:gd name="T13" fmla="*/ 15 h 115"/>
                <a:gd name="T14" fmla="*/ 196 w 212"/>
                <a:gd name="T15" fmla="*/ 101 h 115"/>
                <a:gd name="T16" fmla="*/ 179 w 212"/>
                <a:gd name="T17" fmla="*/ 115 h 115"/>
                <a:gd name="T18" fmla="*/ 97 w 212"/>
                <a:gd name="T19" fmla="*/ 115 h 115"/>
                <a:gd name="T20" fmla="*/ 97 w 212"/>
                <a:gd name="T21"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2" h="115">
                  <a:moveTo>
                    <a:pt x="97" y="114"/>
                  </a:moveTo>
                  <a:cubicBezTo>
                    <a:pt x="70" y="114"/>
                    <a:pt x="42" y="114"/>
                    <a:pt x="15" y="115"/>
                  </a:cubicBezTo>
                  <a:cubicBezTo>
                    <a:pt x="4" y="115"/>
                    <a:pt x="0" y="112"/>
                    <a:pt x="5" y="101"/>
                  </a:cubicBezTo>
                  <a:cubicBezTo>
                    <a:pt x="17" y="72"/>
                    <a:pt x="27" y="42"/>
                    <a:pt x="38" y="13"/>
                  </a:cubicBezTo>
                  <a:cubicBezTo>
                    <a:pt x="41" y="3"/>
                    <a:pt x="47" y="0"/>
                    <a:pt x="57" y="0"/>
                  </a:cubicBezTo>
                  <a:cubicBezTo>
                    <a:pt x="104" y="1"/>
                    <a:pt x="150" y="1"/>
                    <a:pt x="197" y="0"/>
                  </a:cubicBezTo>
                  <a:cubicBezTo>
                    <a:pt x="208" y="0"/>
                    <a:pt x="212" y="2"/>
                    <a:pt x="210" y="15"/>
                  </a:cubicBezTo>
                  <a:cubicBezTo>
                    <a:pt x="204" y="43"/>
                    <a:pt x="200" y="72"/>
                    <a:pt x="196" y="101"/>
                  </a:cubicBezTo>
                  <a:cubicBezTo>
                    <a:pt x="194" y="113"/>
                    <a:pt x="190" y="115"/>
                    <a:pt x="179" y="115"/>
                  </a:cubicBezTo>
                  <a:cubicBezTo>
                    <a:pt x="152" y="114"/>
                    <a:pt x="124" y="115"/>
                    <a:pt x="97" y="115"/>
                  </a:cubicBezTo>
                  <a:cubicBezTo>
                    <a:pt x="97" y="114"/>
                    <a:pt x="97" y="114"/>
                    <a:pt x="97"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solidFill>
                  <a:srgbClr val="000000"/>
                </a:solidFill>
              </a:endParaRPr>
            </a:p>
          </p:txBody>
        </p:sp>
        <p:sp>
          <p:nvSpPr>
            <p:cNvPr id="41" name="Freeform 48"/>
            <p:cNvSpPr>
              <a:spLocks/>
            </p:cNvSpPr>
            <p:nvPr/>
          </p:nvSpPr>
          <p:spPr bwMode="auto">
            <a:xfrm>
              <a:off x="-649288" y="3406775"/>
              <a:ext cx="274638" cy="153987"/>
            </a:xfrm>
            <a:custGeom>
              <a:avLst/>
              <a:gdLst>
                <a:gd name="T0" fmla="*/ 106 w 205"/>
                <a:gd name="T1" fmla="*/ 114 h 115"/>
                <a:gd name="T2" fmla="*/ 26 w 205"/>
                <a:gd name="T3" fmla="*/ 115 h 115"/>
                <a:gd name="T4" fmla="*/ 10 w 205"/>
                <a:gd name="T5" fmla="*/ 100 h 115"/>
                <a:gd name="T6" fmla="*/ 1 w 205"/>
                <a:gd name="T7" fmla="*/ 13 h 115"/>
                <a:gd name="T8" fmla="*/ 14 w 205"/>
                <a:gd name="T9" fmla="*/ 0 h 115"/>
                <a:gd name="T10" fmla="*/ 160 w 205"/>
                <a:gd name="T11" fmla="*/ 0 h 115"/>
                <a:gd name="T12" fmla="*/ 174 w 205"/>
                <a:gd name="T13" fmla="*/ 11 h 115"/>
                <a:gd name="T14" fmla="*/ 201 w 205"/>
                <a:gd name="T15" fmla="*/ 98 h 115"/>
                <a:gd name="T16" fmla="*/ 188 w 205"/>
                <a:gd name="T17" fmla="*/ 115 h 115"/>
                <a:gd name="T18" fmla="*/ 106 w 205"/>
                <a:gd name="T19"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115">
                  <a:moveTo>
                    <a:pt x="106" y="114"/>
                  </a:moveTo>
                  <a:cubicBezTo>
                    <a:pt x="80" y="114"/>
                    <a:pt x="53" y="114"/>
                    <a:pt x="26" y="115"/>
                  </a:cubicBezTo>
                  <a:cubicBezTo>
                    <a:pt x="16" y="115"/>
                    <a:pt x="10" y="112"/>
                    <a:pt x="10" y="100"/>
                  </a:cubicBezTo>
                  <a:cubicBezTo>
                    <a:pt x="7" y="71"/>
                    <a:pt x="5" y="42"/>
                    <a:pt x="1" y="13"/>
                  </a:cubicBezTo>
                  <a:cubicBezTo>
                    <a:pt x="0" y="3"/>
                    <a:pt x="4" y="0"/>
                    <a:pt x="14" y="0"/>
                  </a:cubicBezTo>
                  <a:cubicBezTo>
                    <a:pt x="62" y="1"/>
                    <a:pt x="111" y="1"/>
                    <a:pt x="160" y="0"/>
                  </a:cubicBezTo>
                  <a:cubicBezTo>
                    <a:pt x="167" y="0"/>
                    <a:pt x="171" y="3"/>
                    <a:pt x="174" y="11"/>
                  </a:cubicBezTo>
                  <a:cubicBezTo>
                    <a:pt x="182" y="40"/>
                    <a:pt x="191" y="69"/>
                    <a:pt x="201" y="98"/>
                  </a:cubicBezTo>
                  <a:cubicBezTo>
                    <a:pt x="205" y="111"/>
                    <a:pt x="201" y="115"/>
                    <a:pt x="188" y="115"/>
                  </a:cubicBezTo>
                  <a:cubicBezTo>
                    <a:pt x="161" y="114"/>
                    <a:pt x="134" y="114"/>
                    <a:pt x="106"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solidFill>
                  <a:srgbClr val="000000"/>
                </a:solidFill>
              </a:endParaRPr>
            </a:p>
          </p:txBody>
        </p:sp>
        <p:sp>
          <p:nvSpPr>
            <p:cNvPr id="42" name="Freeform 49"/>
            <p:cNvSpPr>
              <a:spLocks/>
            </p:cNvSpPr>
            <p:nvPr/>
          </p:nvSpPr>
          <p:spPr bwMode="auto">
            <a:xfrm>
              <a:off x="-919163" y="3406775"/>
              <a:ext cx="261938" cy="153987"/>
            </a:xfrm>
            <a:custGeom>
              <a:avLst/>
              <a:gdLst>
                <a:gd name="T0" fmla="*/ 98 w 195"/>
                <a:gd name="T1" fmla="*/ 114 h 115"/>
                <a:gd name="T2" fmla="*/ 16 w 195"/>
                <a:gd name="T3" fmla="*/ 115 h 115"/>
                <a:gd name="T4" fmla="*/ 2 w 195"/>
                <a:gd name="T5" fmla="*/ 100 h 115"/>
                <a:gd name="T6" fmla="*/ 14 w 195"/>
                <a:gd name="T7" fmla="*/ 9 h 115"/>
                <a:gd name="T8" fmla="*/ 27 w 195"/>
                <a:gd name="T9" fmla="*/ 0 h 115"/>
                <a:gd name="T10" fmla="*/ 175 w 195"/>
                <a:gd name="T11" fmla="*/ 0 h 115"/>
                <a:gd name="T12" fmla="*/ 186 w 195"/>
                <a:gd name="T13" fmla="*/ 12 h 115"/>
                <a:gd name="T14" fmla="*/ 194 w 195"/>
                <a:gd name="T15" fmla="*/ 98 h 115"/>
                <a:gd name="T16" fmla="*/ 177 w 195"/>
                <a:gd name="T17" fmla="*/ 115 h 115"/>
                <a:gd name="T18" fmla="*/ 98 w 195"/>
                <a:gd name="T19"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5">
                  <a:moveTo>
                    <a:pt x="98" y="114"/>
                  </a:moveTo>
                  <a:cubicBezTo>
                    <a:pt x="70" y="114"/>
                    <a:pt x="43" y="114"/>
                    <a:pt x="16" y="115"/>
                  </a:cubicBezTo>
                  <a:cubicBezTo>
                    <a:pt x="5" y="115"/>
                    <a:pt x="0" y="112"/>
                    <a:pt x="2" y="100"/>
                  </a:cubicBezTo>
                  <a:cubicBezTo>
                    <a:pt x="6" y="70"/>
                    <a:pt x="10" y="40"/>
                    <a:pt x="14" y="9"/>
                  </a:cubicBezTo>
                  <a:cubicBezTo>
                    <a:pt x="15" y="1"/>
                    <a:pt x="20" y="0"/>
                    <a:pt x="27" y="0"/>
                  </a:cubicBezTo>
                  <a:cubicBezTo>
                    <a:pt x="76" y="0"/>
                    <a:pt x="125" y="1"/>
                    <a:pt x="175" y="0"/>
                  </a:cubicBezTo>
                  <a:cubicBezTo>
                    <a:pt x="183" y="0"/>
                    <a:pt x="186" y="4"/>
                    <a:pt x="186" y="12"/>
                  </a:cubicBezTo>
                  <a:cubicBezTo>
                    <a:pt x="188" y="41"/>
                    <a:pt x="191" y="69"/>
                    <a:pt x="194" y="98"/>
                  </a:cubicBezTo>
                  <a:cubicBezTo>
                    <a:pt x="195" y="111"/>
                    <a:pt x="191" y="115"/>
                    <a:pt x="177" y="115"/>
                  </a:cubicBezTo>
                  <a:cubicBezTo>
                    <a:pt x="151" y="114"/>
                    <a:pt x="124" y="114"/>
                    <a:pt x="98"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solidFill>
                  <a:srgbClr val="000000"/>
                </a:solidFill>
              </a:endParaRPr>
            </a:p>
          </p:txBody>
        </p:sp>
        <p:sp>
          <p:nvSpPr>
            <p:cNvPr id="43" name="Freeform 50"/>
            <p:cNvSpPr>
              <a:spLocks/>
            </p:cNvSpPr>
            <p:nvPr/>
          </p:nvSpPr>
          <p:spPr bwMode="auto">
            <a:xfrm>
              <a:off x="-1141413" y="3238500"/>
              <a:ext cx="249238" cy="153987"/>
            </a:xfrm>
            <a:custGeom>
              <a:avLst/>
              <a:gdLst>
                <a:gd name="T0" fmla="*/ 0 w 186"/>
                <a:gd name="T1" fmla="*/ 115 h 115"/>
                <a:gd name="T2" fmla="*/ 40 w 186"/>
                <a:gd name="T3" fmla="*/ 9 h 115"/>
                <a:gd name="T4" fmla="*/ 56 w 186"/>
                <a:gd name="T5" fmla="*/ 0 h 115"/>
                <a:gd name="T6" fmla="*/ 172 w 186"/>
                <a:gd name="T7" fmla="*/ 0 h 115"/>
                <a:gd name="T8" fmla="*/ 184 w 186"/>
                <a:gd name="T9" fmla="*/ 15 h 115"/>
                <a:gd name="T10" fmla="*/ 169 w 186"/>
                <a:gd name="T11" fmla="*/ 105 h 115"/>
                <a:gd name="T12" fmla="*/ 160 w 186"/>
                <a:gd name="T13" fmla="*/ 115 h 115"/>
                <a:gd name="T14" fmla="*/ 0 w 186"/>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15">
                  <a:moveTo>
                    <a:pt x="0" y="115"/>
                  </a:moveTo>
                  <a:cubicBezTo>
                    <a:pt x="14" y="78"/>
                    <a:pt x="27" y="43"/>
                    <a:pt x="40" y="9"/>
                  </a:cubicBezTo>
                  <a:cubicBezTo>
                    <a:pt x="43" y="1"/>
                    <a:pt x="49" y="0"/>
                    <a:pt x="56" y="0"/>
                  </a:cubicBezTo>
                  <a:cubicBezTo>
                    <a:pt x="95" y="0"/>
                    <a:pt x="133" y="1"/>
                    <a:pt x="172" y="0"/>
                  </a:cubicBezTo>
                  <a:cubicBezTo>
                    <a:pt x="183" y="0"/>
                    <a:pt x="186" y="4"/>
                    <a:pt x="184" y="15"/>
                  </a:cubicBezTo>
                  <a:cubicBezTo>
                    <a:pt x="179" y="45"/>
                    <a:pt x="174" y="75"/>
                    <a:pt x="169" y="105"/>
                  </a:cubicBezTo>
                  <a:cubicBezTo>
                    <a:pt x="168" y="111"/>
                    <a:pt x="167" y="115"/>
                    <a:pt x="160" y="115"/>
                  </a:cubicBezTo>
                  <a:cubicBezTo>
                    <a:pt x="107" y="115"/>
                    <a:pt x="55" y="115"/>
                    <a:pt x="0"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solidFill>
                  <a:srgbClr val="000000"/>
                </a:solidFill>
              </a:endParaRPr>
            </a:p>
          </p:txBody>
        </p:sp>
        <p:sp>
          <p:nvSpPr>
            <p:cNvPr id="44" name="Freeform 51"/>
            <p:cNvSpPr>
              <a:spLocks/>
            </p:cNvSpPr>
            <p:nvPr/>
          </p:nvSpPr>
          <p:spPr bwMode="auto">
            <a:xfrm>
              <a:off x="-895350" y="3238500"/>
              <a:ext cx="223838" cy="155575"/>
            </a:xfrm>
            <a:custGeom>
              <a:avLst/>
              <a:gdLst>
                <a:gd name="T0" fmla="*/ 84 w 168"/>
                <a:gd name="T1" fmla="*/ 115 h 116"/>
                <a:gd name="T2" fmla="*/ 14 w 168"/>
                <a:gd name="T3" fmla="*/ 115 h 116"/>
                <a:gd name="T4" fmla="*/ 2 w 168"/>
                <a:gd name="T5" fmla="*/ 102 h 116"/>
                <a:gd name="T6" fmla="*/ 14 w 168"/>
                <a:gd name="T7" fmla="*/ 17 h 116"/>
                <a:gd name="T8" fmla="*/ 32 w 168"/>
                <a:gd name="T9" fmla="*/ 0 h 116"/>
                <a:gd name="T10" fmla="*/ 144 w 168"/>
                <a:gd name="T11" fmla="*/ 0 h 116"/>
                <a:gd name="T12" fmla="*/ 161 w 168"/>
                <a:gd name="T13" fmla="*/ 16 h 116"/>
                <a:gd name="T14" fmla="*/ 166 w 168"/>
                <a:gd name="T15" fmla="*/ 102 h 116"/>
                <a:gd name="T16" fmla="*/ 154 w 168"/>
                <a:gd name="T17" fmla="*/ 115 h 116"/>
                <a:gd name="T18" fmla="*/ 84 w 168"/>
                <a:gd name="T19"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16">
                  <a:moveTo>
                    <a:pt x="84" y="115"/>
                  </a:moveTo>
                  <a:cubicBezTo>
                    <a:pt x="61" y="115"/>
                    <a:pt x="38" y="115"/>
                    <a:pt x="14" y="115"/>
                  </a:cubicBezTo>
                  <a:cubicBezTo>
                    <a:pt x="4" y="116"/>
                    <a:pt x="0" y="113"/>
                    <a:pt x="2" y="102"/>
                  </a:cubicBezTo>
                  <a:cubicBezTo>
                    <a:pt x="6" y="74"/>
                    <a:pt x="10" y="45"/>
                    <a:pt x="14" y="17"/>
                  </a:cubicBezTo>
                  <a:cubicBezTo>
                    <a:pt x="15" y="6"/>
                    <a:pt x="18" y="0"/>
                    <a:pt x="32" y="0"/>
                  </a:cubicBezTo>
                  <a:cubicBezTo>
                    <a:pt x="69" y="1"/>
                    <a:pt x="106" y="1"/>
                    <a:pt x="144" y="0"/>
                  </a:cubicBezTo>
                  <a:cubicBezTo>
                    <a:pt x="156" y="0"/>
                    <a:pt x="160" y="5"/>
                    <a:pt x="161" y="16"/>
                  </a:cubicBezTo>
                  <a:cubicBezTo>
                    <a:pt x="162" y="45"/>
                    <a:pt x="164" y="73"/>
                    <a:pt x="166" y="102"/>
                  </a:cubicBezTo>
                  <a:cubicBezTo>
                    <a:pt x="168" y="112"/>
                    <a:pt x="165" y="116"/>
                    <a:pt x="154" y="115"/>
                  </a:cubicBezTo>
                  <a:cubicBezTo>
                    <a:pt x="131" y="115"/>
                    <a:pt x="107" y="115"/>
                    <a:pt x="84"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solidFill>
                  <a:srgbClr val="000000"/>
                </a:solidFill>
              </a:endParaRPr>
            </a:p>
          </p:txBody>
        </p:sp>
        <p:sp>
          <p:nvSpPr>
            <p:cNvPr id="45" name="Freeform 52"/>
            <p:cNvSpPr>
              <a:spLocks/>
            </p:cNvSpPr>
            <p:nvPr/>
          </p:nvSpPr>
          <p:spPr bwMode="auto">
            <a:xfrm>
              <a:off x="-663575" y="3238500"/>
              <a:ext cx="238125" cy="155575"/>
            </a:xfrm>
            <a:custGeom>
              <a:avLst/>
              <a:gdLst>
                <a:gd name="T0" fmla="*/ 93 w 178"/>
                <a:gd name="T1" fmla="*/ 115 h 116"/>
                <a:gd name="T2" fmla="*/ 26 w 178"/>
                <a:gd name="T3" fmla="*/ 116 h 116"/>
                <a:gd name="T4" fmla="*/ 9 w 178"/>
                <a:gd name="T5" fmla="*/ 101 h 116"/>
                <a:gd name="T6" fmla="*/ 1 w 178"/>
                <a:gd name="T7" fmla="*/ 12 h 116"/>
                <a:gd name="T8" fmla="*/ 12 w 178"/>
                <a:gd name="T9" fmla="*/ 0 h 116"/>
                <a:gd name="T10" fmla="*/ 131 w 178"/>
                <a:gd name="T11" fmla="*/ 0 h 116"/>
                <a:gd name="T12" fmla="*/ 147 w 178"/>
                <a:gd name="T13" fmla="*/ 12 h 116"/>
                <a:gd name="T14" fmla="*/ 173 w 178"/>
                <a:gd name="T15" fmla="*/ 100 h 116"/>
                <a:gd name="T16" fmla="*/ 161 w 178"/>
                <a:gd name="T17" fmla="*/ 115 h 116"/>
                <a:gd name="T18" fmla="*/ 93 w 178"/>
                <a:gd name="T19"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116">
                  <a:moveTo>
                    <a:pt x="93" y="115"/>
                  </a:moveTo>
                  <a:cubicBezTo>
                    <a:pt x="71" y="115"/>
                    <a:pt x="48" y="115"/>
                    <a:pt x="26" y="116"/>
                  </a:cubicBezTo>
                  <a:cubicBezTo>
                    <a:pt x="15" y="116"/>
                    <a:pt x="10" y="112"/>
                    <a:pt x="9" y="101"/>
                  </a:cubicBezTo>
                  <a:cubicBezTo>
                    <a:pt x="7" y="71"/>
                    <a:pt x="4" y="42"/>
                    <a:pt x="1" y="12"/>
                  </a:cubicBezTo>
                  <a:cubicBezTo>
                    <a:pt x="0" y="3"/>
                    <a:pt x="3" y="0"/>
                    <a:pt x="12" y="0"/>
                  </a:cubicBezTo>
                  <a:cubicBezTo>
                    <a:pt x="52" y="0"/>
                    <a:pt x="92" y="1"/>
                    <a:pt x="131" y="0"/>
                  </a:cubicBezTo>
                  <a:cubicBezTo>
                    <a:pt x="141" y="0"/>
                    <a:pt x="144" y="4"/>
                    <a:pt x="147" y="12"/>
                  </a:cubicBezTo>
                  <a:cubicBezTo>
                    <a:pt x="155" y="41"/>
                    <a:pt x="164" y="71"/>
                    <a:pt x="173" y="100"/>
                  </a:cubicBezTo>
                  <a:cubicBezTo>
                    <a:pt x="178" y="113"/>
                    <a:pt x="174" y="116"/>
                    <a:pt x="161" y="115"/>
                  </a:cubicBezTo>
                  <a:cubicBezTo>
                    <a:pt x="139" y="115"/>
                    <a:pt x="116" y="115"/>
                    <a:pt x="93"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endParaRPr lang="en-IN" sz="2399">
                <a:solidFill>
                  <a:srgbClr val="000000"/>
                </a:solidFill>
              </a:endParaRPr>
            </a:p>
          </p:txBody>
        </p:sp>
      </p:grpSp>
    </p:spTree>
    <p:extLst>
      <p:ext uri="{BB962C8B-B14F-4D97-AF65-F5344CB8AC3E}">
        <p14:creationId xmlns:p14="http://schemas.microsoft.com/office/powerpoint/2010/main" val="30399525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2228FA3E-AE8D-27B3-8380-77DB1AFA8EC6}"/>
              </a:ext>
            </a:extLst>
          </p:cNvPr>
          <p:cNvSpPr>
            <a:spLocks/>
          </p:cNvSpPr>
          <p:nvPr/>
        </p:nvSpPr>
        <p:spPr>
          <a:xfrm flipH="1">
            <a:off x="281932" y="684076"/>
            <a:ext cx="11628139" cy="68562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199" marR="0" lvl="0" indent="0" algn="l" defTabSz="857014"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A44D6D8D-7249-BD64-6662-57B4C8485E47}"/>
              </a:ext>
            </a:extLst>
          </p:cNvPr>
          <p:cNvSpPr/>
          <p:nvPr/>
        </p:nvSpPr>
        <p:spPr>
          <a:xfrm>
            <a:off x="1120357" y="824333"/>
            <a:ext cx="10653500" cy="443198"/>
          </a:xfrm>
          <a:prstGeom prst="rect">
            <a:avLst/>
          </a:prstGeom>
        </p:spPr>
        <p:txBody>
          <a:bodyPr wrap="square" lIns="0" tIns="0" rIns="0" bIns="0" anchor="ctr">
            <a:spAutoFit/>
          </a:bodyPr>
          <a:lstStyle/>
          <a:p>
            <a:pPr marL="0" marR="0" lvl="0" indent="0" algn="l" defTabSz="1094544" rtl="0" eaLnBrk="1" fontAlgn="auto" latinLnBrk="0" hangingPunct="1">
              <a:lnSpc>
                <a:spcPct val="90000"/>
              </a:lnSpc>
              <a:spcBef>
                <a:spcPct val="0"/>
              </a:spcBef>
              <a:spcAft>
                <a:spcPts val="0"/>
              </a:spcAft>
              <a:buClrTx/>
              <a:buSzTx/>
              <a:buFontTx/>
              <a:buNone/>
              <a:tabLst/>
              <a:defRPr/>
            </a:pPr>
            <a:r>
              <a:rPr kumimoji="0" lang="en-GB" sz="1600" b="1" i="0" u="none" strike="noStrike" kern="1200" cap="none" spc="0" normalizeH="0" baseline="0" noProof="0" dirty="0" err="1">
                <a:ln>
                  <a:noFill/>
                </a:ln>
                <a:solidFill>
                  <a:prstClr val="white"/>
                </a:solidFill>
                <a:effectLst/>
                <a:uLnTx/>
                <a:uFillTx/>
                <a:latin typeface="Calibri"/>
                <a:ea typeface="+mn-ea"/>
                <a:cs typeface="+mn-cs"/>
              </a:rPr>
              <a:t>Sonnen</a:t>
            </a:r>
            <a:r>
              <a:rPr kumimoji="0" lang="en-GB" sz="1600" b="1" i="0" u="none" strike="noStrike" kern="1200" cap="none" spc="0" normalizeH="0" baseline="0" noProof="0" dirty="0">
                <a:ln>
                  <a:noFill/>
                </a:ln>
                <a:solidFill>
                  <a:prstClr val="white"/>
                </a:solidFill>
                <a:effectLst/>
                <a:uLnTx/>
                <a:uFillTx/>
                <a:latin typeface="Calibri"/>
                <a:ea typeface="+mn-ea"/>
                <a:cs typeface="+mn-cs"/>
              </a:rPr>
              <a:t> lead the market by virtue of strong sales in home market Germany and decent presence in the US, Australia and Europe. US and Australia key for Tesla. BYD gaining in recent years; very price competitive</a:t>
            </a:r>
          </a:p>
        </p:txBody>
      </p:sp>
      <p:sp>
        <p:nvSpPr>
          <p:cNvPr id="2" name="Title 1"/>
          <p:cNvSpPr>
            <a:spLocks noGrp="1"/>
          </p:cNvSpPr>
          <p:nvPr>
            <p:ph type="title"/>
          </p:nvPr>
        </p:nvSpPr>
        <p:spPr>
          <a:xfrm>
            <a:off x="284383" y="272295"/>
            <a:ext cx="11623236" cy="369236"/>
          </a:xfrm>
        </p:spPr>
        <p:txBody>
          <a:bodyPr/>
          <a:lstStyle/>
          <a:p>
            <a:pPr defTabSz="1097044"/>
            <a:r>
              <a:rPr lang="en-US" dirty="0"/>
              <a:t>global residential BESS market shares</a:t>
            </a:r>
            <a:endParaRPr lang="en-GB" dirty="0"/>
          </a:p>
        </p:txBody>
      </p:sp>
      <p:grpSp>
        <p:nvGrpSpPr>
          <p:cNvPr id="18" name="Group 17">
            <a:extLst>
              <a:ext uri="{FF2B5EF4-FFF2-40B4-BE49-F238E27FC236}">
                <a16:creationId xmlns:a16="http://schemas.microsoft.com/office/drawing/2014/main" id="{7F0408A9-6E91-0DFB-440A-C9EA1DEBC1C9}"/>
              </a:ext>
            </a:extLst>
          </p:cNvPr>
          <p:cNvGrpSpPr/>
          <p:nvPr/>
        </p:nvGrpSpPr>
        <p:grpSpPr>
          <a:xfrm>
            <a:off x="281931" y="743886"/>
            <a:ext cx="702214" cy="566002"/>
            <a:chOff x="779460" y="743186"/>
            <a:chExt cx="702397" cy="566149"/>
          </a:xfrm>
        </p:grpSpPr>
        <p:sp>
          <p:nvSpPr>
            <p:cNvPr id="9" name="Rectangle 8">
              <a:extLst>
                <a:ext uri="{FF2B5EF4-FFF2-40B4-BE49-F238E27FC236}">
                  <a16:creationId xmlns:a16="http://schemas.microsoft.com/office/drawing/2014/main" id="{23DEE729-02BB-9367-9E03-0683E8D57358}"/>
                </a:ext>
              </a:extLst>
            </p:cNvPr>
            <p:cNvSpPr/>
            <p:nvPr/>
          </p:nvSpPr>
          <p:spPr>
            <a:xfrm>
              <a:off x="779460" y="1004830"/>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52795A46-49F6-6B5C-E6D8-DAE7B1E6484F}"/>
                </a:ext>
              </a:extLst>
            </p:cNvPr>
            <p:cNvSpPr/>
            <p:nvPr/>
          </p:nvSpPr>
          <p:spPr>
            <a:xfrm>
              <a:off x="915708" y="743186"/>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C73E1CF0-F5F5-43FF-FBD4-DBE7862DAA5D}"/>
                </a:ext>
              </a:extLst>
            </p:cNvPr>
            <p:cNvGrpSpPr/>
            <p:nvPr/>
          </p:nvGrpSpPr>
          <p:grpSpPr>
            <a:xfrm>
              <a:off x="1015152" y="830461"/>
              <a:ext cx="356737" cy="385459"/>
              <a:chOff x="-8902701" y="1020763"/>
              <a:chExt cx="4456113" cy="4814888"/>
            </a:xfrm>
            <a:solidFill>
              <a:schemeClr val="bg1"/>
            </a:solidFill>
          </p:grpSpPr>
          <p:sp>
            <p:nvSpPr>
              <p:cNvPr id="5" name="Freeform 19">
                <a:extLst>
                  <a:ext uri="{FF2B5EF4-FFF2-40B4-BE49-F238E27FC236}">
                    <a16:creationId xmlns:a16="http://schemas.microsoft.com/office/drawing/2014/main" id="{9309B6D1-14B6-5FEA-884B-FCA1F5A37941}"/>
                  </a:ext>
                </a:extLst>
              </p:cNvPr>
              <p:cNvSpPr>
                <a:spLocks/>
              </p:cNvSpPr>
              <p:nvPr/>
            </p:nvSpPr>
            <p:spPr bwMode="auto">
              <a:xfrm>
                <a:off x="-8902701" y="1147763"/>
                <a:ext cx="2230438" cy="4200525"/>
              </a:xfrm>
              <a:custGeom>
                <a:avLst/>
                <a:gdLst>
                  <a:gd name="T0" fmla="*/ 1405 w 1405"/>
                  <a:gd name="T1" fmla="*/ 0 h 2646"/>
                  <a:gd name="T2" fmla="*/ 1205 w 1405"/>
                  <a:gd name="T3" fmla="*/ 233 h 2646"/>
                  <a:gd name="T4" fmla="*/ 1024 w 1405"/>
                  <a:gd name="T5" fmla="*/ 279 h 2646"/>
                  <a:gd name="T6" fmla="*/ 854 w 1405"/>
                  <a:gd name="T7" fmla="*/ 351 h 2646"/>
                  <a:gd name="T8" fmla="*/ 699 w 1405"/>
                  <a:gd name="T9" fmla="*/ 448 h 2646"/>
                  <a:gd name="T10" fmla="*/ 562 w 1405"/>
                  <a:gd name="T11" fmla="*/ 567 h 2646"/>
                  <a:gd name="T12" fmla="*/ 444 w 1405"/>
                  <a:gd name="T13" fmla="*/ 706 h 2646"/>
                  <a:gd name="T14" fmla="*/ 347 w 1405"/>
                  <a:gd name="T15" fmla="*/ 860 h 2646"/>
                  <a:gd name="T16" fmla="*/ 276 w 1405"/>
                  <a:gd name="T17" fmla="*/ 1030 h 2646"/>
                  <a:gd name="T18" fmla="*/ 230 w 1405"/>
                  <a:gd name="T19" fmla="*/ 1212 h 2646"/>
                  <a:gd name="T20" fmla="*/ 216 w 1405"/>
                  <a:gd name="T21" fmla="*/ 1405 h 2646"/>
                  <a:gd name="T22" fmla="*/ 230 w 1405"/>
                  <a:gd name="T23" fmla="*/ 1592 h 2646"/>
                  <a:gd name="T24" fmla="*/ 274 w 1405"/>
                  <a:gd name="T25" fmla="*/ 1772 h 2646"/>
                  <a:gd name="T26" fmla="*/ 343 w 1405"/>
                  <a:gd name="T27" fmla="*/ 1939 h 2646"/>
                  <a:gd name="T28" fmla="*/ 436 w 1405"/>
                  <a:gd name="T29" fmla="*/ 2092 h 2646"/>
                  <a:gd name="T30" fmla="*/ 550 w 1405"/>
                  <a:gd name="T31" fmla="*/ 2230 h 2646"/>
                  <a:gd name="T32" fmla="*/ 683 w 1405"/>
                  <a:gd name="T33" fmla="*/ 2349 h 2646"/>
                  <a:gd name="T34" fmla="*/ 833 w 1405"/>
                  <a:gd name="T35" fmla="*/ 2446 h 2646"/>
                  <a:gd name="T36" fmla="*/ 674 w 1405"/>
                  <a:gd name="T37" fmla="*/ 2604 h 2646"/>
                  <a:gd name="T38" fmla="*/ 537 w 1405"/>
                  <a:gd name="T39" fmla="*/ 2510 h 2646"/>
                  <a:gd name="T40" fmla="*/ 411 w 1405"/>
                  <a:gd name="T41" fmla="*/ 2398 h 2646"/>
                  <a:gd name="T42" fmla="*/ 277 w 1405"/>
                  <a:gd name="T43" fmla="*/ 2244 h 2646"/>
                  <a:gd name="T44" fmla="*/ 170 w 1405"/>
                  <a:gd name="T45" fmla="*/ 2077 h 2646"/>
                  <a:gd name="T46" fmla="*/ 88 w 1405"/>
                  <a:gd name="T47" fmla="*/ 1896 h 2646"/>
                  <a:gd name="T48" fmla="*/ 31 w 1405"/>
                  <a:gd name="T49" fmla="*/ 1705 h 2646"/>
                  <a:gd name="T50" fmla="*/ 3 w 1405"/>
                  <a:gd name="T51" fmla="*/ 1506 h 2646"/>
                  <a:gd name="T52" fmla="*/ 3 w 1405"/>
                  <a:gd name="T53" fmla="*/ 1303 h 2646"/>
                  <a:gd name="T54" fmla="*/ 31 w 1405"/>
                  <a:gd name="T55" fmla="*/ 1104 h 2646"/>
                  <a:gd name="T56" fmla="*/ 88 w 1405"/>
                  <a:gd name="T57" fmla="*/ 913 h 2646"/>
                  <a:gd name="T58" fmla="*/ 170 w 1405"/>
                  <a:gd name="T59" fmla="*/ 732 h 2646"/>
                  <a:gd name="T60" fmla="*/ 277 w 1405"/>
                  <a:gd name="T61" fmla="*/ 564 h 2646"/>
                  <a:gd name="T62" fmla="*/ 411 w 1405"/>
                  <a:gd name="T63" fmla="*/ 411 h 2646"/>
                  <a:gd name="T64" fmla="*/ 564 w 1405"/>
                  <a:gd name="T65" fmla="*/ 279 h 2646"/>
                  <a:gd name="T66" fmla="*/ 732 w 1405"/>
                  <a:gd name="T67" fmla="*/ 171 h 2646"/>
                  <a:gd name="T68" fmla="*/ 913 w 1405"/>
                  <a:gd name="T69" fmla="*/ 88 h 2646"/>
                  <a:gd name="T70" fmla="*/ 1102 w 1405"/>
                  <a:gd name="T71" fmla="*/ 33 h 2646"/>
                  <a:gd name="T72" fmla="*/ 1302 w 1405"/>
                  <a:gd name="T73" fmla="*/ 4 h 2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5" h="2646">
                    <a:moveTo>
                      <a:pt x="1404" y="0"/>
                    </a:moveTo>
                    <a:lnTo>
                      <a:pt x="1405" y="0"/>
                    </a:lnTo>
                    <a:lnTo>
                      <a:pt x="1300" y="221"/>
                    </a:lnTo>
                    <a:lnTo>
                      <a:pt x="1205" y="233"/>
                    </a:lnTo>
                    <a:lnTo>
                      <a:pt x="1113" y="253"/>
                    </a:lnTo>
                    <a:lnTo>
                      <a:pt x="1024" y="279"/>
                    </a:lnTo>
                    <a:lnTo>
                      <a:pt x="937" y="311"/>
                    </a:lnTo>
                    <a:lnTo>
                      <a:pt x="854" y="351"/>
                    </a:lnTo>
                    <a:lnTo>
                      <a:pt x="775" y="397"/>
                    </a:lnTo>
                    <a:lnTo>
                      <a:pt x="699" y="448"/>
                    </a:lnTo>
                    <a:lnTo>
                      <a:pt x="628" y="505"/>
                    </a:lnTo>
                    <a:lnTo>
                      <a:pt x="562" y="567"/>
                    </a:lnTo>
                    <a:lnTo>
                      <a:pt x="500" y="634"/>
                    </a:lnTo>
                    <a:lnTo>
                      <a:pt x="444" y="706"/>
                    </a:lnTo>
                    <a:lnTo>
                      <a:pt x="393" y="782"/>
                    </a:lnTo>
                    <a:lnTo>
                      <a:pt x="347" y="860"/>
                    </a:lnTo>
                    <a:lnTo>
                      <a:pt x="309" y="944"/>
                    </a:lnTo>
                    <a:lnTo>
                      <a:pt x="276" y="1030"/>
                    </a:lnTo>
                    <a:lnTo>
                      <a:pt x="250" y="1121"/>
                    </a:lnTo>
                    <a:lnTo>
                      <a:pt x="230" y="1212"/>
                    </a:lnTo>
                    <a:lnTo>
                      <a:pt x="220" y="1308"/>
                    </a:lnTo>
                    <a:lnTo>
                      <a:pt x="216" y="1405"/>
                    </a:lnTo>
                    <a:lnTo>
                      <a:pt x="220" y="1499"/>
                    </a:lnTo>
                    <a:lnTo>
                      <a:pt x="230" y="1592"/>
                    </a:lnTo>
                    <a:lnTo>
                      <a:pt x="249" y="1684"/>
                    </a:lnTo>
                    <a:lnTo>
                      <a:pt x="274" y="1772"/>
                    </a:lnTo>
                    <a:lnTo>
                      <a:pt x="305" y="1857"/>
                    </a:lnTo>
                    <a:lnTo>
                      <a:pt x="343" y="1939"/>
                    </a:lnTo>
                    <a:lnTo>
                      <a:pt x="386" y="2018"/>
                    </a:lnTo>
                    <a:lnTo>
                      <a:pt x="436" y="2092"/>
                    </a:lnTo>
                    <a:lnTo>
                      <a:pt x="490" y="2163"/>
                    </a:lnTo>
                    <a:lnTo>
                      <a:pt x="550" y="2230"/>
                    </a:lnTo>
                    <a:lnTo>
                      <a:pt x="614" y="2291"/>
                    </a:lnTo>
                    <a:lnTo>
                      <a:pt x="683" y="2349"/>
                    </a:lnTo>
                    <a:lnTo>
                      <a:pt x="757" y="2400"/>
                    </a:lnTo>
                    <a:lnTo>
                      <a:pt x="833" y="2446"/>
                    </a:lnTo>
                    <a:lnTo>
                      <a:pt x="746" y="2646"/>
                    </a:lnTo>
                    <a:lnTo>
                      <a:pt x="674" y="2604"/>
                    </a:lnTo>
                    <a:lnTo>
                      <a:pt x="605" y="2560"/>
                    </a:lnTo>
                    <a:lnTo>
                      <a:pt x="537" y="2510"/>
                    </a:lnTo>
                    <a:lnTo>
                      <a:pt x="473" y="2455"/>
                    </a:lnTo>
                    <a:lnTo>
                      <a:pt x="411" y="2398"/>
                    </a:lnTo>
                    <a:lnTo>
                      <a:pt x="342" y="2323"/>
                    </a:lnTo>
                    <a:lnTo>
                      <a:pt x="277" y="2244"/>
                    </a:lnTo>
                    <a:lnTo>
                      <a:pt x="221" y="2162"/>
                    </a:lnTo>
                    <a:lnTo>
                      <a:pt x="170" y="2077"/>
                    </a:lnTo>
                    <a:lnTo>
                      <a:pt x="126" y="1988"/>
                    </a:lnTo>
                    <a:lnTo>
                      <a:pt x="88" y="1896"/>
                    </a:lnTo>
                    <a:lnTo>
                      <a:pt x="56" y="1802"/>
                    </a:lnTo>
                    <a:lnTo>
                      <a:pt x="31" y="1705"/>
                    </a:lnTo>
                    <a:lnTo>
                      <a:pt x="14" y="1607"/>
                    </a:lnTo>
                    <a:lnTo>
                      <a:pt x="3" y="1506"/>
                    </a:lnTo>
                    <a:lnTo>
                      <a:pt x="0" y="1405"/>
                    </a:lnTo>
                    <a:lnTo>
                      <a:pt x="3" y="1303"/>
                    </a:lnTo>
                    <a:lnTo>
                      <a:pt x="14" y="1202"/>
                    </a:lnTo>
                    <a:lnTo>
                      <a:pt x="31" y="1104"/>
                    </a:lnTo>
                    <a:lnTo>
                      <a:pt x="56" y="1007"/>
                    </a:lnTo>
                    <a:lnTo>
                      <a:pt x="88" y="913"/>
                    </a:lnTo>
                    <a:lnTo>
                      <a:pt x="126" y="821"/>
                    </a:lnTo>
                    <a:lnTo>
                      <a:pt x="170" y="732"/>
                    </a:lnTo>
                    <a:lnTo>
                      <a:pt x="221" y="647"/>
                    </a:lnTo>
                    <a:lnTo>
                      <a:pt x="277" y="564"/>
                    </a:lnTo>
                    <a:lnTo>
                      <a:pt x="342" y="486"/>
                    </a:lnTo>
                    <a:lnTo>
                      <a:pt x="411" y="411"/>
                    </a:lnTo>
                    <a:lnTo>
                      <a:pt x="486" y="342"/>
                    </a:lnTo>
                    <a:lnTo>
                      <a:pt x="564" y="279"/>
                    </a:lnTo>
                    <a:lnTo>
                      <a:pt x="645" y="221"/>
                    </a:lnTo>
                    <a:lnTo>
                      <a:pt x="732" y="171"/>
                    </a:lnTo>
                    <a:lnTo>
                      <a:pt x="821" y="127"/>
                    </a:lnTo>
                    <a:lnTo>
                      <a:pt x="913" y="88"/>
                    </a:lnTo>
                    <a:lnTo>
                      <a:pt x="1007" y="57"/>
                    </a:lnTo>
                    <a:lnTo>
                      <a:pt x="1102" y="33"/>
                    </a:lnTo>
                    <a:lnTo>
                      <a:pt x="1202" y="14"/>
                    </a:lnTo>
                    <a:lnTo>
                      <a:pt x="1302" y="4"/>
                    </a:lnTo>
                    <a:lnTo>
                      <a:pt x="1404"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Freeform 20">
                <a:extLst>
                  <a:ext uri="{FF2B5EF4-FFF2-40B4-BE49-F238E27FC236}">
                    <a16:creationId xmlns:a16="http://schemas.microsoft.com/office/drawing/2014/main" id="{E4B137F8-9762-AA05-FFE4-6100F3D33179}"/>
                  </a:ext>
                </a:extLst>
              </p:cNvPr>
              <p:cNvSpPr>
                <a:spLocks/>
              </p:cNvSpPr>
              <p:nvPr/>
            </p:nvSpPr>
            <p:spPr bwMode="auto">
              <a:xfrm>
                <a:off x="-7348538" y="1466850"/>
                <a:ext cx="2901950" cy="4140200"/>
              </a:xfrm>
              <a:custGeom>
                <a:avLst/>
                <a:gdLst>
                  <a:gd name="T0" fmla="*/ 1221 w 1828"/>
                  <a:gd name="T1" fmla="*/ 46 h 2608"/>
                  <a:gd name="T2" fmla="*/ 1354 w 1828"/>
                  <a:gd name="T3" fmla="*/ 151 h 2608"/>
                  <a:gd name="T4" fmla="*/ 1487 w 1828"/>
                  <a:gd name="T5" fmla="*/ 285 h 2608"/>
                  <a:gd name="T6" fmla="*/ 1607 w 1828"/>
                  <a:gd name="T7" fmla="*/ 446 h 2608"/>
                  <a:gd name="T8" fmla="*/ 1703 w 1828"/>
                  <a:gd name="T9" fmla="*/ 620 h 2608"/>
                  <a:gd name="T10" fmla="*/ 1772 w 1828"/>
                  <a:gd name="T11" fmla="*/ 806 h 2608"/>
                  <a:gd name="T12" fmla="*/ 1814 w 1828"/>
                  <a:gd name="T13" fmla="*/ 1001 h 2608"/>
                  <a:gd name="T14" fmla="*/ 1828 w 1828"/>
                  <a:gd name="T15" fmla="*/ 1204 h 2608"/>
                  <a:gd name="T16" fmla="*/ 1814 w 1828"/>
                  <a:gd name="T17" fmla="*/ 1406 h 2608"/>
                  <a:gd name="T18" fmla="*/ 1772 w 1828"/>
                  <a:gd name="T19" fmla="*/ 1601 h 2608"/>
                  <a:gd name="T20" fmla="*/ 1703 w 1828"/>
                  <a:gd name="T21" fmla="*/ 1787 h 2608"/>
                  <a:gd name="T22" fmla="*/ 1607 w 1828"/>
                  <a:gd name="T23" fmla="*/ 1961 h 2608"/>
                  <a:gd name="T24" fmla="*/ 1487 w 1828"/>
                  <a:gd name="T25" fmla="*/ 2122 h 2608"/>
                  <a:gd name="T26" fmla="*/ 1343 w 1828"/>
                  <a:gd name="T27" fmla="*/ 2266 h 2608"/>
                  <a:gd name="T28" fmla="*/ 1183 w 1828"/>
                  <a:gd name="T29" fmla="*/ 2386 h 2608"/>
                  <a:gd name="T30" fmla="*/ 1007 w 1828"/>
                  <a:gd name="T31" fmla="*/ 2482 h 2608"/>
                  <a:gd name="T32" fmla="*/ 821 w 1828"/>
                  <a:gd name="T33" fmla="*/ 2551 h 2608"/>
                  <a:gd name="T34" fmla="*/ 626 w 1828"/>
                  <a:gd name="T35" fmla="*/ 2593 h 2608"/>
                  <a:gd name="T36" fmla="*/ 425 w 1828"/>
                  <a:gd name="T37" fmla="*/ 2608 h 2608"/>
                  <a:gd name="T38" fmla="*/ 209 w 1828"/>
                  <a:gd name="T39" fmla="*/ 2591 h 2608"/>
                  <a:gd name="T40" fmla="*/ 0 w 1828"/>
                  <a:gd name="T41" fmla="*/ 2542 h 2608"/>
                  <a:gd name="T42" fmla="*/ 235 w 1828"/>
                  <a:gd name="T43" fmla="*/ 2376 h 2608"/>
                  <a:gd name="T44" fmla="*/ 425 w 1828"/>
                  <a:gd name="T45" fmla="*/ 2392 h 2608"/>
                  <a:gd name="T46" fmla="*/ 617 w 1828"/>
                  <a:gd name="T47" fmla="*/ 2376 h 2608"/>
                  <a:gd name="T48" fmla="*/ 799 w 1828"/>
                  <a:gd name="T49" fmla="*/ 2331 h 2608"/>
                  <a:gd name="T50" fmla="*/ 971 w 1828"/>
                  <a:gd name="T51" fmla="*/ 2259 h 2608"/>
                  <a:gd name="T52" fmla="*/ 1127 w 1828"/>
                  <a:gd name="T53" fmla="*/ 2162 h 2608"/>
                  <a:gd name="T54" fmla="*/ 1264 w 1828"/>
                  <a:gd name="T55" fmla="*/ 2043 h 2608"/>
                  <a:gd name="T56" fmla="*/ 1383 w 1828"/>
                  <a:gd name="T57" fmla="*/ 1904 h 2608"/>
                  <a:gd name="T58" fmla="*/ 1480 w 1828"/>
                  <a:gd name="T59" fmla="*/ 1749 h 2608"/>
                  <a:gd name="T60" fmla="*/ 1552 w 1828"/>
                  <a:gd name="T61" fmla="*/ 1578 h 2608"/>
                  <a:gd name="T62" fmla="*/ 1597 w 1828"/>
                  <a:gd name="T63" fmla="*/ 1396 h 2608"/>
                  <a:gd name="T64" fmla="*/ 1612 w 1828"/>
                  <a:gd name="T65" fmla="*/ 1204 h 2608"/>
                  <a:gd name="T66" fmla="*/ 1597 w 1828"/>
                  <a:gd name="T67" fmla="*/ 1011 h 2608"/>
                  <a:gd name="T68" fmla="*/ 1552 w 1828"/>
                  <a:gd name="T69" fmla="*/ 828 h 2608"/>
                  <a:gd name="T70" fmla="*/ 1480 w 1828"/>
                  <a:gd name="T71" fmla="*/ 658 h 2608"/>
                  <a:gd name="T72" fmla="*/ 1383 w 1828"/>
                  <a:gd name="T73" fmla="*/ 502 h 2608"/>
                  <a:gd name="T74" fmla="*/ 1264 w 1828"/>
                  <a:gd name="T75" fmla="*/ 365 h 2608"/>
                  <a:gd name="T76" fmla="*/ 1127 w 1828"/>
                  <a:gd name="T77" fmla="*/ 245 h 2608"/>
                  <a:gd name="T78" fmla="*/ 1149 w 1828"/>
                  <a:gd name="T79"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8" h="2608">
                    <a:moveTo>
                      <a:pt x="1149" y="0"/>
                    </a:moveTo>
                    <a:lnTo>
                      <a:pt x="1221" y="46"/>
                    </a:lnTo>
                    <a:lnTo>
                      <a:pt x="1289" y="96"/>
                    </a:lnTo>
                    <a:lnTo>
                      <a:pt x="1354" y="151"/>
                    </a:lnTo>
                    <a:lnTo>
                      <a:pt x="1417" y="210"/>
                    </a:lnTo>
                    <a:lnTo>
                      <a:pt x="1487" y="285"/>
                    </a:lnTo>
                    <a:lnTo>
                      <a:pt x="1551" y="363"/>
                    </a:lnTo>
                    <a:lnTo>
                      <a:pt x="1607" y="446"/>
                    </a:lnTo>
                    <a:lnTo>
                      <a:pt x="1658" y="531"/>
                    </a:lnTo>
                    <a:lnTo>
                      <a:pt x="1703" y="620"/>
                    </a:lnTo>
                    <a:lnTo>
                      <a:pt x="1741" y="712"/>
                    </a:lnTo>
                    <a:lnTo>
                      <a:pt x="1772" y="806"/>
                    </a:lnTo>
                    <a:lnTo>
                      <a:pt x="1797" y="903"/>
                    </a:lnTo>
                    <a:lnTo>
                      <a:pt x="1814" y="1001"/>
                    </a:lnTo>
                    <a:lnTo>
                      <a:pt x="1826" y="1102"/>
                    </a:lnTo>
                    <a:lnTo>
                      <a:pt x="1828" y="1204"/>
                    </a:lnTo>
                    <a:lnTo>
                      <a:pt x="1826" y="1305"/>
                    </a:lnTo>
                    <a:lnTo>
                      <a:pt x="1814" y="1406"/>
                    </a:lnTo>
                    <a:lnTo>
                      <a:pt x="1797" y="1504"/>
                    </a:lnTo>
                    <a:lnTo>
                      <a:pt x="1772" y="1601"/>
                    </a:lnTo>
                    <a:lnTo>
                      <a:pt x="1741" y="1695"/>
                    </a:lnTo>
                    <a:lnTo>
                      <a:pt x="1703" y="1787"/>
                    </a:lnTo>
                    <a:lnTo>
                      <a:pt x="1658" y="1876"/>
                    </a:lnTo>
                    <a:lnTo>
                      <a:pt x="1607" y="1961"/>
                    </a:lnTo>
                    <a:lnTo>
                      <a:pt x="1551" y="2043"/>
                    </a:lnTo>
                    <a:lnTo>
                      <a:pt x="1487" y="2122"/>
                    </a:lnTo>
                    <a:lnTo>
                      <a:pt x="1417" y="2197"/>
                    </a:lnTo>
                    <a:lnTo>
                      <a:pt x="1343" y="2266"/>
                    </a:lnTo>
                    <a:lnTo>
                      <a:pt x="1264" y="2329"/>
                    </a:lnTo>
                    <a:lnTo>
                      <a:pt x="1183" y="2386"/>
                    </a:lnTo>
                    <a:lnTo>
                      <a:pt x="1096" y="2437"/>
                    </a:lnTo>
                    <a:lnTo>
                      <a:pt x="1007" y="2482"/>
                    </a:lnTo>
                    <a:lnTo>
                      <a:pt x="916" y="2520"/>
                    </a:lnTo>
                    <a:lnTo>
                      <a:pt x="821" y="2551"/>
                    </a:lnTo>
                    <a:lnTo>
                      <a:pt x="726" y="2576"/>
                    </a:lnTo>
                    <a:lnTo>
                      <a:pt x="626" y="2593"/>
                    </a:lnTo>
                    <a:lnTo>
                      <a:pt x="527" y="2604"/>
                    </a:lnTo>
                    <a:lnTo>
                      <a:pt x="425" y="2608"/>
                    </a:lnTo>
                    <a:lnTo>
                      <a:pt x="316" y="2604"/>
                    </a:lnTo>
                    <a:lnTo>
                      <a:pt x="209" y="2591"/>
                    </a:lnTo>
                    <a:lnTo>
                      <a:pt x="103" y="2571"/>
                    </a:lnTo>
                    <a:lnTo>
                      <a:pt x="0" y="2542"/>
                    </a:lnTo>
                    <a:lnTo>
                      <a:pt x="144" y="2358"/>
                    </a:lnTo>
                    <a:lnTo>
                      <a:pt x="235" y="2376"/>
                    </a:lnTo>
                    <a:lnTo>
                      <a:pt x="329" y="2388"/>
                    </a:lnTo>
                    <a:lnTo>
                      <a:pt x="425" y="2392"/>
                    </a:lnTo>
                    <a:lnTo>
                      <a:pt x="522" y="2388"/>
                    </a:lnTo>
                    <a:lnTo>
                      <a:pt x="617" y="2376"/>
                    </a:lnTo>
                    <a:lnTo>
                      <a:pt x="710" y="2358"/>
                    </a:lnTo>
                    <a:lnTo>
                      <a:pt x="799" y="2331"/>
                    </a:lnTo>
                    <a:lnTo>
                      <a:pt x="887" y="2299"/>
                    </a:lnTo>
                    <a:lnTo>
                      <a:pt x="971" y="2259"/>
                    </a:lnTo>
                    <a:lnTo>
                      <a:pt x="1051" y="2214"/>
                    </a:lnTo>
                    <a:lnTo>
                      <a:pt x="1127" y="2162"/>
                    </a:lnTo>
                    <a:lnTo>
                      <a:pt x="1197" y="2105"/>
                    </a:lnTo>
                    <a:lnTo>
                      <a:pt x="1264" y="2043"/>
                    </a:lnTo>
                    <a:lnTo>
                      <a:pt x="1327" y="1977"/>
                    </a:lnTo>
                    <a:lnTo>
                      <a:pt x="1383" y="1904"/>
                    </a:lnTo>
                    <a:lnTo>
                      <a:pt x="1434" y="1829"/>
                    </a:lnTo>
                    <a:lnTo>
                      <a:pt x="1480" y="1749"/>
                    </a:lnTo>
                    <a:lnTo>
                      <a:pt x="1519" y="1665"/>
                    </a:lnTo>
                    <a:lnTo>
                      <a:pt x="1552" y="1578"/>
                    </a:lnTo>
                    <a:lnTo>
                      <a:pt x="1578" y="1488"/>
                    </a:lnTo>
                    <a:lnTo>
                      <a:pt x="1597" y="1396"/>
                    </a:lnTo>
                    <a:lnTo>
                      <a:pt x="1608" y="1301"/>
                    </a:lnTo>
                    <a:lnTo>
                      <a:pt x="1612" y="1204"/>
                    </a:lnTo>
                    <a:lnTo>
                      <a:pt x="1608" y="1106"/>
                    </a:lnTo>
                    <a:lnTo>
                      <a:pt x="1597" y="1011"/>
                    </a:lnTo>
                    <a:lnTo>
                      <a:pt x="1578" y="918"/>
                    </a:lnTo>
                    <a:lnTo>
                      <a:pt x="1552" y="828"/>
                    </a:lnTo>
                    <a:lnTo>
                      <a:pt x="1519" y="742"/>
                    </a:lnTo>
                    <a:lnTo>
                      <a:pt x="1480" y="658"/>
                    </a:lnTo>
                    <a:lnTo>
                      <a:pt x="1434" y="578"/>
                    </a:lnTo>
                    <a:lnTo>
                      <a:pt x="1383" y="502"/>
                    </a:lnTo>
                    <a:lnTo>
                      <a:pt x="1327" y="431"/>
                    </a:lnTo>
                    <a:lnTo>
                      <a:pt x="1264" y="365"/>
                    </a:lnTo>
                    <a:lnTo>
                      <a:pt x="1197" y="302"/>
                    </a:lnTo>
                    <a:lnTo>
                      <a:pt x="1127" y="245"/>
                    </a:lnTo>
                    <a:lnTo>
                      <a:pt x="1051" y="194"/>
                    </a:lnTo>
                    <a:lnTo>
                      <a:pt x="1149"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Freeform 21">
                <a:extLst>
                  <a:ext uri="{FF2B5EF4-FFF2-40B4-BE49-F238E27FC236}">
                    <a16:creationId xmlns:a16="http://schemas.microsoft.com/office/drawing/2014/main" id="{98FD07A9-9627-A2D6-8210-5A2B6EA43382}"/>
                  </a:ext>
                </a:extLst>
              </p:cNvPr>
              <p:cNvSpPr>
                <a:spLocks/>
              </p:cNvSpPr>
              <p:nvPr/>
            </p:nvSpPr>
            <p:spPr bwMode="auto">
              <a:xfrm>
                <a:off x="-7781926" y="1020763"/>
                <a:ext cx="2484438" cy="4814888"/>
              </a:xfrm>
              <a:custGeom>
                <a:avLst/>
                <a:gdLst>
                  <a:gd name="T0" fmla="*/ 834 w 1565"/>
                  <a:gd name="T1" fmla="*/ 0 h 3033"/>
                  <a:gd name="T2" fmla="*/ 1468 w 1565"/>
                  <a:gd name="T3" fmla="*/ 1 h 3033"/>
                  <a:gd name="T4" fmla="*/ 944 w 1565"/>
                  <a:gd name="T5" fmla="*/ 1031 h 3033"/>
                  <a:gd name="T6" fmla="*/ 1565 w 1565"/>
                  <a:gd name="T7" fmla="*/ 1028 h 3033"/>
                  <a:gd name="T8" fmla="*/ 0 w 1565"/>
                  <a:gd name="T9" fmla="*/ 3033 h 3033"/>
                  <a:gd name="T10" fmla="*/ 674 w 1565"/>
                  <a:gd name="T11" fmla="*/ 1491 h 3033"/>
                  <a:gd name="T12" fmla="*/ 119 w 1565"/>
                  <a:gd name="T13" fmla="*/ 1495 h 3033"/>
                  <a:gd name="T14" fmla="*/ 834 w 1565"/>
                  <a:gd name="T15" fmla="*/ 0 h 3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5" h="3033">
                    <a:moveTo>
                      <a:pt x="834" y="0"/>
                    </a:moveTo>
                    <a:lnTo>
                      <a:pt x="1468" y="1"/>
                    </a:lnTo>
                    <a:lnTo>
                      <a:pt x="944" y="1031"/>
                    </a:lnTo>
                    <a:lnTo>
                      <a:pt x="1565" y="1028"/>
                    </a:lnTo>
                    <a:lnTo>
                      <a:pt x="0" y="3033"/>
                    </a:lnTo>
                    <a:lnTo>
                      <a:pt x="674" y="1491"/>
                    </a:lnTo>
                    <a:lnTo>
                      <a:pt x="119" y="1495"/>
                    </a:lnTo>
                    <a:lnTo>
                      <a:pt x="834"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grpSp>
      </p:grpSp>
      <p:graphicFrame>
        <p:nvGraphicFramePr>
          <p:cNvPr id="4" name="Chart 3">
            <a:extLst>
              <a:ext uri="{FF2B5EF4-FFF2-40B4-BE49-F238E27FC236}">
                <a16:creationId xmlns:a16="http://schemas.microsoft.com/office/drawing/2014/main" id="{0623DA7F-1260-EC98-C6B9-5E4BA1AD6D08}"/>
              </a:ext>
            </a:extLst>
          </p:cNvPr>
          <p:cNvGraphicFramePr/>
          <p:nvPr/>
        </p:nvGraphicFramePr>
        <p:xfrm>
          <a:off x="1219689" y="1407789"/>
          <a:ext cx="10074692" cy="5547219"/>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F2F75D4F-24D3-B118-83CD-04770972B335}"/>
              </a:ext>
            </a:extLst>
          </p:cNvPr>
          <p:cNvSpPr txBox="1"/>
          <p:nvPr/>
        </p:nvSpPr>
        <p:spPr>
          <a:xfrm>
            <a:off x="10679629" y="6473517"/>
            <a:ext cx="1229504" cy="153888"/>
          </a:xfrm>
          <a:prstGeom prst="rect">
            <a:avLst/>
          </a:prstGeom>
          <a:noFill/>
        </p:spPr>
        <p:txBody>
          <a:bodyPr wrap="square" lIns="0" tIns="0" rIns="0" bIns="0" rtlCol="0" anchor="b">
            <a:spAutoFit/>
          </a:bodyPr>
          <a:lstStyle/>
          <a:p>
            <a:pPr algn="r" defTabSz="835867"/>
            <a:r>
              <a:rPr lang="en-US" sz="1000" dirty="0">
                <a:solidFill>
                  <a:schemeClr val="tx2"/>
                </a:solidFill>
                <a:latin typeface="Calibri"/>
                <a:cs typeface="Calibri" panose="020F0502020204030204" pitchFamily="34" charset="0"/>
              </a:rPr>
              <a:t>Source: Frost &amp; Sullivan</a:t>
            </a:r>
          </a:p>
        </p:txBody>
      </p:sp>
    </p:spTree>
    <p:extLst>
      <p:ext uri="{BB962C8B-B14F-4D97-AF65-F5344CB8AC3E}">
        <p14:creationId xmlns:p14="http://schemas.microsoft.com/office/powerpoint/2010/main" val="378683800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6" descr="Xandr | Make Advertising Better"/>
          <p:cNvSpPr>
            <a:spLocks noChangeAspect="1" noChangeArrowheads="1"/>
          </p:cNvSpPr>
          <p:nvPr/>
        </p:nvSpPr>
        <p:spPr bwMode="auto">
          <a:xfrm>
            <a:off x="-1995671" y="6003513"/>
            <a:ext cx="312535" cy="2856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0543" tIns="45276" rIns="90543" bIns="45276" numCol="1" anchor="t" anchorCtr="0" compatLnSpc="1">
            <a:prstTxWarp prst="textNoShape">
              <a:avLst/>
            </a:prstTxWarp>
          </a:bodyPr>
          <a:lstStyle/>
          <a:p>
            <a:pPr marL="0" marR="0" lvl="0" indent="0" algn="l" defTabSz="108655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a:ea typeface="+mn-ea"/>
              <a:cs typeface="+mn-cs"/>
            </a:endParaRPr>
          </a:p>
        </p:txBody>
      </p:sp>
      <p:sp>
        <p:nvSpPr>
          <p:cNvPr id="4" name="AutoShape 8" descr="Xandr | Make Advertising Better"/>
          <p:cNvSpPr>
            <a:spLocks noChangeAspect="1" noChangeArrowheads="1"/>
          </p:cNvSpPr>
          <p:nvPr/>
        </p:nvSpPr>
        <p:spPr bwMode="auto">
          <a:xfrm>
            <a:off x="-1839405" y="6146346"/>
            <a:ext cx="312535" cy="2856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0543" tIns="45276" rIns="90543" bIns="45276" numCol="1" anchor="t" anchorCtr="0" compatLnSpc="1">
            <a:prstTxWarp prst="textNoShape">
              <a:avLst/>
            </a:prstTxWarp>
          </a:bodyPr>
          <a:lstStyle/>
          <a:p>
            <a:pPr marL="0" marR="0" lvl="0" indent="0" algn="l" defTabSz="108655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a:ea typeface="+mn-ea"/>
              <a:cs typeface="+mn-cs"/>
            </a:endParaRPr>
          </a:p>
        </p:txBody>
      </p:sp>
      <p:sp>
        <p:nvSpPr>
          <p:cNvPr id="24" name="Title 7"/>
          <p:cNvSpPr txBox="1">
            <a:spLocks/>
          </p:cNvSpPr>
          <p:nvPr/>
        </p:nvSpPr>
        <p:spPr>
          <a:xfrm>
            <a:off x="281579" y="201116"/>
            <a:ext cx="11630497" cy="865684"/>
          </a:xfrm>
          <a:prstGeom prst="rect">
            <a:avLst/>
          </a:prstGeom>
        </p:spPr>
        <p:txBody>
          <a:bodyPr vert="horz" lIns="90548" tIns="45279" rIns="90548" bIns="45279" rtlCol="0" anchor="ctr">
            <a:normAutofit/>
          </a:bodyPr>
          <a:lstStyle>
            <a:lvl1pPr algn="l" defTabSz="815174" rtl="0" eaLnBrk="1" latinLnBrk="0" hangingPunct="1">
              <a:spcBef>
                <a:spcPct val="0"/>
              </a:spcBef>
              <a:buNone/>
              <a:defRPr sz="2100" b="1" kern="1200" cap="all" baseline="0">
                <a:solidFill>
                  <a:srgbClr val="17426B"/>
                </a:solidFill>
                <a:latin typeface="+mj-lt"/>
                <a:ea typeface="+mj-ea"/>
                <a:cs typeface="+mj-cs"/>
              </a:defRPr>
            </a:lvl1pPr>
          </a:lstStyle>
          <a:p>
            <a:pPr marL="0" marR="0" lvl="0" indent="0" algn="l" defTabSz="815174" rtl="0" eaLnBrk="1" fontAlgn="auto" latinLnBrk="0" hangingPunct="1">
              <a:lnSpc>
                <a:spcPct val="100000"/>
              </a:lnSpc>
              <a:spcBef>
                <a:spcPct val="0"/>
              </a:spcBef>
              <a:spcAft>
                <a:spcPts val="0"/>
              </a:spcAft>
              <a:buClrTx/>
              <a:buSzTx/>
              <a:buFontTx/>
              <a:buNone/>
              <a:tabLst/>
              <a:defRPr/>
            </a:pPr>
            <a:endParaRPr kumimoji="0" lang="en-US" sz="2000" b="0" i="0" u="none" strike="noStrike" kern="1200" cap="all" spc="0" normalizeH="0" baseline="0" noProof="0" dirty="0">
              <a:ln>
                <a:noFill/>
              </a:ln>
              <a:solidFill>
                <a:srgbClr val="17426B"/>
              </a:solidFill>
              <a:effectLst/>
              <a:uLnTx/>
              <a:uFillTx/>
              <a:latin typeface="Calibri"/>
              <a:ea typeface="+mj-ea"/>
              <a:cs typeface="+mj-cs"/>
            </a:endParaRPr>
          </a:p>
        </p:txBody>
      </p:sp>
      <p:sp>
        <p:nvSpPr>
          <p:cNvPr id="28" name="AutoShape 8" descr="Xandr | Make Advertising Better"/>
          <p:cNvSpPr>
            <a:spLocks noChangeAspect="1" noChangeArrowheads="1"/>
          </p:cNvSpPr>
          <p:nvPr/>
        </p:nvSpPr>
        <p:spPr bwMode="auto">
          <a:xfrm>
            <a:off x="473644" y="151199"/>
            <a:ext cx="312535" cy="2856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0543" tIns="45276" rIns="90543" bIns="45276" numCol="1" anchor="t" anchorCtr="0" compatLnSpc="1">
            <a:prstTxWarp prst="textNoShape">
              <a:avLst/>
            </a:prstTxWarp>
          </a:bodyPr>
          <a:lstStyle/>
          <a:p>
            <a:pPr marL="0" marR="0" lvl="0" indent="0" algn="l" defTabSz="1086558"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a:ln>
                <a:noFill/>
              </a:ln>
              <a:solidFill>
                <a:srgbClr val="000000"/>
              </a:solidFill>
              <a:effectLst/>
              <a:uLnTx/>
              <a:uFillTx/>
              <a:latin typeface="Calibri"/>
              <a:ea typeface="+mn-ea"/>
              <a:cs typeface="+mn-cs"/>
            </a:endParaRPr>
          </a:p>
        </p:txBody>
      </p:sp>
      <p:graphicFrame>
        <p:nvGraphicFramePr>
          <p:cNvPr id="48" name="Chart 47">
            <a:extLst>
              <a:ext uri="{FF2B5EF4-FFF2-40B4-BE49-F238E27FC236}">
                <a16:creationId xmlns:a16="http://schemas.microsoft.com/office/drawing/2014/main" id="{D98BFF75-111D-DA40-9409-613023525C63}"/>
              </a:ext>
            </a:extLst>
          </p:cNvPr>
          <p:cNvGraphicFramePr/>
          <p:nvPr/>
        </p:nvGraphicFramePr>
        <p:xfrm>
          <a:off x="648589" y="1688043"/>
          <a:ext cx="10894825" cy="5169958"/>
        </p:xfrm>
        <a:graphic>
          <a:graphicData uri="http://schemas.openxmlformats.org/drawingml/2006/chart">
            <c:chart xmlns:c="http://schemas.openxmlformats.org/drawingml/2006/chart" xmlns:r="http://schemas.openxmlformats.org/officeDocument/2006/relationships" r:id="rId3"/>
          </a:graphicData>
        </a:graphic>
      </p:graphicFrame>
      <p:sp>
        <p:nvSpPr>
          <p:cNvPr id="49" name="TextBox 48"/>
          <p:cNvSpPr txBox="1"/>
          <p:nvPr/>
        </p:nvSpPr>
        <p:spPr>
          <a:xfrm>
            <a:off x="606406" y="1503376"/>
            <a:ext cx="10979188" cy="184666"/>
          </a:xfrm>
          <a:prstGeom prst="rect">
            <a:avLst/>
          </a:prstGeom>
        </p:spPr>
        <p:txBody>
          <a:bodyPr wrap="square" lIns="0" tIns="0" rIns="0" bIns="0">
            <a:spAutoFit/>
          </a:bodyPr>
          <a:lstStyle>
            <a:defPPr>
              <a:defRPr lang="en-US"/>
            </a:defPPr>
            <a:lvl1pPr algn="ctr" defTabSz="914400">
              <a:buSzPct val="75000"/>
              <a:defRPr sz="1400" b="1" kern="0">
                <a:solidFill>
                  <a:srgbClr val="17426B"/>
                </a:solidFill>
                <a:cs typeface="Arial" charset="0"/>
              </a:defRPr>
            </a:lvl1pPr>
          </a:lstStyle>
          <a:p>
            <a:pPr marL="0" marR="0" lvl="0" indent="0" algn="ctr" defTabSz="914400" rtl="0" eaLnBrk="1" fontAlgn="auto" latinLnBrk="0" hangingPunct="1">
              <a:lnSpc>
                <a:spcPct val="100000"/>
              </a:lnSpc>
              <a:spcBef>
                <a:spcPts val="0"/>
              </a:spcBef>
              <a:spcAft>
                <a:spcPts val="0"/>
              </a:spcAft>
              <a:buClrTx/>
              <a:buSzPct val="75000"/>
              <a:buFontTx/>
              <a:buNone/>
              <a:tabLst/>
              <a:defRPr/>
            </a:pPr>
            <a:r>
              <a:rPr kumimoji="0" lang="en-US" sz="1200" b="1" i="0" u="none" strike="noStrike" kern="0" cap="none" spc="0" normalizeH="0" baseline="0" noProof="0" dirty="0">
                <a:ln>
                  <a:noFill/>
                </a:ln>
                <a:solidFill>
                  <a:srgbClr val="172D55"/>
                </a:solidFill>
                <a:effectLst/>
                <a:uLnTx/>
                <a:uFillTx/>
                <a:latin typeface="Calibri"/>
                <a:ea typeface="+mn-ea"/>
                <a:cs typeface="Arial" charset="0"/>
              </a:rPr>
              <a:t>Residential Battery Energy Storage: System Installations Forecast, North America, 2020–2030</a:t>
            </a:r>
          </a:p>
        </p:txBody>
      </p:sp>
      <p:sp>
        <p:nvSpPr>
          <p:cNvPr id="51" name="TextBox 50"/>
          <p:cNvSpPr txBox="1"/>
          <p:nvPr/>
        </p:nvSpPr>
        <p:spPr>
          <a:xfrm rot="16200000">
            <a:off x="369258" y="3290501"/>
            <a:ext cx="2111348"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17426B"/>
                </a:solidFill>
                <a:effectLst/>
                <a:uLnTx/>
                <a:uFillTx/>
                <a:latin typeface="Calibri"/>
                <a:ea typeface="+mn-ea"/>
                <a:cs typeface="+mn-cs"/>
              </a:rPr>
              <a:t>System Installations (’000s)</a:t>
            </a:r>
          </a:p>
        </p:txBody>
      </p:sp>
      <p:sp>
        <p:nvSpPr>
          <p:cNvPr id="6" name="Title 5">
            <a:extLst>
              <a:ext uri="{FF2B5EF4-FFF2-40B4-BE49-F238E27FC236}">
                <a16:creationId xmlns:a16="http://schemas.microsoft.com/office/drawing/2014/main" id="{65469660-BAA7-A863-CC0B-8C16B12F99CC}"/>
              </a:ext>
            </a:extLst>
          </p:cNvPr>
          <p:cNvSpPr>
            <a:spLocks noGrp="1"/>
          </p:cNvSpPr>
          <p:nvPr>
            <p:ph type="title"/>
          </p:nvPr>
        </p:nvSpPr>
        <p:spPr/>
        <p:txBody>
          <a:bodyPr/>
          <a:lstStyle/>
          <a:p>
            <a:r>
              <a:rPr lang="en-US" dirty="0"/>
              <a:t>North American residential BESS market forecasts</a:t>
            </a:r>
          </a:p>
        </p:txBody>
      </p:sp>
      <p:sp>
        <p:nvSpPr>
          <p:cNvPr id="8" name="TextBox 7">
            <a:extLst>
              <a:ext uri="{FF2B5EF4-FFF2-40B4-BE49-F238E27FC236}">
                <a16:creationId xmlns:a16="http://schemas.microsoft.com/office/drawing/2014/main" id="{20FDCD44-C22F-0940-B6E9-A23B641AB253}"/>
              </a:ext>
            </a:extLst>
          </p:cNvPr>
          <p:cNvSpPr txBox="1"/>
          <p:nvPr/>
        </p:nvSpPr>
        <p:spPr>
          <a:xfrm>
            <a:off x="10679629" y="6473517"/>
            <a:ext cx="1229504" cy="153888"/>
          </a:xfrm>
          <a:prstGeom prst="rect">
            <a:avLst/>
          </a:prstGeom>
          <a:noFill/>
        </p:spPr>
        <p:txBody>
          <a:bodyPr wrap="square" lIns="0" tIns="0" rIns="0" bIns="0" rtlCol="0" anchor="b">
            <a:spAutoFit/>
          </a:bodyPr>
          <a:lstStyle/>
          <a:p>
            <a:pPr marL="0" marR="0" lvl="0" indent="0" algn="r" defTabSz="8358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7426B"/>
                </a:solidFill>
                <a:effectLst/>
                <a:uLnTx/>
                <a:uFillTx/>
                <a:latin typeface="Calibri"/>
                <a:ea typeface="+mn-ea"/>
                <a:cs typeface="Calibri" panose="020F0502020204030204" pitchFamily="34" charset="0"/>
              </a:rPr>
              <a:t>Source: Frost &amp; Sullivan</a:t>
            </a:r>
          </a:p>
        </p:txBody>
      </p:sp>
      <p:sp>
        <p:nvSpPr>
          <p:cNvPr id="10" name="Rectangle: Rounded Corners 9">
            <a:extLst>
              <a:ext uri="{FF2B5EF4-FFF2-40B4-BE49-F238E27FC236}">
                <a16:creationId xmlns:a16="http://schemas.microsoft.com/office/drawing/2014/main" id="{6D67C614-0794-C634-7129-B52C5B74B94A}"/>
              </a:ext>
            </a:extLst>
          </p:cNvPr>
          <p:cNvSpPr>
            <a:spLocks/>
          </p:cNvSpPr>
          <p:nvPr/>
        </p:nvSpPr>
        <p:spPr>
          <a:xfrm flipH="1">
            <a:off x="280416" y="771846"/>
            <a:ext cx="11631168" cy="64293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224" marR="0" lvl="0" indent="0" algn="l" defTabSz="857228"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8E2C2479-5A04-5E8E-CDE8-1F07BB5B24C1}"/>
              </a:ext>
            </a:extLst>
          </p:cNvPr>
          <p:cNvSpPr/>
          <p:nvPr/>
        </p:nvSpPr>
        <p:spPr>
          <a:xfrm>
            <a:off x="1119061" y="847096"/>
            <a:ext cx="10656276" cy="492443"/>
          </a:xfrm>
          <a:prstGeom prst="rect">
            <a:avLst/>
          </a:prstGeom>
        </p:spPr>
        <p:txBody>
          <a:bodyPr wrap="square" lIns="0" tIns="0" rIns="0" bIns="0" anchor="ctr">
            <a:spAutoFit/>
          </a:bodyPr>
          <a:lstStyle/>
          <a:p>
            <a:pPr marL="0" marR="0" lvl="0" indent="0" algn="l" defTabSz="8358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Inflation Reduction Act could see forecasts revised higher in the longer-term, but market highly dependent on supportive incentives and policies</a:t>
            </a:r>
            <a:endParaRPr kumimoji="0" lang="en-US"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Oval 11">
            <a:extLst>
              <a:ext uri="{FF2B5EF4-FFF2-40B4-BE49-F238E27FC236}">
                <a16:creationId xmlns:a16="http://schemas.microsoft.com/office/drawing/2014/main" id="{695B7D8C-7DC8-EDC1-B586-B9CB1677B17A}"/>
              </a:ext>
            </a:extLst>
          </p:cNvPr>
          <p:cNvSpPr/>
          <p:nvPr/>
        </p:nvSpPr>
        <p:spPr>
          <a:xfrm>
            <a:off x="416665" y="810242"/>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Rectangle 12">
            <a:extLst>
              <a:ext uri="{FF2B5EF4-FFF2-40B4-BE49-F238E27FC236}">
                <a16:creationId xmlns:a16="http://schemas.microsoft.com/office/drawing/2014/main" id="{5085CFA2-F140-B9E7-C0F4-408607A846B5}"/>
              </a:ext>
            </a:extLst>
          </p:cNvPr>
          <p:cNvSpPr/>
          <p:nvPr/>
        </p:nvSpPr>
        <p:spPr>
          <a:xfrm>
            <a:off x="280417" y="1071885"/>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4" name="Group 33"/>
          <p:cNvGrpSpPr/>
          <p:nvPr/>
        </p:nvGrpSpPr>
        <p:grpSpPr>
          <a:xfrm>
            <a:off x="501636" y="940273"/>
            <a:ext cx="396204" cy="306084"/>
            <a:chOff x="-1346200" y="3205163"/>
            <a:chExt cx="1095375" cy="830262"/>
          </a:xfrm>
          <a:solidFill>
            <a:schemeClr val="bg1"/>
          </a:solidFill>
        </p:grpSpPr>
        <p:sp>
          <p:nvSpPr>
            <p:cNvPr id="35" name="Freeform 42"/>
            <p:cNvSpPr>
              <a:spLocks noEditPoints="1"/>
            </p:cNvSpPr>
            <p:nvPr/>
          </p:nvSpPr>
          <p:spPr bwMode="auto">
            <a:xfrm>
              <a:off x="-1346200" y="3205163"/>
              <a:ext cx="1095375" cy="787400"/>
            </a:xfrm>
            <a:custGeom>
              <a:avLst/>
              <a:gdLst>
                <a:gd name="T0" fmla="*/ 427 w 819"/>
                <a:gd name="T1" fmla="*/ 1 h 588"/>
                <a:gd name="T2" fmla="*/ 639 w 819"/>
                <a:gd name="T3" fmla="*/ 1 h 588"/>
                <a:gd name="T4" fmla="*/ 687 w 819"/>
                <a:gd name="T5" fmla="*/ 34 h 588"/>
                <a:gd name="T6" fmla="*/ 811 w 819"/>
                <a:gd name="T7" fmla="*/ 384 h 588"/>
                <a:gd name="T8" fmla="*/ 791 w 819"/>
                <a:gd name="T9" fmla="*/ 415 h 588"/>
                <a:gd name="T10" fmla="*/ 721 w 819"/>
                <a:gd name="T11" fmla="*/ 416 h 588"/>
                <a:gd name="T12" fmla="*/ 455 w 819"/>
                <a:gd name="T13" fmla="*/ 415 h 588"/>
                <a:gd name="T14" fmla="*/ 436 w 819"/>
                <a:gd name="T15" fmla="*/ 435 h 588"/>
                <a:gd name="T16" fmla="*/ 436 w 819"/>
                <a:gd name="T17" fmla="*/ 515 h 588"/>
                <a:gd name="T18" fmla="*/ 454 w 819"/>
                <a:gd name="T19" fmla="*/ 533 h 588"/>
                <a:gd name="T20" fmla="*/ 498 w 819"/>
                <a:gd name="T21" fmla="*/ 532 h 588"/>
                <a:gd name="T22" fmla="*/ 515 w 819"/>
                <a:gd name="T23" fmla="*/ 551 h 588"/>
                <a:gd name="T24" fmla="*/ 479 w 819"/>
                <a:gd name="T25" fmla="*/ 588 h 588"/>
                <a:gd name="T26" fmla="*/ 223 w 819"/>
                <a:gd name="T27" fmla="*/ 588 h 588"/>
                <a:gd name="T28" fmla="*/ 203 w 819"/>
                <a:gd name="T29" fmla="*/ 568 h 588"/>
                <a:gd name="T30" fmla="*/ 238 w 819"/>
                <a:gd name="T31" fmla="*/ 533 h 588"/>
                <a:gd name="T32" fmla="*/ 372 w 819"/>
                <a:gd name="T33" fmla="*/ 533 h 588"/>
                <a:gd name="T34" fmla="*/ 388 w 819"/>
                <a:gd name="T35" fmla="*/ 517 h 588"/>
                <a:gd name="T36" fmla="*/ 388 w 819"/>
                <a:gd name="T37" fmla="*/ 433 h 588"/>
                <a:gd name="T38" fmla="*/ 369 w 819"/>
                <a:gd name="T39" fmla="*/ 416 h 588"/>
                <a:gd name="T40" fmla="*/ 59 w 819"/>
                <a:gd name="T41" fmla="*/ 416 h 588"/>
                <a:gd name="T42" fmla="*/ 22 w 819"/>
                <a:gd name="T43" fmla="*/ 363 h 588"/>
                <a:gd name="T44" fmla="*/ 162 w 819"/>
                <a:gd name="T45" fmla="*/ 34 h 588"/>
                <a:gd name="T46" fmla="*/ 213 w 819"/>
                <a:gd name="T47" fmla="*/ 0 h 588"/>
                <a:gd name="T48" fmla="*/ 427 w 819"/>
                <a:gd name="T49" fmla="*/ 0 h 588"/>
                <a:gd name="T50" fmla="*/ 427 w 819"/>
                <a:gd name="T51" fmla="*/ 1 h 588"/>
                <a:gd name="T52" fmla="*/ 412 w 819"/>
                <a:gd name="T53" fmla="*/ 401 h 588"/>
                <a:gd name="T54" fmla="*/ 738 w 819"/>
                <a:gd name="T55" fmla="*/ 401 h 588"/>
                <a:gd name="T56" fmla="*/ 766 w 819"/>
                <a:gd name="T57" fmla="*/ 399 h 588"/>
                <a:gd name="T58" fmla="*/ 780 w 819"/>
                <a:gd name="T59" fmla="*/ 376 h 588"/>
                <a:gd name="T60" fmla="*/ 671 w 819"/>
                <a:gd name="T61" fmla="*/ 43 h 588"/>
                <a:gd name="T62" fmla="*/ 633 w 819"/>
                <a:gd name="T63" fmla="*/ 15 h 588"/>
                <a:gd name="T64" fmla="*/ 219 w 819"/>
                <a:gd name="T65" fmla="*/ 15 h 588"/>
                <a:gd name="T66" fmla="*/ 177 w 819"/>
                <a:gd name="T67" fmla="*/ 44 h 588"/>
                <a:gd name="T68" fmla="*/ 52 w 819"/>
                <a:gd name="T69" fmla="*/ 357 h 588"/>
                <a:gd name="T70" fmla="*/ 82 w 819"/>
                <a:gd name="T71" fmla="*/ 401 h 588"/>
                <a:gd name="T72" fmla="*/ 412 w 819"/>
                <a:gd name="T73" fmla="*/ 401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19" h="588">
                  <a:moveTo>
                    <a:pt x="427" y="1"/>
                  </a:moveTo>
                  <a:cubicBezTo>
                    <a:pt x="498" y="1"/>
                    <a:pt x="568" y="1"/>
                    <a:pt x="639" y="1"/>
                  </a:cubicBezTo>
                  <a:cubicBezTo>
                    <a:pt x="672" y="1"/>
                    <a:pt x="676" y="4"/>
                    <a:pt x="687" y="34"/>
                  </a:cubicBezTo>
                  <a:cubicBezTo>
                    <a:pt x="728" y="151"/>
                    <a:pt x="770" y="267"/>
                    <a:pt x="811" y="384"/>
                  </a:cubicBezTo>
                  <a:cubicBezTo>
                    <a:pt x="819" y="406"/>
                    <a:pt x="815" y="414"/>
                    <a:pt x="791" y="415"/>
                  </a:cubicBezTo>
                  <a:cubicBezTo>
                    <a:pt x="768" y="417"/>
                    <a:pt x="744" y="416"/>
                    <a:pt x="721" y="416"/>
                  </a:cubicBezTo>
                  <a:cubicBezTo>
                    <a:pt x="633" y="416"/>
                    <a:pt x="544" y="416"/>
                    <a:pt x="455" y="415"/>
                  </a:cubicBezTo>
                  <a:cubicBezTo>
                    <a:pt x="440" y="415"/>
                    <a:pt x="435" y="420"/>
                    <a:pt x="436" y="435"/>
                  </a:cubicBezTo>
                  <a:cubicBezTo>
                    <a:pt x="437" y="461"/>
                    <a:pt x="437" y="488"/>
                    <a:pt x="436" y="515"/>
                  </a:cubicBezTo>
                  <a:cubicBezTo>
                    <a:pt x="436" y="528"/>
                    <a:pt x="439" y="534"/>
                    <a:pt x="454" y="533"/>
                  </a:cubicBezTo>
                  <a:cubicBezTo>
                    <a:pt x="468" y="532"/>
                    <a:pt x="483" y="534"/>
                    <a:pt x="498" y="532"/>
                  </a:cubicBezTo>
                  <a:cubicBezTo>
                    <a:pt x="512" y="531"/>
                    <a:pt x="515" y="537"/>
                    <a:pt x="515" y="551"/>
                  </a:cubicBezTo>
                  <a:cubicBezTo>
                    <a:pt x="515" y="588"/>
                    <a:pt x="516" y="588"/>
                    <a:pt x="479" y="588"/>
                  </a:cubicBezTo>
                  <a:cubicBezTo>
                    <a:pt x="393" y="588"/>
                    <a:pt x="308" y="587"/>
                    <a:pt x="223" y="588"/>
                  </a:cubicBezTo>
                  <a:cubicBezTo>
                    <a:pt x="206" y="588"/>
                    <a:pt x="202" y="583"/>
                    <a:pt x="203" y="568"/>
                  </a:cubicBezTo>
                  <a:cubicBezTo>
                    <a:pt x="204" y="527"/>
                    <a:pt x="198" y="533"/>
                    <a:pt x="238" y="533"/>
                  </a:cubicBezTo>
                  <a:cubicBezTo>
                    <a:pt x="283" y="532"/>
                    <a:pt x="327" y="532"/>
                    <a:pt x="372" y="533"/>
                  </a:cubicBezTo>
                  <a:cubicBezTo>
                    <a:pt x="384" y="533"/>
                    <a:pt x="388" y="529"/>
                    <a:pt x="388" y="517"/>
                  </a:cubicBezTo>
                  <a:cubicBezTo>
                    <a:pt x="387" y="489"/>
                    <a:pt x="387" y="461"/>
                    <a:pt x="388" y="433"/>
                  </a:cubicBezTo>
                  <a:cubicBezTo>
                    <a:pt x="389" y="418"/>
                    <a:pt x="382" y="416"/>
                    <a:pt x="369" y="416"/>
                  </a:cubicBezTo>
                  <a:cubicBezTo>
                    <a:pt x="266" y="416"/>
                    <a:pt x="162" y="416"/>
                    <a:pt x="59" y="416"/>
                  </a:cubicBezTo>
                  <a:cubicBezTo>
                    <a:pt x="5" y="416"/>
                    <a:pt x="0" y="413"/>
                    <a:pt x="22" y="363"/>
                  </a:cubicBezTo>
                  <a:cubicBezTo>
                    <a:pt x="70" y="254"/>
                    <a:pt x="116" y="144"/>
                    <a:pt x="162" y="34"/>
                  </a:cubicBezTo>
                  <a:cubicBezTo>
                    <a:pt x="172" y="9"/>
                    <a:pt x="187" y="0"/>
                    <a:pt x="213" y="0"/>
                  </a:cubicBezTo>
                  <a:cubicBezTo>
                    <a:pt x="284" y="1"/>
                    <a:pt x="356" y="0"/>
                    <a:pt x="427" y="0"/>
                  </a:cubicBezTo>
                  <a:cubicBezTo>
                    <a:pt x="427" y="0"/>
                    <a:pt x="427" y="1"/>
                    <a:pt x="427" y="1"/>
                  </a:cubicBezTo>
                  <a:close/>
                  <a:moveTo>
                    <a:pt x="412" y="401"/>
                  </a:moveTo>
                  <a:cubicBezTo>
                    <a:pt x="520" y="401"/>
                    <a:pt x="629" y="401"/>
                    <a:pt x="738" y="401"/>
                  </a:cubicBezTo>
                  <a:cubicBezTo>
                    <a:pt x="747" y="401"/>
                    <a:pt x="756" y="401"/>
                    <a:pt x="766" y="399"/>
                  </a:cubicBezTo>
                  <a:cubicBezTo>
                    <a:pt x="779" y="397"/>
                    <a:pt x="785" y="392"/>
                    <a:pt x="780" y="376"/>
                  </a:cubicBezTo>
                  <a:cubicBezTo>
                    <a:pt x="743" y="265"/>
                    <a:pt x="707" y="154"/>
                    <a:pt x="671" y="43"/>
                  </a:cubicBezTo>
                  <a:cubicBezTo>
                    <a:pt x="665" y="23"/>
                    <a:pt x="653" y="15"/>
                    <a:pt x="633" y="15"/>
                  </a:cubicBezTo>
                  <a:cubicBezTo>
                    <a:pt x="495" y="16"/>
                    <a:pt x="357" y="16"/>
                    <a:pt x="219" y="15"/>
                  </a:cubicBezTo>
                  <a:cubicBezTo>
                    <a:pt x="197" y="15"/>
                    <a:pt x="185" y="24"/>
                    <a:pt x="177" y="44"/>
                  </a:cubicBezTo>
                  <a:cubicBezTo>
                    <a:pt x="136" y="149"/>
                    <a:pt x="94" y="253"/>
                    <a:pt x="52" y="357"/>
                  </a:cubicBezTo>
                  <a:cubicBezTo>
                    <a:pt x="36" y="397"/>
                    <a:pt x="39" y="401"/>
                    <a:pt x="82" y="401"/>
                  </a:cubicBezTo>
                  <a:cubicBezTo>
                    <a:pt x="192" y="401"/>
                    <a:pt x="302" y="401"/>
                    <a:pt x="412" y="40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000000"/>
                </a:solidFill>
                <a:effectLst/>
                <a:uLnTx/>
                <a:uFillTx/>
                <a:latin typeface="Calibri"/>
                <a:ea typeface="+mn-ea"/>
                <a:cs typeface="+mn-cs"/>
              </a:endParaRPr>
            </a:p>
          </p:txBody>
        </p:sp>
        <p:sp>
          <p:nvSpPr>
            <p:cNvPr id="36" name="Freeform 43"/>
            <p:cNvSpPr>
              <a:spLocks noEditPoints="1"/>
            </p:cNvSpPr>
            <p:nvPr/>
          </p:nvSpPr>
          <p:spPr bwMode="auto">
            <a:xfrm>
              <a:off x="-649288" y="3767138"/>
              <a:ext cx="355600" cy="268287"/>
            </a:xfrm>
            <a:custGeom>
              <a:avLst/>
              <a:gdLst>
                <a:gd name="T0" fmla="*/ 133 w 266"/>
                <a:gd name="T1" fmla="*/ 199 h 200"/>
                <a:gd name="T2" fmla="*/ 23 w 266"/>
                <a:gd name="T3" fmla="*/ 199 h 200"/>
                <a:gd name="T4" fmla="*/ 0 w 266"/>
                <a:gd name="T5" fmla="*/ 177 h 200"/>
                <a:gd name="T6" fmla="*/ 0 w 266"/>
                <a:gd name="T7" fmla="*/ 44 h 200"/>
                <a:gd name="T8" fmla="*/ 19 w 266"/>
                <a:gd name="T9" fmla="*/ 22 h 200"/>
                <a:gd name="T10" fmla="*/ 29 w 266"/>
                <a:gd name="T11" fmla="*/ 18 h 200"/>
                <a:gd name="T12" fmla="*/ 38 w 266"/>
                <a:gd name="T13" fmla="*/ 3 h 200"/>
                <a:gd name="T14" fmla="*/ 78 w 266"/>
                <a:gd name="T15" fmla="*/ 5 h 200"/>
                <a:gd name="T16" fmla="*/ 120 w 266"/>
                <a:gd name="T17" fmla="*/ 22 h 200"/>
                <a:gd name="T18" fmla="*/ 172 w 266"/>
                <a:gd name="T19" fmla="*/ 22 h 200"/>
                <a:gd name="T20" fmla="*/ 180 w 266"/>
                <a:gd name="T21" fmla="*/ 19 h 200"/>
                <a:gd name="T22" fmla="*/ 189 w 266"/>
                <a:gd name="T23" fmla="*/ 3 h 200"/>
                <a:gd name="T24" fmla="*/ 229 w 266"/>
                <a:gd name="T25" fmla="*/ 4 h 200"/>
                <a:gd name="T26" fmla="*/ 236 w 266"/>
                <a:gd name="T27" fmla="*/ 13 h 200"/>
                <a:gd name="T28" fmla="*/ 246 w 266"/>
                <a:gd name="T29" fmla="*/ 22 h 200"/>
                <a:gd name="T30" fmla="*/ 266 w 266"/>
                <a:gd name="T31" fmla="*/ 46 h 200"/>
                <a:gd name="T32" fmla="*/ 266 w 266"/>
                <a:gd name="T33" fmla="*/ 176 h 200"/>
                <a:gd name="T34" fmla="*/ 243 w 266"/>
                <a:gd name="T35" fmla="*/ 199 h 200"/>
                <a:gd name="T36" fmla="*/ 133 w 266"/>
                <a:gd name="T37" fmla="*/ 199 h 200"/>
                <a:gd name="T38" fmla="*/ 131 w 266"/>
                <a:gd name="T39" fmla="*/ 120 h 200"/>
                <a:gd name="T40" fmla="*/ 95 w 266"/>
                <a:gd name="T41" fmla="*/ 165 h 200"/>
                <a:gd name="T42" fmla="*/ 98 w 266"/>
                <a:gd name="T43" fmla="*/ 168 h 200"/>
                <a:gd name="T44" fmla="*/ 172 w 266"/>
                <a:gd name="T45" fmla="*/ 113 h 200"/>
                <a:gd name="T46" fmla="*/ 130 w 266"/>
                <a:gd name="T47" fmla="*/ 110 h 200"/>
                <a:gd name="T48" fmla="*/ 159 w 266"/>
                <a:gd name="T49" fmla="*/ 71 h 200"/>
                <a:gd name="T50" fmla="*/ 157 w 266"/>
                <a:gd name="T51" fmla="*/ 68 h 200"/>
                <a:gd name="T52" fmla="*/ 92 w 266"/>
                <a:gd name="T53" fmla="*/ 118 h 200"/>
                <a:gd name="T54" fmla="*/ 131 w 266"/>
                <a:gd name="T55" fmla="*/ 120 h 200"/>
                <a:gd name="T56" fmla="*/ 208 w 266"/>
                <a:gd name="T57" fmla="*/ 102 h 200"/>
                <a:gd name="T58" fmla="*/ 230 w 266"/>
                <a:gd name="T59" fmla="*/ 75 h 200"/>
                <a:gd name="T60" fmla="*/ 210 w 266"/>
                <a:gd name="T61" fmla="*/ 52 h 200"/>
                <a:gd name="T62" fmla="*/ 186 w 266"/>
                <a:gd name="T63" fmla="*/ 75 h 200"/>
                <a:gd name="T64" fmla="*/ 208 w 266"/>
                <a:gd name="T65" fmla="*/ 102 h 200"/>
                <a:gd name="T66" fmla="*/ 55 w 266"/>
                <a:gd name="T67" fmla="*/ 83 h 200"/>
                <a:gd name="T68" fmla="*/ 55 w 266"/>
                <a:gd name="T69" fmla="*/ 83 h 200"/>
                <a:gd name="T70" fmla="*/ 65 w 266"/>
                <a:gd name="T71" fmla="*/ 83 h 200"/>
                <a:gd name="T72" fmla="*/ 79 w 266"/>
                <a:gd name="T73" fmla="*/ 76 h 200"/>
                <a:gd name="T74" fmla="*/ 65 w 266"/>
                <a:gd name="T75" fmla="*/ 67 h 200"/>
                <a:gd name="T76" fmla="*/ 43 w 266"/>
                <a:gd name="T77" fmla="*/ 67 h 200"/>
                <a:gd name="T78" fmla="*/ 34 w 266"/>
                <a:gd name="T79" fmla="*/ 75 h 200"/>
                <a:gd name="T80" fmla="*/ 43 w 266"/>
                <a:gd name="T81" fmla="*/ 83 h 200"/>
                <a:gd name="T82" fmla="*/ 55 w 266"/>
                <a:gd name="T83" fmla="*/ 83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6" h="200">
                  <a:moveTo>
                    <a:pt x="133" y="199"/>
                  </a:moveTo>
                  <a:cubicBezTo>
                    <a:pt x="96" y="199"/>
                    <a:pt x="60" y="199"/>
                    <a:pt x="23" y="199"/>
                  </a:cubicBezTo>
                  <a:cubicBezTo>
                    <a:pt x="7" y="199"/>
                    <a:pt x="0" y="194"/>
                    <a:pt x="0" y="177"/>
                  </a:cubicBezTo>
                  <a:cubicBezTo>
                    <a:pt x="0" y="133"/>
                    <a:pt x="0" y="88"/>
                    <a:pt x="0" y="44"/>
                  </a:cubicBezTo>
                  <a:cubicBezTo>
                    <a:pt x="0" y="30"/>
                    <a:pt x="3" y="21"/>
                    <a:pt x="19" y="22"/>
                  </a:cubicBezTo>
                  <a:cubicBezTo>
                    <a:pt x="22" y="23"/>
                    <a:pt x="27" y="23"/>
                    <a:pt x="29" y="18"/>
                  </a:cubicBezTo>
                  <a:cubicBezTo>
                    <a:pt x="31" y="12"/>
                    <a:pt x="27" y="3"/>
                    <a:pt x="38" y="3"/>
                  </a:cubicBezTo>
                  <a:cubicBezTo>
                    <a:pt x="52" y="3"/>
                    <a:pt x="76" y="0"/>
                    <a:pt x="78" y="5"/>
                  </a:cubicBezTo>
                  <a:cubicBezTo>
                    <a:pt x="87" y="28"/>
                    <a:pt x="104" y="22"/>
                    <a:pt x="120" y="22"/>
                  </a:cubicBezTo>
                  <a:cubicBezTo>
                    <a:pt x="137" y="23"/>
                    <a:pt x="154" y="22"/>
                    <a:pt x="172" y="22"/>
                  </a:cubicBezTo>
                  <a:cubicBezTo>
                    <a:pt x="175" y="22"/>
                    <a:pt x="178" y="22"/>
                    <a:pt x="180" y="19"/>
                  </a:cubicBezTo>
                  <a:cubicBezTo>
                    <a:pt x="183" y="14"/>
                    <a:pt x="179" y="4"/>
                    <a:pt x="189" y="3"/>
                  </a:cubicBezTo>
                  <a:cubicBezTo>
                    <a:pt x="203" y="3"/>
                    <a:pt x="216" y="3"/>
                    <a:pt x="229" y="4"/>
                  </a:cubicBezTo>
                  <a:cubicBezTo>
                    <a:pt x="234" y="4"/>
                    <a:pt x="235" y="9"/>
                    <a:pt x="236" y="13"/>
                  </a:cubicBezTo>
                  <a:cubicBezTo>
                    <a:pt x="236" y="19"/>
                    <a:pt x="239" y="23"/>
                    <a:pt x="246" y="22"/>
                  </a:cubicBezTo>
                  <a:cubicBezTo>
                    <a:pt x="264" y="21"/>
                    <a:pt x="266" y="31"/>
                    <a:pt x="266" y="46"/>
                  </a:cubicBezTo>
                  <a:cubicBezTo>
                    <a:pt x="265" y="89"/>
                    <a:pt x="265" y="132"/>
                    <a:pt x="266" y="176"/>
                  </a:cubicBezTo>
                  <a:cubicBezTo>
                    <a:pt x="266" y="193"/>
                    <a:pt x="260" y="200"/>
                    <a:pt x="243" y="199"/>
                  </a:cubicBezTo>
                  <a:cubicBezTo>
                    <a:pt x="206" y="198"/>
                    <a:pt x="169" y="199"/>
                    <a:pt x="133" y="199"/>
                  </a:cubicBezTo>
                  <a:close/>
                  <a:moveTo>
                    <a:pt x="131" y="120"/>
                  </a:moveTo>
                  <a:cubicBezTo>
                    <a:pt x="118" y="137"/>
                    <a:pt x="107" y="151"/>
                    <a:pt x="95" y="165"/>
                  </a:cubicBezTo>
                  <a:cubicBezTo>
                    <a:pt x="96" y="166"/>
                    <a:pt x="97" y="167"/>
                    <a:pt x="98" y="168"/>
                  </a:cubicBezTo>
                  <a:cubicBezTo>
                    <a:pt x="121" y="151"/>
                    <a:pt x="144" y="134"/>
                    <a:pt x="172" y="113"/>
                  </a:cubicBezTo>
                  <a:cubicBezTo>
                    <a:pt x="155" y="112"/>
                    <a:pt x="143" y="111"/>
                    <a:pt x="130" y="110"/>
                  </a:cubicBezTo>
                  <a:cubicBezTo>
                    <a:pt x="141" y="95"/>
                    <a:pt x="150" y="83"/>
                    <a:pt x="159" y="71"/>
                  </a:cubicBezTo>
                  <a:cubicBezTo>
                    <a:pt x="158" y="70"/>
                    <a:pt x="157" y="69"/>
                    <a:pt x="157" y="68"/>
                  </a:cubicBezTo>
                  <a:cubicBezTo>
                    <a:pt x="136" y="84"/>
                    <a:pt x="116" y="99"/>
                    <a:pt x="92" y="118"/>
                  </a:cubicBezTo>
                  <a:cubicBezTo>
                    <a:pt x="107" y="119"/>
                    <a:pt x="117" y="119"/>
                    <a:pt x="131" y="120"/>
                  </a:cubicBezTo>
                  <a:close/>
                  <a:moveTo>
                    <a:pt x="208" y="102"/>
                  </a:moveTo>
                  <a:cubicBezTo>
                    <a:pt x="217" y="91"/>
                    <a:pt x="230" y="83"/>
                    <a:pt x="230" y="75"/>
                  </a:cubicBezTo>
                  <a:cubicBezTo>
                    <a:pt x="231" y="68"/>
                    <a:pt x="217" y="60"/>
                    <a:pt x="210" y="52"/>
                  </a:cubicBezTo>
                  <a:cubicBezTo>
                    <a:pt x="208" y="51"/>
                    <a:pt x="185" y="73"/>
                    <a:pt x="186" y="75"/>
                  </a:cubicBezTo>
                  <a:cubicBezTo>
                    <a:pt x="192" y="85"/>
                    <a:pt x="203" y="88"/>
                    <a:pt x="208" y="102"/>
                  </a:cubicBezTo>
                  <a:close/>
                  <a:moveTo>
                    <a:pt x="55" y="83"/>
                  </a:moveTo>
                  <a:cubicBezTo>
                    <a:pt x="55" y="83"/>
                    <a:pt x="55" y="83"/>
                    <a:pt x="55" y="83"/>
                  </a:cubicBezTo>
                  <a:cubicBezTo>
                    <a:pt x="58" y="83"/>
                    <a:pt x="62" y="83"/>
                    <a:pt x="65" y="83"/>
                  </a:cubicBezTo>
                  <a:cubicBezTo>
                    <a:pt x="70" y="83"/>
                    <a:pt x="78" y="85"/>
                    <a:pt x="79" y="76"/>
                  </a:cubicBezTo>
                  <a:cubicBezTo>
                    <a:pt x="79" y="65"/>
                    <a:pt x="71" y="67"/>
                    <a:pt x="65" y="67"/>
                  </a:cubicBezTo>
                  <a:cubicBezTo>
                    <a:pt x="57" y="67"/>
                    <a:pt x="50" y="67"/>
                    <a:pt x="43" y="67"/>
                  </a:cubicBezTo>
                  <a:cubicBezTo>
                    <a:pt x="38" y="67"/>
                    <a:pt x="34" y="69"/>
                    <a:pt x="34" y="75"/>
                  </a:cubicBezTo>
                  <a:cubicBezTo>
                    <a:pt x="34" y="81"/>
                    <a:pt x="38" y="83"/>
                    <a:pt x="43" y="83"/>
                  </a:cubicBezTo>
                  <a:cubicBezTo>
                    <a:pt x="47" y="83"/>
                    <a:pt x="51" y="83"/>
                    <a:pt x="55" y="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000000"/>
                </a:solidFill>
                <a:effectLst/>
                <a:uLnTx/>
                <a:uFillTx/>
                <a:latin typeface="Calibri"/>
                <a:ea typeface="+mn-ea"/>
                <a:cs typeface="+mn-cs"/>
              </a:endParaRPr>
            </a:p>
          </p:txBody>
        </p:sp>
        <p:sp>
          <p:nvSpPr>
            <p:cNvPr id="37" name="Freeform 44"/>
            <p:cNvSpPr>
              <a:spLocks/>
            </p:cNvSpPr>
            <p:nvPr/>
          </p:nvSpPr>
          <p:spPr bwMode="auto">
            <a:xfrm>
              <a:off x="-1266825" y="3575050"/>
              <a:ext cx="320675" cy="153987"/>
            </a:xfrm>
            <a:custGeom>
              <a:avLst/>
              <a:gdLst>
                <a:gd name="T0" fmla="*/ 110 w 239"/>
                <a:gd name="T1" fmla="*/ 115 h 116"/>
                <a:gd name="T2" fmla="*/ 16 w 239"/>
                <a:gd name="T3" fmla="*/ 116 h 116"/>
                <a:gd name="T4" fmla="*/ 5 w 239"/>
                <a:gd name="T5" fmla="*/ 101 h 116"/>
                <a:gd name="T6" fmla="*/ 39 w 239"/>
                <a:gd name="T7" fmla="*/ 12 h 116"/>
                <a:gd name="T8" fmla="*/ 54 w 239"/>
                <a:gd name="T9" fmla="*/ 0 h 116"/>
                <a:gd name="T10" fmla="*/ 226 w 239"/>
                <a:gd name="T11" fmla="*/ 0 h 116"/>
                <a:gd name="T12" fmla="*/ 238 w 239"/>
                <a:gd name="T13" fmla="*/ 13 h 116"/>
                <a:gd name="T14" fmla="*/ 222 w 239"/>
                <a:gd name="T15" fmla="*/ 104 h 116"/>
                <a:gd name="T16" fmla="*/ 205 w 239"/>
                <a:gd name="T17" fmla="*/ 115 h 116"/>
                <a:gd name="T18" fmla="*/ 110 w 239"/>
                <a:gd name="T19"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9" h="116">
                  <a:moveTo>
                    <a:pt x="110" y="115"/>
                  </a:moveTo>
                  <a:cubicBezTo>
                    <a:pt x="78" y="115"/>
                    <a:pt x="47" y="115"/>
                    <a:pt x="16" y="116"/>
                  </a:cubicBezTo>
                  <a:cubicBezTo>
                    <a:pt x="4" y="116"/>
                    <a:pt x="0" y="114"/>
                    <a:pt x="5" y="101"/>
                  </a:cubicBezTo>
                  <a:cubicBezTo>
                    <a:pt x="17" y="71"/>
                    <a:pt x="28" y="42"/>
                    <a:pt x="39" y="12"/>
                  </a:cubicBezTo>
                  <a:cubicBezTo>
                    <a:pt x="41" y="4"/>
                    <a:pt x="45" y="0"/>
                    <a:pt x="54" y="0"/>
                  </a:cubicBezTo>
                  <a:cubicBezTo>
                    <a:pt x="112" y="0"/>
                    <a:pt x="169" y="0"/>
                    <a:pt x="226" y="0"/>
                  </a:cubicBezTo>
                  <a:cubicBezTo>
                    <a:pt x="236" y="0"/>
                    <a:pt x="239" y="4"/>
                    <a:pt x="238" y="13"/>
                  </a:cubicBezTo>
                  <a:cubicBezTo>
                    <a:pt x="232" y="43"/>
                    <a:pt x="227" y="73"/>
                    <a:pt x="222" y="104"/>
                  </a:cubicBezTo>
                  <a:cubicBezTo>
                    <a:pt x="221" y="115"/>
                    <a:pt x="214" y="116"/>
                    <a:pt x="205" y="115"/>
                  </a:cubicBezTo>
                  <a:cubicBezTo>
                    <a:pt x="174" y="115"/>
                    <a:pt x="142" y="115"/>
                    <a:pt x="110"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000000"/>
                </a:solidFill>
                <a:effectLst/>
                <a:uLnTx/>
                <a:uFillTx/>
                <a:latin typeface="Calibri"/>
                <a:ea typeface="+mn-ea"/>
                <a:cs typeface="+mn-cs"/>
              </a:endParaRPr>
            </a:p>
          </p:txBody>
        </p:sp>
        <p:sp>
          <p:nvSpPr>
            <p:cNvPr id="38" name="Freeform 45"/>
            <p:cNvSpPr>
              <a:spLocks/>
            </p:cNvSpPr>
            <p:nvPr/>
          </p:nvSpPr>
          <p:spPr bwMode="auto">
            <a:xfrm>
              <a:off x="-944563" y="3575050"/>
              <a:ext cx="298450" cy="153987"/>
            </a:xfrm>
            <a:custGeom>
              <a:avLst/>
              <a:gdLst>
                <a:gd name="T0" fmla="*/ 110 w 222"/>
                <a:gd name="T1" fmla="*/ 115 h 116"/>
                <a:gd name="T2" fmla="*/ 15 w 222"/>
                <a:gd name="T3" fmla="*/ 115 h 116"/>
                <a:gd name="T4" fmla="*/ 2 w 222"/>
                <a:gd name="T5" fmla="*/ 102 h 116"/>
                <a:gd name="T6" fmla="*/ 14 w 222"/>
                <a:gd name="T7" fmla="*/ 17 h 116"/>
                <a:gd name="T8" fmla="*/ 33 w 222"/>
                <a:gd name="T9" fmla="*/ 0 h 116"/>
                <a:gd name="T10" fmla="*/ 197 w 222"/>
                <a:gd name="T11" fmla="*/ 0 h 116"/>
                <a:gd name="T12" fmla="*/ 214 w 222"/>
                <a:gd name="T13" fmla="*/ 15 h 116"/>
                <a:gd name="T14" fmla="*/ 220 w 222"/>
                <a:gd name="T15" fmla="*/ 101 h 116"/>
                <a:gd name="T16" fmla="*/ 206 w 222"/>
                <a:gd name="T17" fmla="*/ 116 h 116"/>
                <a:gd name="T18" fmla="*/ 110 w 222"/>
                <a:gd name="T19"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2" h="116">
                  <a:moveTo>
                    <a:pt x="110" y="115"/>
                  </a:moveTo>
                  <a:cubicBezTo>
                    <a:pt x="78" y="115"/>
                    <a:pt x="46" y="115"/>
                    <a:pt x="15" y="115"/>
                  </a:cubicBezTo>
                  <a:cubicBezTo>
                    <a:pt x="5" y="116"/>
                    <a:pt x="0" y="114"/>
                    <a:pt x="2" y="102"/>
                  </a:cubicBezTo>
                  <a:cubicBezTo>
                    <a:pt x="7" y="74"/>
                    <a:pt x="11" y="45"/>
                    <a:pt x="14" y="17"/>
                  </a:cubicBezTo>
                  <a:cubicBezTo>
                    <a:pt x="16" y="5"/>
                    <a:pt x="20" y="0"/>
                    <a:pt x="33" y="0"/>
                  </a:cubicBezTo>
                  <a:cubicBezTo>
                    <a:pt x="88" y="1"/>
                    <a:pt x="142" y="1"/>
                    <a:pt x="197" y="0"/>
                  </a:cubicBezTo>
                  <a:cubicBezTo>
                    <a:pt x="208" y="0"/>
                    <a:pt x="214" y="2"/>
                    <a:pt x="214" y="15"/>
                  </a:cubicBezTo>
                  <a:cubicBezTo>
                    <a:pt x="215" y="44"/>
                    <a:pt x="218" y="72"/>
                    <a:pt x="220" y="101"/>
                  </a:cubicBezTo>
                  <a:cubicBezTo>
                    <a:pt x="222" y="112"/>
                    <a:pt x="218" y="116"/>
                    <a:pt x="206" y="116"/>
                  </a:cubicBezTo>
                  <a:cubicBezTo>
                    <a:pt x="174" y="115"/>
                    <a:pt x="142" y="115"/>
                    <a:pt x="110"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000000"/>
                </a:solidFill>
                <a:effectLst/>
                <a:uLnTx/>
                <a:uFillTx/>
                <a:latin typeface="Calibri"/>
                <a:ea typeface="+mn-ea"/>
                <a:cs typeface="+mn-cs"/>
              </a:endParaRPr>
            </a:p>
          </p:txBody>
        </p:sp>
        <p:sp>
          <p:nvSpPr>
            <p:cNvPr id="39" name="Freeform 46"/>
            <p:cNvSpPr>
              <a:spLocks/>
            </p:cNvSpPr>
            <p:nvPr/>
          </p:nvSpPr>
          <p:spPr bwMode="auto">
            <a:xfrm>
              <a:off x="-633413" y="3575050"/>
              <a:ext cx="309563" cy="153987"/>
            </a:xfrm>
            <a:custGeom>
              <a:avLst/>
              <a:gdLst>
                <a:gd name="T0" fmla="*/ 120 w 231"/>
                <a:gd name="T1" fmla="*/ 115 h 116"/>
                <a:gd name="T2" fmla="*/ 28 w 231"/>
                <a:gd name="T3" fmla="*/ 116 h 116"/>
                <a:gd name="T4" fmla="*/ 10 w 231"/>
                <a:gd name="T5" fmla="*/ 101 h 116"/>
                <a:gd name="T6" fmla="*/ 1 w 231"/>
                <a:gd name="T7" fmla="*/ 15 h 116"/>
                <a:gd name="T8" fmla="*/ 15 w 231"/>
                <a:gd name="T9" fmla="*/ 0 h 116"/>
                <a:gd name="T10" fmla="*/ 185 w 231"/>
                <a:gd name="T11" fmla="*/ 0 h 116"/>
                <a:gd name="T12" fmla="*/ 200 w 231"/>
                <a:gd name="T13" fmla="*/ 12 h 116"/>
                <a:gd name="T14" fmla="*/ 227 w 231"/>
                <a:gd name="T15" fmla="*/ 99 h 116"/>
                <a:gd name="T16" fmla="*/ 215 w 231"/>
                <a:gd name="T17" fmla="*/ 116 h 116"/>
                <a:gd name="T18" fmla="*/ 120 w 231"/>
                <a:gd name="T19"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116">
                  <a:moveTo>
                    <a:pt x="120" y="115"/>
                  </a:moveTo>
                  <a:cubicBezTo>
                    <a:pt x="89" y="115"/>
                    <a:pt x="58" y="115"/>
                    <a:pt x="28" y="116"/>
                  </a:cubicBezTo>
                  <a:cubicBezTo>
                    <a:pt x="16" y="116"/>
                    <a:pt x="11" y="113"/>
                    <a:pt x="10" y="101"/>
                  </a:cubicBezTo>
                  <a:cubicBezTo>
                    <a:pt x="8" y="72"/>
                    <a:pt x="4" y="44"/>
                    <a:pt x="1" y="15"/>
                  </a:cubicBezTo>
                  <a:cubicBezTo>
                    <a:pt x="0" y="4"/>
                    <a:pt x="3" y="0"/>
                    <a:pt x="15" y="0"/>
                  </a:cubicBezTo>
                  <a:cubicBezTo>
                    <a:pt x="72" y="1"/>
                    <a:pt x="128" y="0"/>
                    <a:pt x="185" y="0"/>
                  </a:cubicBezTo>
                  <a:cubicBezTo>
                    <a:pt x="194" y="0"/>
                    <a:pt x="198" y="4"/>
                    <a:pt x="200" y="12"/>
                  </a:cubicBezTo>
                  <a:cubicBezTo>
                    <a:pt x="209" y="41"/>
                    <a:pt x="217" y="71"/>
                    <a:pt x="227" y="99"/>
                  </a:cubicBezTo>
                  <a:cubicBezTo>
                    <a:pt x="231" y="112"/>
                    <a:pt x="229" y="116"/>
                    <a:pt x="215" y="116"/>
                  </a:cubicBezTo>
                  <a:cubicBezTo>
                    <a:pt x="183" y="115"/>
                    <a:pt x="151" y="115"/>
                    <a:pt x="120"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000000"/>
                </a:solidFill>
                <a:effectLst/>
                <a:uLnTx/>
                <a:uFillTx/>
                <a:latin typeface="Calibri"/>
                <a:ea typeface="+mn-ea"/>
                <a:cs typeface="+mn-cs"/>
              </a:endParaRPr>
            </a:p>
          </p:txBody>
        </p:sp>
        <p:sp>
          <p:nvSpPr>
            <p:cNvPr id="40" name="Freeform 47"/>
            <p:cNvSpPr>
              <a:spLocks/>
            </p:cNvSpPr>
            <p:nvPr/>
          </p:nvSpPr>
          <p:spPr bwMode="auto">
            <a:xfrm>
              <a:off x="-1203325" y="3406775"/>
              <a:ext cx="284163" cy="153987"/>
            </a:xfrm>
            <a:custGeom>
              <a:avLst/>
              <a:gdLst>
                <a:gd name="T0" fmla="*/ 97 w 212"/>
                <a:gd name="T1" fmla="*/ 114 h 115"/>
                <a:gd name="T2" fmla="*/ 15 w 212"/>
                <a:gd name="T3" fmla="*/ 115 h 115"/>
                <a:gd name="T4" fmla="*/ 5 w 212"/>
                <a:gd name="T5" fmla="*/ 101 h 115"/>
                <a:gd name="T6" fmla="*/ 38 w 212"/>
                <a:gd name="T7" fmla="*/ 13 h 115"/>
                <a:gd name="T8" fmla="*/ 57 w 212"/>
                <a:gd name="T9" fmla="*/ 0 h 115"/>
                <a:gd name="T10" fmla="*/ 197 w 212"/>
                <a:gd name="T11" fmla="*/ 0 h 115"/>
                <a:gd name="T12" fmla="*/ 210 w 212"/>
                <a:gd name="T13" fmla="*/ 15 h 115"/>
                <a:gd name="T14" fmla="*/ 196 w 212"/>
                <a:gd name="T15" fmla="*/ 101 h 115"/>
                <a:gd name="T16" fmla="*/ 179 w 212"/>
                <a:gd name="T17" fmla="*/ 115 h 115"/>
                <a:gd name="T18" fmla="*/ 97 w 212"/>
                <a:gd name="T19" fmla="*/ 115 h 115"/>
                <a:gd name="T20" fmla="*/ 97 w 212"/>
                <a:gd name="T21"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2" h="115">
                  <a:moveTo>
                    <a:pt x="97" y="114"/>
                  </a:moveTo>
                  <a:cubicBezTo>
                    <a:pt x="70" y="114"/>
                    <a:pt x="42" y="114"/>
                    <a:pt x="15" y="115"/>
                  </a:cubicBezTo>
                  <a:cubicBezTo>
                    <a:pt x="4" y="115"/>
                    <a:pt x="0" y="112"/>
                    <a:pt x="5" y="101"/>
                  </a:cubicBezTo>
                  <a:cubicBezTo>
                    <a:pt x="17" y="72"/>
                    <a:pt x="27" y="42"/>
                    <a:pt x="38" y="13"/>
                  </a:cubicBezTo>
                  <a:cubicBezTo>
                    <a:pt x="41" y="3"/>
                    <a:pt x="47" y="0"/>
                    <a:pt x="57" y="0"/>
                  </a:cubicBezTo>
                  <a:cubicBezTo>
                    <a:pt x="104" y="1"/>
                    <a:pt x="150" y="1"/>
                    <a:pt x="197" y="0"/>
                  </a:cubicBezTo>
                  <a:cubicBezTo>
                    <a:pt x="208" y="0"/>
                    <a:pt x="212" y="2"/>
                    <a:pt x="210" y="15"/>
                  </a:cubicBezTo>
                  <a:cubicBezTo>
                    <a:pt x="204" y="43"/>
                    <a:pt x="200" y="72"/>
                    <a:pt x="196" y="101"/>
                  </a:cubicBezTo>
                  <a:cubicBezTo>
                    <a:pt x="194" y="113"/>
                    <a:pt x="190" y="115"/>
                    <a:pt x="179" y="115"/>
                  </a:cubicBezTo>
                  <a:cubicBezTo>
                    <a:pt x="152" y="114"/>
                    <a:pt x="124" y="115"/>
                    <a:pt x="97" y="115"/>
                  </a:cubicBezTo>
                  <a:cubicBezTo>
                    <a:pt x="97" y="114"/>
                    <a:pt x="97" y="114"/>
                    <a:pt x="97"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000000"/>
                </a:solidFill>
                <a:effectLst/>
                <a:uLnTx/>
                <a:uFillTx/>
                <a:latin typeface="Calibri"/>
                <a:ea typeface="+mn-ea"/>
                <a:cs typeface="+mn-cs"/>
              </a:endParaRPr>
            </a:p>
          </p:txBody>
        </p:sp>
        <p:sp>
          <p:nvSpPr>
            <p:cNvPr id="41" name="Freeform 48"/>
            <p:cNvSpPr>
              <a:spLocks/>
            </p:cNvSpPr>
            <p:nvPr/>
          </p:nvSpPr>
          <p:spPr bwMode="auto">
            <a:xfrm>
              <a:off x="-649288" y="3406775"/>
              <a:ext cx="274638" cy="153987"/>
            </a:xfrm>
            <a:custGeom>
              <a:avLst/>
              <a:gdLst>
                <a:gd name="T0" fmla="*/ 106 w 205"/>
                <a:gd name="T1" fmla="*/ 114 h 115"/>
                <a:gd name="T2" fmla="*/ 26 w 205"/>
                <a:gd name="T3" fmla="*/ 115 h 115"/>
                <a:gd name="T4" fmla="*/ 10 w 205"/>
                <a:gd name="T5" fmla="*/ 100 h 115"/>
                <a:gd name="T6" fmla="*/ 1 w 205"/>
                <a:gd name="T7" fmla="*/ 13 h 115"/>
                <a:gd name="T8" fmla="*/ 14 w 205"/>
                <a:gd name="T9" fmla="*/ 0 h 115"/>
                <a:gd name="T10" fmla="*/ 160 w 205"/>
                <a:gd name="T11" fmla="*/ 0 h 115"/>
                <a:gd name="T12" fmla="*/ 174 w 205"/>
                <a:gd name="T13" fmla="*/ 11 h 115"/>
                <a:gd name="T14" fmla="*/ 201 w 205"/>
                <a:gd name="T15" fmla="*/ 98 h 115"/>
                <a:gd name="T16" fmla="*/ 188 w 205"/>
                <a:gd name="T17" fmla="*/ 115 h 115"/>
                <a:gd name="T18" fmla="*/ 106 w 205"/>
                <a:gd name="T19"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5" h="115">
                  <a:moveTo>
                    <a:pt x="106" y="114"/>
                  </a:moveTo>
                  <a:cubicBezTo>
                    <a:pt x="80" y="114"/>
                    <a:pt x="53" y="114"/>
                    <a:pt x="26" y="115"/>
                  </a:cubicBezTo>
                  <a:cubicBezTo>
                    <a:pt x="16" y="115"/>
                    <a:pt x="10" y="112"/>
                    <a:pt x="10" y="100"/>
                  </a:cubicBezTo>
                  <a:cubicBezTo>
                    <a:pt x="7" y="71"/>
                    <a:pt x="5" y="42"/>
                    <a:pt x="1" y="13"/>
                  </a:cubicBezTo>
                  <a:cubicBezTo>
                    <a:pt x="0" y="3"/>
                    <a:pt x="4" y="0"/>
                    <a:pt x="14" y="0"/>
                  </a:cubicBezTo>
                  <a:cubicBezTo>
                    <a:pt x="62" y="1"/>
                    <a:pt x="111" y="1"/>
                    <a:pt x="160" y="0"/>
                  </a:cubicBezTo>
                  <a:cubicBezTo>
                    <a:pt x="167" y="0"/>
                    <a:pt x="171" y="3"/>
                    <a:pt x="174" y="11"/>
                  </a:cubicBezTo>
                  <a:cubicBezTo>
                    <a:pt x="182" y="40"/>
                    <a:pt x="191" y="69"/>
                    <a:pt x="201" y="98"/>
                  </a:cubicBezTo>
                  <a:cubicBezTo>
                    <a:pt x="205" y="111"/>
                    <a:pt x="201" y="115"/>
                    <a:pt x="188" y="115"/>
                  </a:cubicBezTo>
                  <a:cubicBezTo>
                    <a:pt x="161" y="114"/>
                    <a:pt x="134" y="114"/>
                    <a:pt x="106"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000000"/>
                </a:solidFill>
                <a:effectLst/>
                <a:uLnTx/>
                <a:uFillTx/>
                <a:latin typeface="Calibri"/>
                <a:ea typeface="+mn-ea"/>
                <a:cs typeface="+mn-cs"/>
              </a:endParaRPr>
            </a:p>
          </p:txBody>
        </p:sp>
        <p:sp>
          <p:nvSpPr>
            <p:cNvPr id="42" name="Freeform 49"/>
            <p:cNvSpPr>
              <a:spLocks/>
            </p:cNvSpPr>
            <p:nvPr/>
          </p:nvSpPr>
          <p:spPr bwMode="auto">
            <a:xfrm>
              <a:off x="-919163" y="3406775"/>
              <a:ext cx="261938" cy="153987"/>
            </a:xfrm>
            <a:custGeom>
              <a:avLst/>
              <a:gdLst>
                <a:gd name="T0" fmla="*/ 98 w 195"/>
                <a:gd name="T1" fmla="*/ 114 h 115"/>
                <a:gd name="T2" fmla="*/ 16 w 195"/>
                <a:gd name="T3" fmla="*/ 115 h 115"/>
                <a:gd name="T4" fmla="*/ 2 w 195"/>
                <a:gd name="T5" fmla="*/ 100 h 115"/>
                <a:gd name="T6" fmla="*/ 14 w 195"/>
                <a:gd name="T7" fmla="*/ 9 h 115"/>
                <a:gd name="T8" fmla="*/ 27 w 195"/>
                <a:gd name="T9" fmla="*/ 0 h 115"/>
                <a:gd name="T10" fmla="*/ 175 w 195"/>
                <a:gd name="T11" fmla="*/ 0 h 115"/>
                <a:gd name="T12" fmla="*/ 186 w 195"/>
                <a:gd name="T13" fmla="*/ 12 h 115"/>
                <a:gd name="T14" fmla="*/ 194 w 195"/>
                <a:gd name="T15" fmla="*/ 98 h 115"/>
                <a:gd name="T16" fmla="*/ 177 w 195"/>
                <a:gd name="T17" fmla="*/ 115 h 115"/>
                <a:gd name="T18" fmla="*/ 98 w 195"/>
                <a:gd name="T19"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115">
                  <a:moveTo>
                    <a:pt x="98" y="114"/>
                  </a:moveTo>
                  <a:cubicBezTo>
                    <a:pt x="70" y="114"/>
                    <a:pt x="43" y="114"/>
                    <a:pt x="16" y="115"/>
                  </a:cubicBezTo>
                  <a:cubicBezTo>
                    <a:pt x="5" y="115"/>
                    <a:pt x="0" y="112"/>
                    <a:pt x="2" y="100"/>
                  </a:cubicBezTo>
                  <a:cubicBezTo>
                    <a:pt x="6" y="70"/>
                    <a:pt x="10" y="40"/>
                    <a:pt x="14" y="9"/>
                  </a:cubicBezTo>
                  <a:cubicBezTo>
                    <a:pt x="15" y="1"/>
                    <a:pt x="20" y="0"/>
                    <a:pt x="27" y="0"/>
                  </a:cubicBezTo>
                  <a:cubicBezTo>
                    <a:pt x="76" y="0"/>
                    <a:pt x="125" y="1"/>
                    <a:pt x="175" y="0"/>
                  </a:cubicBezTo>
                  <a:cubicBezTo>
                    <a:pt x="183" y="0"/>
                    <a:pt x="186" y="4"/>
                    <a:pt x="186" y="12"/>
                  </a:cubicBezTo>
                  <a:cubicBezTo>
                    <a:pt x="188" y="41"/>
                    <a:pt x="191" y="69"/>
                    <a:pt x="194" y="98"/>
                  </a:cubicBezTo>
                  <a:cubicBezTo>
                    <a:pt x="195" y="111"/>
                    <a:pt x="191" y="115"/>
                    <a:pt x="177" y="115"/>
                  </a:cubicBezTo>
                  <a:cubicBezTo>
                    <a:pt x="151" y="114"/>
                    <a:pt x="124" y="114"/>
                    <a:pt x="98" y="1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000000"/>
                </a:solidFill>
                <a:effectLst/>
                <a:uLnTx/>
                <a:uFillTx/>
                <a:latin typeface="Calibri"/>
                <a:ea typeface="+mn-ea"/>
                <a:cs typeface="+mn-cs"/>
              </a:endParaRPr>
            </a:p>
          </p:txBody>
        </p:sp>
        <p:sp>
          <p:nvSpPr>
            <p:cNvPr id="43" name="Freeform 50"/>
            <p:cNvSpPr>
              <a:spLocks/>
            </p:cNvSpPr>
            <p:nvPr/>
          </p:nvSpPr>
          <p:spPr bwMode="auto">
            <a:xfrm>
              <a:off x="-1141413" y="3238500"/>
              <a:ext cx="249238" cy="153987"/>
            </a:xfrm>
            <a:custGeom>
              <a:avLst/>
              <a:gdLst>
                <a:gd name="T0" fmla="*/ 0 w 186"/>
                <a:gd name="T1" fmla="*/ 115 h 115"/>
                <a:gd name="T2" fmla="*/ 40 w 186"/>
                <a:gd name="T3" fmla="*/ 9 h 115"/>
                <a:gd name="T4" fmla="*/ 56 w 186"/>
                <a:gd name="T5" fmla="*/ 0 h 115"/>
                <a:gd name="T6" fmla="*/ 172 w 186"/>
                <a:gd name="T7" fmla="*/ 0 h 115"/>
                <a:gd name="T8" fmla="*/ 184 w 186"/>
                <a:gd name="T9" fmla="*/ 15 h 115"/>
                <a:gd name="T10" fmla="*/ 169 w 186"/>
                <a:gd name="T11" fmla="*/ 105 h 115"/>
                <a:gd name="T12" fmla="*/ 160 w 186"/>
                <a:gd name="T13" fmla="*/ 115 h 115"/>
                <a:gd name="T14" fmla="*/ 0 w 186"/>
                <a:gd name="T15" fmla="*/ 115 h 1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6" h="115">
                  <a:moveTo>
                    <a:pt x="0" y="115"/>
                  </a:moveTo>
                  <a:cubicBezTo>
                    <a:pt x="14" y="78"/>
                    <a:pt x="27" y="43"/>
                    <a:pt x="40" y="9"/>
                  </a:cubicBezTo>
                  <a:cubicBezTo>
                    <a:pt x="43" y="1"/>
                    <a:pt x="49" y="0"/>
                    <a:pt x="56" y="0"/>
                  </a:cubicBezTo>
                  <a:cubicBezTo>
                    <a:pt x="95" y="0"/>
                    <a:pt x="133" y="1"/>
                    <a:pt x="172" y="0"/>
                  </a:cubicBezTo>
                  <a:cubicBezTo>
                    <a:pt x="183" y="0"/>
                    <a:pt x="186" y="4"/>
                    <a:pt x="184" y="15"/>
                  </a:cubicBezTo>
                  <a:cubicBezTo>
                    <a:pt x="179" y="45"/>
                    <a:pt x="174" y="75"/>
                    <a:pt x="169" y="105"/>
                  </a:cubicBezTo>
                  <a:cubicBezTo>
                    <a:pt x="168" y="111"/>
                    <a:pt x="167" y="115"/>
                    <a:pt x="160" y="115"/>
                  </a:cubicBezTo>
                  <a:cubicBezTo>
                    <a:pt x="107" y="115"/>
                    <a:pt x="55" y="115"/>
                    <a:pt x="0"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000000"/>
                </a:solidFill>
                <a:effectLst/>
                <a:uLnTx/>
                <a:uFillTx/>
                <a:latin typeface="Calibri"/>
                <a:ea typeface="+mn-ea"/>
                <a:cs typeface="+mn-cs"/>
              </a:endParaRPr>
            </a:p>
          </p:txBody>
        </p:sp>
        <p:sp>
          <p:nvSpPr>
            <p:cNvPr id="44" name="Freeform 51"/>
            <p:cNvSpPr>
              <a:spLocks/>
            </p:cNvSpPr>
            <p:nvPr/>
          </p:nvSpPr>
          <p:spPr bwMode="auto">
            <a:xfrm>
              <a:off x="-895350" y="3238500"/>
              <a:ext cx="223838" cy="155575"/>
            </a:xfrm>
            <a:custGeom>
              <a:avLst/>
              <a:gdLst>
                <a:gd name="T0" fmla="*/ 84 w 168"/>
                <a:gd name="T1" fmla="*/ 115 h 116"/>
                <a:gd name="T2" fmla="*/ 14 w 168"/>
                <a:gd name="T3" fmla="*/ 115 h 116"/>
                <a:gd name="T4" fmla="*/ 2 w 168"/>
                <a:gd name="T5" fmla="*/ 102 h 116"/>
                <a:gd name="T6" fmla="*/ 14 w 168"/>
                <a:gd name="T7" fmla="*/ 17 h 116"/>
                <a:gd name="T8" fmla="*/ 32 w 168"/>
                <a:gd name="T9" fmla="*/ 0 h 116"/>
                <a:gd name="T10" fmla="*/ 144 w 168"/>
                <a:gd name="T11" fmla="*/ 0 h 116"/>
                <a:gd name="T12" fmla="*/ 161 w 168"/>
                <a:gd name="T13" fmla="*/ 16 h 116"/>
                <a:gd name="T14" fmla="*/ 166 w 168"/>
                <a:gd name="T15" fmla="*/ 102 h 116"/>
                <a:gd name="T16" fmla="*/ 154 w 168"/>
                <a:gd name="T17" fmla="*/ 115 h 116"/>
                <a:gd name="T18" fmla="*/ 84 w 168"/>
                <a:gd name="T19"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8" h="116">
                  <a:moveTo>
                    <a:pt x="84" y="115"/>
                  </a:moveTo>
                  <a:cubicBezTo>
                    <a:pt x="61" y="115"/>
                    <a:pt x="38" y="115"/>
                    <a:pt x="14" y="115"/>
                  </a:cubicBezTo>
                  <a:cubicBezTo>
                    <a:pt x="4" y="116"/>
                    <a:pt x="0" y="113"/>
                    <a:pt x="2" y="102"/>
                  </a:cubicBezTo>
                  <a:cubicBezTo>
                    <a:pt x="6" y="74"/>
                    <a:pt x="10" y="45"/>
                    <a:pt x="14" y="17"/>
                  </a:cubicBezTo>
                  <a:cubicBezTo>
                    <a:pt x="15" y="6"/>
                    <a:pt x="18" y="0"/>
                    <a:pt x="32" y="0"/>
                  </a:cubicBezTo>
                  <a:cubicBezTo>
                    <a:pt x="69" y="1"/>
                    <a:pt x="106" y="1"/>
                    <a:pt x="144" y="0"/>
                  </a:cubicBezTo>
                  <a:cubicBezTo>
                    <a:pt x="156" y="0"/>
                    <a:pt x="160" y="5"/>
                    <a:pt x="161" y="16"/>
                  </a:cubicBezTo>
                  <a:cubicBezTo>
                    <a:pt x="162" y="45"/>
                    <a:pt x="164" y="73"/>
                    <a:pt x="166" y="102"/>
                  </a:cubicBezTo>
                  <a:cubicBezTo>
                    <a:pt x="168" y="112"/>
                    <a:pt x="165" y="116"/>
                    <a:pt x="154" y="115"/>
                  </a:cubicBezTo>
                  <a:cubicBezTo>
                    <a:pt x="131" y="115"/>
                    <a:pt x="107" y="115"/>
                    <a:pt x="84"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000000"/>
                </a:solidFill>
                <a:effectLst/>
                <a:uLnTx/>
                <a:uFillTx/>
                <a:latin typeface="Calibri"/>
                <a:ea typeface="+mn-ea"/>
                <a:cs typeface="+mn-cs"/>
              </a:endParaRPr>
            </a:p>
          </p:txBody>
        </p:sp>
        <p:sp>
          <p:nvSpPr>
            <p:cNvPr id="45" name="Freeform 52"/>
            <p:cNvSpPr>
              <a:spLocks/>
            </p:cNvSpPr>
            <p:nvPr/>
          </p:nvSpPr>
          <p:spPr bwMode="auto">
            <a:xfrm>
              <a:off x="-663575" y="3238500"/>
              <a:ext cx="238125" cy="155575"/>
            </a:xfrm>
            <a:custGeom>
              <a:avLst/>
              <a:gdLst>
                <a:gd name="T0" fmla="*/ 93 w 178"/>
                <a:gd name="T1" fmla="*/ 115 h 116"/>
                <a:gd name="T2" fmla="*/ 26 w 178"/>
                <a:gd name="T3" fmla="*/ 116 h 116"/>
                <a:gd name="T4" fmla="*/ 9 w 178"/>
                <a:gd name="T5" fmla="*/ 101 h 116"/>
                <a:gd name="T6" fmla="*/ 1 w 178"/>
                <a:gd name="T7" fmla="*/ 12 h 116"/>
                <a:gd name="T8" fmla="*/ 12 w 178"/>
                <a:gd name="T9" fmla="*/ 0 h 116"/>
                <a:gd name="T10" fmla="*/ 131 w 178"/>
                <a:gd name="T11" fmla="*/ 0 h 116"/>
                <a:gd name="T12" fmla="*/ 147 w 178"/>
                <a:gd name="T13" fmla="*/ 12 h 116"/>
                <a:gd name="T14" fmla="*/ 173 w 178"/>
                <a:gd name="T15" fmla="*/ 100 h 116"/>
                <a:gd name="T16" fmla="*/ 161 w 178"/>
                <a:gd name="T17" fmla="*/ 115 h 116"/>
                <a:gd name="T18" fmla="*/ 93 w 178"/>
                <a:gd name="T19" fmla="*/ 115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 h="116">
                  <a:moveTo>
                    <a:pt x="93" y="115"/>
                  </a:moveTo>
                  <a:cubicBezTo>
                    <a:pt x="71" y="115"/>
                    <a:pt x="48" y="115"/>
                    <a:pt x="26" y="116"/>
                  </a:cubicBezTo>
                  <a:cubicBezTo>
                    <a:pt x="15" y="116"/>
                    <a:pt x="10" y="112"/>
                    <a:pt x="9" y="101"/>
                  </a:cubicBezTo>
                  <a:cubicBezTo>
                    <a:pt x="7" y="71"/>
                    <a:pt x="4" y="42"/>
                    <a:pt x="1" y="12"/>
                  </a:cubicBezTo>
                  <a:cubicBezTo>
                    <a:pt x="0" y="3"/>
                    <a:pt x="3" y="0"/>
                    <a:pt x="12" y="0"/>
                  </a:cubicBezTo>
                  <a:cubicBezTo>
                    <a:pt x="52" y="0"/>
                    <a:pt x="92" y="1"/>
                    <a:pt x="131" y="0"/>
                  </a:cubicBezTo>
                  <a:cubicBezTo>
                    <a:pt x="141" y="0"/>
                    <a:pt x="144" y="4"/>
                    <a:pt x="147" y="12"/>
                  </a:cubicBezTo>
                  <a:cubicBezTo>
                    <a:pt x="155" y="41"/>
                    <a:pt x="164" y="71"/>
                    <a:pt x="173" y="100"/>
                  </a:cubicBezTo>
                  <a:cubicBezTo>
                    <a:pt x="178" y="113"/>
                    <a:pt x="174" y="116"/>
                    <a:pt x="161" y="115"/>
                  </a:cubicBezTo>
                  <a:cubicBezTo>
                    <a:pt x="139" y="115"/>
                    <a:pt x="116" y="115"/>
                    <a:pt x="93" y="1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888" tIns="60944" rIns="121888" bIns="60944"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2399" b="0" i="0" u="none" strike="noStrike" kern="1200" cap="none" spc="0" normalizeH="0" baseline="0" noProof="0">
                <a:ln>
                  <a:noFill/>
                </a:ln>
                <a:solidFill>
                  <a:srgbClr val="000000"/>
                </a:solidFill>
                <a:effectLst/>
                <a:uLnTx/>
                <a:uFillTx/>
                <a:latin typeface="Calibri"/>
                <a:ea typeface="+mn-ea"/>
                <a:cs typeface="+mn-cs"/>
              </a:endParaRPr>
            </a:p>
          </p:txBody>
        </p:sp>
      </p:grpSp>
    </p:spTree>
    <p:extLst>
      <p:ext uri="{BB962C8B-B14F-4D97-AF65-F5344CB8AC3E}">
        <p14:creationId xmlns:p14="http://schemas.microsoft.com/office/powerpoint/2010/main" val="27080582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2228FA3E-AE8D-27B3-8380-77DB1AFA8EC6}"/>
              </a:ext>
            </a:extLst>
          </p:cNvPr>
          <p:cNvSpPr>
            <a:spLocks/>
          </p:cNvSpPr>
          <p:nvPr/>
        </p:nvSpPr>
        <p:spPr>
          <a:xfrm flipH="1">
            <a:off x="281932" y="684076"/>
            <a:ext cx="11628139" cy="68562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199" marR="0" lvl="0" indent="0" algn="l" defTabSz="857014"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A44D6D8D-7249-BD64-6662-57B4C8485E47}"/>
              </a:ext>
            </a:extLst>
          </p:cNvPr>
          <p:cNvSpPr/>
          <p:nvPr/>
        </p:nvSpPr>
        <p:spPr>
          <a:xfrm>
            <a:off x="1120357" y="935133"/>
            <a:ext cx="10653500" cy="221599"/>
          </a:xfrm>
          <a:prstGeom prst="rect">
            <a:avLst/>
          </a:prstGeom>
        </p:spPr>
        <p:txBody>
          <a:bodyPr wrap="square" lIns="0" tIns="0" rIns="0" bIns="0" anchor="ctr">
            <a:spAutoFit/>
          </a:bodyPr>
          <a:lstStyle/>
          <a:p>
            <a:pPr marL="0" marR="0" lvl="0" indent="0" algn="l" defTabSz="1094544" rtl="0" eaLnBrk="1" fontAlgn="auto" latinLnBrk="0" hangingPunct="1">
              <a:lnSpc>
                <a:spcPct val="90000"/>
              </a:lnSpc>
              <a:spcBef>
                <a:spcPct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a:ea typeface="+mn-ea"/>
                <a:cs typeface="+mn-cs"/>
              </a:rPr>
              <a:t>Incentives, education and payback the top three things to focus on</a:t>
            </a:r>
          </a:p>
        </p:txBody>
      </p:sp>
      <p:sp>
        <p:nvSpPr>
          <p:cNvPr id="2" name="Title 1"/>
          <p:cNvSpPr>
            <a:spLocks noGrp="1"/>
          </p:cNvSpPr>
          <p:nvPr>
            <p:ph type="title"/>
          </p:nvPr>
        </p:nvSpPr>
        <p:spPr>
          <a:xfrm>
            <a:off x="284383" y="272295"/>
            <a:ext cx="11623236" cy="369236"/>
          </a:xfrm>
        </p:spPr>
        <p:txBody>
          <a:bodyPr/>
          <a:lstStyle/>
          <a:p>
            <a:r>
              <a:rPr lang="en-US" dirty="0">
                <a:solidFill>
                  <a:srgbClr val="172D55"/>
                </a:solidFill>
              </a:rPr>
              <a:t>What makes </a:t>
            </a:r>
            <a:r>
              <a:rPr lang="en-US" dirty="0" err="1">
                <a:solidFill>
                  <a:srgbClr val="172D55"/>
                </a:solidFill>
              </a:rPr>
              <a:t>bess</a:t>
            </a:r>
            <a:r>
              <a:rPr lang="en-US" dirty="0">
                <a:solidFill>
                  <a:srgbClr val="172D55"/>
                </a:solidFill>
              </a:rPr>
              <a:t> more attractive for a potential buyer?</a:t>
            </a:r>
            <a:endParaRPr lang="en-GB" dirty="0"/>
          </a:p>
        </p:txBody>
      </p:sp>
      <p:grpSp>
        <p:nvGrpSpPr>
          <p:cNvPr id="18" name="Group 17">
            <a:extLst>
              <a:ext uri="{FF2B5EF4-FFF2-40B4-BE49-F238E27FC236}">
                <a16:creationId xmlns:a16="http://schemas.microsoft.com/office/drawing/2014/main" id="{7F0408A9-6E91-0DFB-440A-C9EA1DEBC1C9}"/>
              </a:ext>
            </a:extLst>
          </p:cNvPr>
          <p:cNvGrpSpPr/>
          <p:nvPr/>
        </p:nvGrpSpPr>
        <p:grpSpPr>
          <a:xfrm>
            <a:off x="281931" y="743886"/>
            <a:ext cx="702214" cy="566002"/>
            <a:chOff x="779460" y="743186"/>
            <a:chExt cx="702397" cy="566149"/>
          </a:xfrm>
        </p:grpSpPr>
        <p:sp>
          <p:nvSpPr>
            <p:cNvPr id="9" name="Rectangle 8">
              <a:extLst>
                <a:ext uri="{FF2B5EF4-FFF2-40B4-BE49-F238E27FC236}">
                  <a16:creationId xmlns:a16="http://schemas.microsoft.com/office/drawing/2014/main" id="{23DEE729-02BB-9367-9E03-0683E8D57358}"/>
                </a:ext>
              </a:extLst>
            </p:cNvPr>
            <p:cNvSpPr/>
            <p:nvPr/>
          </p:nvSpPr>
          <p:spPr>
            <a:xfrm>
              <a:off x="779460" y="1004830"/>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52795A46-49F6-6B5C-E6D8-DAE7B1E6484F}"/>
                </a:ext>
              </a:extLst>
            </p:cNvPr>
            <p:cNvSpPr/>
            <p:nvPr/>
          </p:nvSpPr>
          <p:spPr>
            <a:xfrm>
              <a:off x="915708" y="743186"/>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C73E1CF0-F5F5-43FF-FBD4-DBE7862DAA5D}"/>
                </a:ext>
              </a:extLst>
            </p:cNvPr>
            <p:cNvGrpSpPr/>
            <p:nvPr/>
          </p:nvGrpSpPr>
          <p:grpSpPr>
            <a:xfrm>
              <a:off x="1015152" y="830461"/>
              <a:ext cx="356737" cy="385459"/>
              <a:chOff x="-8902701" y="1020763"/>
              <a:chExt cx="4456113" cy="4814888"/>
            </a:xfrm>
            <a:solidFill>
              <a:schemeClr val="bg1"/>
            </a:solidFill>
          </p:grpSpPr>
          <p:sp>
            <p:nvSpPr>
              <p:cNvPr id="5" name="Freeform 19">
                <a:extLst>
                  <a:ext uri="{FF2B5EF4-FFF2-40B4-BE49-F238E27FC236}">
                    <a16:creationId xmlns:a16="http://schemas.microsoft.com/office/drawing/2014/main" id="{9309B6D1-14B6-5FEA-884B-FCA1F5A37941}"/>
                  </a:ext>
                </a:extLst>
              </p:cNvPr>
              <p:cNvSpPr>
                <a:spLocks/>
              </p:cNvSpPr>
              <p:nvPr/>
            </p:nvSpPr>
            <p:spPr bwMode="auto">
              <a:xfrm>
                <a:off x="-8902701" y="1147763"/>
                <a:ext cx="2230438" cy="4200525"/>
              </a:xfrm>
              <a:custGeom>
                <a:avLst/>
                <a:gdLst>
                  <a:gd name="T0" fmla="*/ 1405 w 1405"/>
                  <a:gd name="T1" fmla="*/ 0 h 2646"/>
                  <a:gd name="T2" fmla="*/ 1205 w 1405"/>
                  <a:gd name="T3" fmla="*/ 233 h 2646"/>
                  <a:gd name="T4" fmla="*/ 1024 w 1405"/>
                  <a:gd name="T5" fmla="*/ 279 h 2646"/>
                  <a:gd name="T6" fmla="*/ 854 w 1405"/>
                  <a:gd name="T7" fmla="*/ 351 h 2646"/>
                  <a:gd name="T8" fmla="*/ 699 w 1405"/>
                  <a:gd name="T9" fmla="*/ 448 h 2646"/>
                  <a:gd name="T10" fmla="*/ 562 w 1405"/>
                  <a:gd name="T11" fmla="*/ 567 h 2646"/>
                  <a:gd name="T12" fmla="*/ 444 w 1405"/>
                  <a:gd name="T13" fmla="*/ 706 h 2646"/>
                  <a:gd name="T14" fmla="*/ 347 w 1405"/>
                  <a:gd name="T15" fmla="*/ 860 h 2646"/>
                  <a:gd name="T16" fmla="*/ 276 w 1405"/>
                  <a:gd name="T17" fmla="*/ 1030 h 2646"/>
                  <a:gd name="T18" fmla="*/ 230 w 1405"/>
                  <a:gd name="T19" fmla="*/ 1212 h 2646"/>
                  <a:gd name="T20" fmla="*/ 216 w 1405"/>
                  <a:gd name="T21" fmla="*/ 1405 h 2646"/>
                  <a:gd name="T22" fmla="*/ 230 w 1405"/>
                  <a:gd name="T23" fmla="*/ 1592 h 2646"/>
                  <a:gd name="T24" fmla="*/ 274 w 1405"/>
                  <a:gd name="T25" fmla="*/ 1772 h 2646"/>
                  <a:gd name="T26" fmla="*/ 343 w 1405"/>
                  <a:gd name="T27" fmla="*/ 1939 h 2646"/>
                  <a:gd name="T28" fmla="*/ 436 w 1405"/>
                  <a:gd name="T29" fmla="*/ 2092 h 2646"/>
                  <a:gd name="T30" fmla="*/ 550 w 1405"/>
                  <a:gd name="T31" fmla="*/ 2230 h 2646"/>
                  <a:gd name="T32" fmla="*/ 683 w 1405"/>
                  <a:gd name="T33" fmla="*/ 2349 h 2646"/>
                  <a:gd name="T34" fmla="*/ 833 w 1405"/>
                  <a:gd name="T35" fmla="*/ 2446 h 2646"/>
                  <a:gd name="T36" fmla="*/ 674 w 1405"/>
                  <a:gd name="T37" fmla="*/ 2604 h 2646"/>
                  <a:gd name="T38" fmla="*/ 537 w 1405"/>
                  <a:gd name="T39" fmla="*/ 2510 h 2646"/>
                  <a:gd name="T40" fmla="*/ 411 w 1405"/>
                  <a:gd name="T41" fmla="*/ 2398 h 2646"/>
                  <a:gd name="T42" fmla="*/ 277 w 1405"/>
                  <a:gd name="T43" fmla="*/ 2244 h 2646"/>
                  <a:gd name="T44" fmla="*/ 170 w 1405"/>
                  <a:gd name="T45" fmla="*/ 2077 h 2646"/>
                  <a:gd name="T46" fmla="*/ 88 w 1405"/>
                  <a:gd name="T47" fmla="*/ 1896 h 2646"/>
                  <a:gd name="T48" fmla="*/ 31 w 1405"/>
                  <a:gd name="T49" fmla="*/ 1705 h 2646"/>
                  <a:gd name="T50" fmla="*/ 3 w 1405"/>
                  <a:gd name="T51" fmla="*/ 1506 h 2646"/>
                  <a:gd name="T52" fmla="*/ 3 w 1405"/>
                  <a:gd name="T53" fmla="*/ 1303 h 2646"/>
                  <a:gd name="T54" fmla="*/ 31 w 1405"/>
                  <a:gd name="T55" fmla="*/ 1104 h 2646"/>
                  <a:gd name="T56" fmla="*/ 88 w 1405"/>
                  <a:gd name="T57" fmla="*/ 913 h 2646"/>
                  <a:gd name="T58" fmla="*/ 170 w 1405"/>
                  <a:gd name="T59" fmla="*/ 732 h 2646"/>
                  <a:gd name="T60" fmla="*/ 277 w 1405"/>
                  <a:gd name="T61" fmla="*/ 564 h 2646"/>
                  <a:gd name="T62" fmla="*/ 411 w 1405"/>
                  <a:gd name="T63" fmla="*/ 411 h 2646"/>
                  <a:gd name="T64" fmla="*/ 564 w 1405"/>
                  <a:gd name="T65" fmla="*/ 279 h 2646"/>
                  <a:gd name="T66" fmla="*/ 732 w 1405"/>
                  <a:gd name="T67" fmla="*/ 171 h 2646"/>
                  <a:gd name="T68" fmla="*/ 913 w 1405"/>
                  <a:gd name="T69" fmla="*/ 88 h 2646"/>
                  <a:gd name="T70" fmla="*/ 1102 w 1405"/>
                  <a:gd name="T71" fmla="*/ 33 h 2646"/>
                  <a:gd name="T72" fmla="*/ 1302 w 1405"/>
                  <a:gd name="T73" fmla="*/ 4 h 2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5" h="2646">
                    <a:moveTo>
                      <a:pt x="1404" y="0"/>
                    </a:moveTo>
                    <a:lnTo>
                      <a:pt x="1405" y="0"/>
                    </a:lnTo>
                    <a:lnTo>
                      <a:pt x="1300" y="221"/>
                    </a:lnTo>
                    <a:lnTo>
                      <a:pt x="1205" y="233"/>
                    </a:lnTo>
                    <a:lnTo>
                      <a:pt x="1113" y="253"/>
                    </a:lnTo>
                    <a:lnTo>
                      <a:pt x="1024" y="279"/>
                    </a:lnTo>
                    <a:lnTo>
                      <a:pt x="937" y="311"/>
                    </a:lnTo>
                    <a:lnTo>
                      <a:pt x="854" y="351"/>
                    </a:lnTo>
                    <a:lnTo>
                      <a:pt x="775" y="397"/>
                    </a:lnTo>
                    <a:lnTo>
                      <a:pt x="699" y="448"/>
                    </a:lnTo>
                    <a:lnTo>
                      <a:pt x="628" y="505"/>
                    </a:lnTo>
                    <a:lnTo>
                      <a:pt x="562" y="567"/>
                    </a:lnTo>
                    <a:lnTo>
                      <a:pt x="500" y="634"/>
                    </a:lnTo>
                    <a:lnTo>
                      <a:pt x="444" y="706"/>
                    </a:lnTo>
                    <a:lnTo>
                      <a:pt x="393" y="782"/>
                    </a:lnTo>
                    <a:lnTo>
                      <a:pt x="347" y="860"/>
                    </a:lnTo>
                    <a:lnTo>
                      <a:pt x="309" y="944"/>
                    </a:lnTo>
                    <a:lnTo>
                      <a:pt x="276" y="1030"/>
                    </a:lnTo>
                    <a:lnTo>
                      <a:pt x="250" y="1121"/>
                    </a:lnTo>
                    <a:lnTo>
                      <a:pt x="230" y="1212"/>
                    </a:lnTo>
                    <a:lnTo>
                      <a:pt x="220" y="1308"/>
                    </a:lnTo>
                    <a:lnTo>
                      <a:pt x="216" y="1405"/>
                    </a:lnTo>
                    <a:lnTo>
                      <a:pt x="220" y="1499"/>
                    </a:lnTo>
                    <a:lnTo>
                      <a:pt x="230" y="1592"/>
                    </a:lnTo>
                    <a:lnTo>
                      <a:pt x="249" y="1684"/>
                    </a:lnTo>
                    <a:lnTo>
                      <a:pt x="274" y="1772"/>
                    </a:lnTo>
                    <a:lnTo>
                      <a:pt x="305" y="1857"/>
                    </a:lnTo>
                    <a:lnTo>
                      <a:pt x="343" y="1939"/>
                    </a:lnTo>
                    <a:lnTo>
                      <a:pt x="386" y="2018"/>
                    </a:lnTo>
                    <a:lnTo>
                      <a:pt x="436" y="2092"/>
                    </a:lnTo>
                    <a:lnTo>
                      <a:pt x="490" y="2163"/>
                    </a:lnTo>
                    <a:lnTo>
                      <a:pt x="550" y="2230"/>
                    </a:lnTo>
                    <a:lnTo>
                      <a:pt x="614" y="2291"/>
                    </a:lnTo>
                    <a:lnTo>
                      <a:pt x="683" y="2349"/>
                    </a:lnTo>
                    <a:lnTo>
                      <a:pt x="757" y="2400"/>
                    </a:lnTo>
                    <a:lnTo>
                      <a:pt x="833" y="2446"/>
                    </a:lnTo>
                    <a:lnTo>
                      <a:pt x="746" y="2646"/>
                    </a:lnTo>
                    <a:lnTo>
                      <a:pt x="674" y="2604"/>
                    </a:lnTo>
                    <a:lnTo>
                      <a:pt x="605" y="2560"/>
                    </a:lnTo>
                    <a:lnTo>
                      <a:pt x="537" y="2510"/>
                    </a:lnTo>
                    <a:lnTo>
                      <a:pt x="473" y="2455"/>
                    </a:lnTo>
                    <a:lnTo>
                      <a:pt x="411" y="2398"/>
                    </a:lnTo>
                    <a:lnTo>
                      <a:pt x="342" y="2323"/>
                    </a:lnTo>
                    <a:lnTo>
                      <a:pt x="277" y="2244"/>
                    </a:lnTo>
                    <a:lnTo>
                      <a:pt x="221" y="2162"/>
                    </a:lnTo>
                    <a:lnTo>
                      <a:pt x="170" y="2077"/>
                    </a:lnTo>
                    <a:lnTo>
                      <a:pt x="126" y="1988"/>
                    </a:lnTo>
                    <a:lnTo>
                      <a:pt x="88" y="1896"/>
                    </a:lnTo>
                    <a:lnTo>
                      <a:pt x="56" y="1802"/>
                    </a:lnTo>
                    <a:lnTo>
                      <a:pt x="31" y="1705"/>
                    </a:lnTo>
                    <a:lnTo>
                      <a:pt x="14" y="1607"/>
                    </a:lnTo>
                    <a:lnTo>
                      <a:pt x="3" y="1506"/>
                    </a:lnTo>
                    <a:lnTo>
                      <a:pt x="0" y="1405"/>
                    </a:lnTo>
                    <a:lnTo>
                      <a:pt x="3" y="1303"/>
                    </a:lnTo>
                    <a:lnTo>
                      <a:pt x="14" y="1202"/>
                    </a:lnTo>
                    <a:lnTo>
                      <a:pt x="31" y="1104"/>
                    </a:lnTo>
                    <a:lnTo>
                      <a:pt x="56" y="1007"/>
                    </a:lnTo>
                    <a:lnTo>
                      <a:pt x="88" y="913"/>
                    </a:lnTo>
                    <a:lnTo>
                      <a:pt x="126" y="821"/>
                    </a:lnTo>
                    <a:lnTo>
                      <a:pt x="170" y="732"/>
                    </a:lnTo>
                    <a:lnTo>
                      <a:pt x="221" y="647"/>
                    </a:lnTo>
                    <a:lnTo>
                      <a:pt x="277" y="564"/>
                    </a:lnTo>
                    <a:lnTo>
                      <a:pt x="342" y="486"/>
                    </a:lnTo>
                    <a:lnTo>
                      <a:pt x="411" y="411"/>
                    </a:lnTo>
                    <a:lnTo>
                      <a:pt x="486" y="342"/>
                    </a:lnTo>
                    <a:lnTo>
                      <a:pt x="564" y="279"/>
                    </a:lnTo>
                    <a:lnTo>
                      <a:pt x="645" y="221"/>
                    </a:lnTo>
                    <a:lnTo>
                      <a:pt x="732" y="171"/>
                    </a:lnTo>
                    <a:lnTo>
                      <a:pt x="821" y="127"/>
                    </a:lnTo>
                    <a:lnTo>
                      <a:pt x="913" y="88"/>
                    </a:lnTo>
                    <a:lnTo>
                      <a:pt x="1007" y="57"/>
                    </a:lnTo>
                    <a:lnTo>
                      <a:pt x="1102" y="33"/>
                    </a:lnTo>
                    <a:lnTo>
                      <a:pt x="1202" y="14"/>
                    </a:lnTo>
                    <a:lnTo>
                      <a:pt x="1302" y="4"/>
                    </a:lnTo>
                    <a:lnTo>
                      <a:pt x="1404"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Freeform 20">
                <a:extLst>
                  <a:ext uri="{FF2B5EF4-FFF2-40B4-BE49-F238E27FC236}">
                    <a16:creationId xmlns:a16="http://schemas.microsoft.com/office/drawing/2014/main" id="{E4B137F8-9762-AA05-FFE4-6100F3D33179}"/>
                  </a:ext>
                </a:extLst>
              </p:cNvPr>
              <p:cNvSpPr>
                <a:spLocks/>
              </p:cNvSpPr>
              <p:nvPr/>
            </p:nvSpPr>
            <p:spPr bwMode="auto">
              <a:xfrm>
                <a:off x="-7348538" y="1466850"/>
                <a:ext cx="2901950" cy="4140200"/>
              </a:xfrm>
              <a:custGeom>
                <a:avLst/>
                <a:gdLst>
                  <a:gd name="T0" fmla="*/ 1221 w 1828"/>
                  <a:gd name="T1" fmla="*/ 46 h 2608"/>
                  <a:gd name="T2" fmla="*/ 1354 w 1828"/>
                  <a:gd name="T3" fmla="*/ 151 h 2608"/>
                  <a:gd name="T4" fmla="*/ 1487 w 1828"/>
                  <a:gd name="T5" fmla="*/ 285 h 2608"/>
                  <a:gd name="T6" fmla="*/ 1607 w 1828"/>
                  <a:gd name="T7" fmla="*/ 446 h 2608"/>
                  <a:gd name="T8" fmla="*/ 1703 w 1828"/>
                  <a:gd name="T9" fmla="*/ 620 h 2608"/>
                  <a:gd name="T10" fmla="*/ 1772 w 1828"/>
                  <a:gd name="T11" fmla="*/ 806 h 2608"/>
                  <a:gd name="T12" fmla="*/ 1814 w 1828"/>
                  <a:gd name="T13" fmla="*/ 1001 h 2608"/>
                  <a:gd name="T14" fmla="*/ 1828 w 1828"/>
                  <a:gd name="T15" fmla="*/ 1204 h 2608"/>
                  <a:gd name="T16" fmla="*/ 1814 w 1828"/>
                  <a:gd name="T17" fmla="*/ 1406 h 2608"/>
                  <a:gd name="T18" fmla="*/ 1772 w 1828"/>
                  <a:gd name="T19" fmla="*/ 1601 h 2608"/>
                  <a:gd name="T20" fmla="*/ 1703 w 1828"/>
                  <a:gd name="T21" fmla="*/ 1787 h 2608"/>
                  <a:gd name="T22" fmla="*/ 1607 w 1828"/>
                  <a:gd name="T23" fmla="*/ 1961 h 2608"/>
                  <a:gd name="T24" fmla="*/ 1487 w 1828"/>
                  <a:gd name="T25" fmla="*/ 2122 h 2608"/>
                  <a:gd name="T26" fmla="*/ 1343 w 1828"/>
                  <a:gd name="T27" fmla="*/ 2266 h 2608"/>
                  <a:gd name="T28" fmla="*/ 1183 w 1828"/>
                  <a:gd name="T29" fmla="*/ 2386 h 2608"/>
                  <a:gd name="T30" fmla="*/ 1007 w 1828"/>
                  <a:gd name="T31" fmla="*/ 2482 h 2608"/>
                  <a:gd name="T32" fmla="*/ 821 w 1828"/>
                  <a:gd name="T33" fmla="*/ 2551 h 2608"/>
                  <a:gd name="T34" fmla="*/ 626 w 1828"/>
                  <a:gd name="T35" fmla="*/ 2593 h 2608"/>
                  <a:gd name="T36" fmla="*/ 425 w 1828"/>
                  <a:gd name="T37" fmla="*/ 2608 h 2608"/>
                  <a:gd name="T38" fmla="*/ 209 w 1828"/>
                  <a:gd name="T39" fmla="*/ 2591 h 2608"/>
                  <a:gd name="T40" fmla="*/ 0 w 1828"/>
                  <a:gd name="T41" fmla="*/ 2542 h 2608"/>
                  <a:gd name="T42" fmla="*/ 235 w 1828"/>
                  <a:gd name="T43" fmla="*/ 2376 h 2608"/>
                  <a:gd name="T44" fmla="*/ 425 w 1828"/>
                  <a:gd name="T45" fmla="*/ 2392 h 2608"/>
                  <a:gd name="T46" fmla="*/ 617 w 1828"/>
                  <a:gd name="T47" fmla="*/ 2376 h 2608"/>
                  <a:gd name="T48" fmla="*/ 799 w 1828"/>
                  <a:gd name="T49" fmla="*/ 2331 h 2608"/>
                  <a:gd name="T50" fmla="*/ 971 w 1828"/>
                  <a:gd name="T51" fmla="*/ 2259 h 2608"/>
                  <a:gd name="T52" fmla="*/ 1127 w 1828"/>
                  <a:gd name="T53" fmla="*/ 2162 h 2608"/>
                  <a:gd name="T54" fmla="*/ 1264 w 1828"/>
                  <a:gd name="T55" fmla="*/ 2043 h 2608"/>
                  <a:gd name="T56" fmla="*/ 1383 w 1828"/>
                  <a:gd name="T57" fmla="*/ 1904 h 2608"/>
                  <a:gd name="T58" fmla="*/ 1480 w 1828"/>
                  <a:gd name="T59" fmla="*/ 1749 h 2608"/>
                  <a:gd name="T60" fmla="*/ 1552 w 1828"/>
                  <a:gd name="T61" fmla="*/ 1578 h 2608"/>
                  <a:gd name="T62" fmla="*/ 1597 w 1828"/>
                  <a:gd name="T63" fmla="*/ 1396 h 2608"/>
                  <a:gd name="T64" fmla="*/ 1612 w 1828"/>
                  <a:gd name="T65" fmla="*/ 1204 h 2608"/>
                  <a:gd name="T66" fmla="*/ 1597 w 1828"/>
                  <a:gd name="T67" fmla="*/ 1011 h 2608"/>
                  <a:gd name="T68" fmla="*/ 1552 w 1828"/>
                  <a:gd name="T69" fmla="*/ 828 h 2608"/>
                  <a:gd name="T70" fmla="*/ 1480 w 1828"/>
                  <a:gd name="T71" fmla="*/ 658 h 2608"/>
                  <a:gd name="T72" fmla="*/ 1383 w 1828"/>
                  <a:gd name="T73" fmla="*/ 502 h 2608"/>
                  <a:gd name="T74" fmla="*/ 1264 w 1828"/>
                  <a:gd name="T75" fmla="*/ 365 h 2608"/>
                  <a:gd name="T76" fmla="*/ 1127 w 1828"/>
                  <a:gd name="T77" fmla="*/ 245 h 2608"/>
                  <a:gd name="T78" fmla="*/ 1149 w 1828"/>
                  <a:gd name="T79"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8" h="2608">
                    <a:moveTo>
                      <a:pt x="1149" y="0"/>
                    </a:moveTo>
                    <a:lnTo>
                      <a:pt x="1221" y="46"/>
                    </a:lnTo>
                    <a:lnTo>
                      <a:pt x="1289" y="96"/>
                    </a:lnTo>
                    <a:lnTo>
                      <a:pt x="1354" y="151"/>
                    </a:lnTo>
                    <a:lnTo>
                      <a:pt x="1417" y="210"/>
                    </a:lnTo>
                    <a:lnTo>
                      <a:pt x="1487" y="285"/>
                    </a:lnTo>
                    <a:lnTo>
                      <a:pt x="1551" y="363"/>
                    </a:lnTo>
                    <a:lnTo>
                      <a:pt x="1607" y="446"/>
                    </a:lnTo>
                    <a:lnTo>
                      <a:pt x="1658" y="531"/>
                    </a:lnTo>
                    <a:lnTo>
                      <a:pt x="1703" y="620"/>
                    </a:lnTo>
                    <a:lnTo>
                      <a:pt x="1741" y="712"/>
                    </a:lnTo>
                    <a:lnTo>
                      <a:pt x="1772" y="806"/>
                    </a:lnTo>
                    <a:lnTo>
                      <a:pt x="1797" y="903"/>
                    </a:lnTo>
                    <a:lnTo>
                      <a:pt x="1814" y="1001"/>
                    </a:lnTo>
                    <a:lnTo>
                      <a:pt x="1826" y="1102"/>
                    </a:lnTo>
                    <a:lnTo>
                      <a:pt x="1828" y="1204"/>
                    </a:lnTo>
                    <a:lnTo>
                      <a:pt x="1826" y="1305"/>
                    </a:lnTo>
                    <a:lnTo>
                      <a:pt x="1814" y="1406"/>
                    </a:lnTo>
                    <a:lnTo>
                      <a:pt x="1797" y="1504"/>
                    </a:lnTo>
                    <a:lnTo>
                      <a:pt x="1772" y="1601"/>
                    </a:lnTo>
                    <a:lnTo>
                      <a:pt x="1741" y="1695"/>
                    </a:lnTo>
                    <a:lnTo>
                      <a:pt x="1703" y="1787"/>
                    </a:lnTo>
                    <a:lnTo>
                      <a:pt x="1658" y="1876"/>
                    </a:lnTo>
                    <a:lnTo>
                      <a:pt x="1607" y="1961"/>
                    </a:lnTo>
                    <a:lnTo>
                      <a:pt x="1551" y="2043"/>
                    </a:lnTo>
                    <a:lnTo>
                      <a:pt x="1487" y="2122"/>
                    </a:lnTo>
                    <a:lnTo>
                      <a:pt x="1417" y="2197"/>
                    </a:lnTo>
                    <a:lnTo>
                      <a:pt x="1343" y="2266"/>
                    </a:lnTo>
                    <a:lnTo>
                      <a:pt x="1264" y="2329"/>
                    </a:lnTo>
                    <a:lnTo>
                      <a:pt x="1183" y="2386"/>
                    </a:lnTo>
                    <a:lnTo>
                      <a:pt x="1096" y="2437"/>
                    </a:lnTo>
                    <a:lnTo>
                      <a:pt x="1007" y="2482"/>
                    </a:lnTo>
                    <a:lnTo>
                      <a:pt x="916" y="2520"/>
                    </a:lnTo>
                    <a:lnTo>
                      <a:pt x="821" y="2551"/>
                    </a:lnTo>
                    <a:lnTo>
                      <a:pt x="726" y="2576"/>
                    </a:lnTo>
                    <a:lnTo>
                      <a:pt x="626" y="2593"/>
                    </a:lnTo>
                    <a:lnTo>
                      <a:pt x="527" y="2604"/>
                    </a:lnTo>
                    <a:lnTo>
                      <a:pt x="425" y="2608"/>
                    </a:lnTo>
                    <a:lnTo>
                      <a:pt x="316" y="2604"/>
                    </a:lnTo>
                    <a:lnTo>
                      <a:pt x="209" y="2591"/>
                    </a:lnTo>
                    <a:lnTo>
                      <a:pt x="103" y="2571"/>
                    </a:lnTo>
                    <a:lnTo>
                      <a:pt x="0" y="2542"/>
                    </a:lnTo>
                    <a:lnTo>
                      <a:pt x="144" y="2358"/>
                    </a:lnTo>
                    <a:lnTo>
                      <a:pt x="235" y="2376"/>
                    </a:lnTo>
                    <a:lnTo>
                      <a:pt x="329" y="2388"/>
                    </a:lnTo>
                    <a:lnTo>
                      <a:pt x="425" y="2392"/>
                    </a:lnTo>
                    <a:lnTo>
                      <a:pt x="522" y="2388"/>
                    </a:lnTo>
                    <a:lnTo>
                      <a:pt x="617" y="2376"/>
                    </a:lnTo>
                    <a:lnTo>
                      <a:pt x="710" y="2358"/>
                    </a:lnTo>
                    <a:lnTo>
                      <a:pt x="799" y="2331"/>
                    </a:lnTo>
                    <a:lnTo>
                      <a:pt x="887" y="2299"/>
                    </a:lnTo>
                    <a:lnTo>
                      <a:pt x="971" y="2259"/>
                    </a:lnTo>
                    <a:lnTo>
                      <a:pt x="1051" y="2214"/>
                    </a:lnTo>
                    <a:lnTo>
                      <a:pt x="1127" y="2162"/>
                    </a:lnTo>
                    <a:lnTo>
                      <a:pt x="1197" y="2105"/>
                    </a:lnTo>
                    <a:lnTo>
                      <a:pt x="1264" y="2043"/>
                    </a:lnTo>
                    <a:lnTo>
                      <a:pt x="1327" y="1977"/>
                    </a:lnTo>
                    <a:lnTo>
                      <a:pt x="1383" y="1904"/>
                    </a:lnTo>
                    <a:lnTo>
                      <a:pt x="1434" y="1829"/>
                    </a:lnTo>
                    <a:lnTo>
                      <a:pt x="1480" y="1749"/>
                    </a:lnTo>
                    <a:lnTo>
                      <a:pt x="1519" y="1665"/>
                    </a:lnTo>
                    <a:lnTo>
                      <a:pt x="1552" y="1578"/>
                    </a:lnTo>
                    <a:lnTo>
                      <a:pt x="1578" y="1488"/>
                    </a:lnTo>
                    <a:lnTo>
                      <a:pt x="1597" y="1396"/>
                    </a:lnTo>
                    <a:lnTo>
                      <a:pt x="1608" y="1301"/>
                    </a:lnTo>
                    <a:lnTo>
                      <a:pt x="1612" y="1204"/>
                    </a:lnTo>
                    <a:lnTo>
                      <a:pt x="1608" y="1106"/>
                    </a:lnTo>
                    <a:lnTo>
                      <a:pt x="1597" y="1011"/>
                    </a:lnTo>
                    <a:lnTo>
                      <a:pt x="1578" y="918"/>
                    </a:lnTo>
                    <a:lnTo>
                      <a:pt x="1552" y="828"/>
                    </a:lnTo>
                    <a:lnTo>
                      <a:pt x="1519" y="742"/>
                    </a:lnTo>
                    <a:lnTo>
                      <a:pt x="1480" y="658"/>
                    </a:lnTo>
                    <a:lnTo>
                      <a:pt x="1434" y="578"/>
                    </a:lnTo>
                    <a:lnTo>
                      <a:pt x="1383" y="502"/>
                    </a:lnTo>
                    <a:lnTo>
                      <a:pt x="1327" y="431"/>
                    </a:lnTo>
                    <a:lnTo>
                      <a:pt x="1264" y="365"/>
                    </a:lnTo>
                    <a:lnTo>
                      <a:pt x="1197" y="302"/>
                    </a:lnTo>
                    <a:lnTo>
                      <a:pt x="1127" y="245"/>
                    </a:lnTo>
                    <a:lnTo>
                      <a:pt x="1051" y="194"/>
                    </a:lnTo>
                    <a:lnTo>
                      <a:pt x="1149"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Freeform 21">
                <a:extLst>
                  <a:ext uri="{FF2B5EF4-FFF2-40B4-BE49-F238E27FC236}">
                    <a16:creationId xmlns:a16="http://schemas.microsoft.com/office/drawing/2014/main" id="{98FD07A9-9627-A2D6-8210-5A2B6EA43382}"/>
                  </a:ext>
                </a:extLst>
              </p:cNvPr>
              <p:cNvSpPr>
                <a:spLocks/>
              </p:cNvSpPr>
              <p:nvPr/>
            </p:nvSpPr>
            <p:spPr bwMode="auto">
              <a:xfrm>
                <a:off x="-7781926" y="1020763"/>
                <a:ext cx="2484438" cy="4814888"/>
              </a:xfrm>
              <a:custGeom>
                <a:avLst/>
                <a:gdLst>
                  <a:gd name="T0" fmla="*/ 834 w 1565"/>
                  <a:gd name="T1" fmla="*/ 0 h 3033"/>
                  <a:gd name="T2" fmla="*/ 1468 w 1565"/>
                  <a:gd name="T3" fmla="*/ 1 h 3033"/>
                  <a:gd name="T4" fmla="*/ 944 w 1565"/>
                  <a:gd name="T5" fmla="*/ 1031 h 3033"/>
                  <a:gd name="T6" fmla="*/ 1565 w 1565"/>
                  <a:gd name="T7" fmla="*/ 1028 h 3033"/>
                  <a:gd name="T8" fmla="*/ 0 w 1565"/>
                  <a:gd name="T9" fmla="*/ 3033 h 3033"/>
                  <a:gd name="T10" fmla="*/ 674 w 1565"/>
                  <a:gd name="T11" fmla="*/ 1491 h 3033"/>
                  <a:gd name="T12" fmla="*/ 119 w 1565"/>
                  <a:gd name="T13" fmla="*/ 1495 h 3033"/>
                  <a:gd name="T14" fmla="*/ 834 w 1565"/>
                  <a:gd name="T15" fmla="*/ 0 h 3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5" h="3033">
                    <a:moveTo>
                      <a:pt x="834" y="0"/>
                    </a:moveTo>
                    <a:lnTo>
                      <a:pt x="1468" y="1"/>
                    </a:lnTo>
                    <a:lnTo>
                      <a:pt x="944" y="1031"/>
                    </a:lnTo>
                    <a:lnTo>
                      <a:pt x="1565" y="1028"/>
                    </a:lnTo>
                    <a:lnTo>
                      <a:pt x="0" y="3033"/>
                    </a:lnTo>
                    <a:lnTo>
                      <a:pt x="674" y="1491"/>
                    </a:lnTo>
                    <a:lnTo>
                      <a:pt x="119" y="1495"/>
                    </a:lnTo>
                    <a:lnTo>
                      <a:pt x="834"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6" name="TextBox 5">
            <a:extLst>
              <a:ext uri="{FF2B5EF4-FFF2-40B4-BE49-F238E27FC236}">
                <a16:creationId xmlns:a16="http://schemas.microsoft.com/office/drawing/2014/main" id="{F2F75D4F-24D3-B118-83CD-04770972B335}"/>
              </a:ext>
            </a:extLst>
          </p:cNvPr>
          <p:cNvSpPr txBox="1"/>
          <p:nvPr/>
        </p:nvSpPr>
        <p:spPr>
          <a:xfrm>
            <a:off x="10679629" y="6473517"/>
            <a:ext cx="1229504" cy="153888"/>
          </a:xfrm>
          <a:prstGeom prst="rect">
            <a:avLst/>
          </a:prstGeom>
          <a:noFill/>
        </p:spPr>
        <p:txBody>
          <a:bodyPr wrap="square" lIns="0" tIns="0" rIns="0" bIns="0" rtlCol="0" anchor="b">
            <a:spAutoFit/>
          </a:bodyPr>
          <a:lstStyle/>
          <a:p>
            <a:pPr marL="0" marR="0" lvl="0" indent="0" algn="r" defTabSz="8358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7426B"/>
                </a:solidFill>
                <a:effectLst/>
                <a:uLnTx/>
                <a:uFillTx/>
                <a:latin typeface="Calibri"/>
                <a:ea typeface="+mn-ea"/>
                <a:cs typeface="Calibri" panose="020F0502020204030204" pitchFamily="34" charset="0"/>
              </a:rPr>
              <a:t>Source: Frost &amp; Sullivan</a:t>
            </a:r>
          </a:p>
        </p:txBody>
      </p:sp>
      <p:graphicFrame>
        <p:nvGraphicFramePr>
          <p:cNvPr id="11" name="Table 10">
            <a:extLst>
              <a:ext uri="{FF2B5EF4-FFF2-40B4-BE49-F238E27FC236}">
                <a16:creationId xmlns:a16="http://schemas.microsoft.com/office/drawing/2014/main" id="{4B710B47-9262-4D11-E38A-E23146C02AF2}"/>
              </a:ext>
            </a:extLst>
          </p:cNvPr>
          <p:cNvGraphicFramePr>
            <a:graphicFrameLocks noGrp="1"/>
          </p:cNvGraphicFramePr>
          <p:nvPr>
            <p:custDataLst>
              <p:tags r:id="rId1"/>
            </p:custDataLst>
          </p:nvPr>
        </p:nvGraphicFramePr>
        <p:xfrm>
          <a:off x="1697039" y="2175954"/>
          <a:ext cx="7181850" cy="4177223"/>
        </p:xfrm>
        <a:graphic>
          <a:graphicData uri="http://schemas.openxmlformats.org/drawingml/2006/table">
            <a:tbl>
              <a:tblPr firstRow="1" bandRow="1"/>
              <a:tblGrid>
                <a:gridCol w="3657599">
                  <a:extLst>
                    <a:ext uri="{9D8B030D-6E8A-4147-A177-3AD203B41FA5}">
                      <a16:colId xmlns:a16="http://schemas.microsoft.com/office/drawing/2014/main" val="20000"/>
                    </a:ext>
                  </a:extLst>
                </a:gridCol>
                <a:gridCol w="3524251">
                  <a:extLst>
                    <a:ext uri="{9D8B030D-6E8A-4147-A177-3AD203B41FA5}">
                      <a16:colId xmlns:a16="http://schemas.microsoft.com/office/drawing/2014/main" val="20001"/>
                    </a:ext>
                  </a:extLst>
                </a:gridCol>
              </a:tblGrid>
              <a:tr h="445993">
                <a:tc>
                  <a:txBody>
                    <a:bodyPr/>
                    <a:lstStyle>
                      <a:lvl1pPr marL="0" algn="l" defTabSz="1026391" rtl="0" eaLnBrk="1" latinLnBrk="0" hangingPunct="1">
                        <a:defRPr sz="2063" b="1" kern="1200">
                          <a:solidFill>
                            <a:schemeClr val="lt1"/>
                          </a:solidFill>
                          <a:latin typeface="Arial"/>
                        </a:defRPr>
                      </a:lvl1pPr>
                      <a:lvl2pPr marL="513198" algn="l" defTabSz="1026391" rtl="0" eaLnBrk="1" latinLnBrk="0" hangingPunct="1">
                        <a:defRPr sz="2063" b="1" kern="1200">
                          <a:solidFill>
                            <a:schemeClr val="lt1"/>
                          </a:solidFill>
                          <a:latin typeface="Arial"/>
                        </a:defRPr>
                      </a:lvl2pPr>
                      <a:lvl3pPr marL="1026391" algn="l" defTabSz="1026391" rtl="0" eaLnBrk="1" latinLnBrk="0" hangingPunct="1">
                        <a:defRPr sz="2063" b="1" kern="1200">
                          <a:solidFill>
                            <a:schemeClr val="lt1"/>
                          </a:solidFill>
                          <a:latin typeface="Arial"/>
                        </a:defRPr>
                      </a:lvl3pPr>
                      <a:lvl4pPr marL="1539585" algn="l" defTabSz="1026391" rtl="0" eaLnBrk="1" latinLnBrk="0" hangingPunct="1">
                        <a:defRPr sz="2063" b="1" kern="1200">
                          <a:solidFill>
                            <a:schemeClr val="lt1"/>
                          </a:solidFill>
                          <a:latin typeface="Arial"/>
                        </a:defRPr>
                      </a:lvl4pPr>
                      <a:lvl5pPr marL="2052772" algn="l" defTabSz="1026391" rtl="0" eaLnBrk="1" latinLnBrk="0" hangingPunct="1">
                        <a:defRPr sz="2063" b="1" kern="1200">
                          <a:solidFill>
                            <a:schemeClr val="lt1"/>
                          </a:solidFill>
                          <a:latin typeface="Arial"/>
                        </a:defRPr>
                      </a:lvl5pPr>
                      <a:lvl6pPr marL="2565968" algn="l" defTabSz="1026391" rtl="0" eaLnBrk="1" latinLnBrk="0" hangingPunct="1">
                        <a:defRPr sz="2063" b="1" kern="1200">
                          <a:solidFill>
                            <a:schemeClr val="lt1"/>
                          </a:solidFill>
                          <a:latin typeface="Arial"/>
                        </a:defRPr>
                      </a:lvl6pPr>
                      <a:lvl7pPr marL="3079159" algn="l" defTabSz="1026391" rtl="0" eaLnBrk="1" latinLnBrk="0" hangingPunct="1">
                        <a:defRPr sz="2063" b="1" kern="1200">
                          <a:solidFill>
                            <a:schemeClr val="lt1"/>
                          </a:solidFill>
                          <a:latin typeface="Arial"/>
                        </a:defRPr>
                      </a:lvl7pPr>
                      <a:lvl8pPr marL="3592357" algn="l" defTabSz="1026391" rtl="0" eaLnBrk="1" latinLnBrk="0" hangingPunct="1">
                        <a:defRPr sz="2063" b="1" kern="1200">
                          <a:solidFill>
                            <a:schemeClr val="lt1"/>
                          </a:solidFill>
                          <a:latin typeface="Arial"/>
                        </a:defRPr>
                      </a:lvl8pPr>
                      <a:lvl9pPr marL="4105556" algn="l" defTabSz="1026391" rtl="0" eaLnBrk="1" latinLnBrk="0" hangingPunct="1">
                        <a:defRPr sz="2063" b="1" kern="1200">
                          <a:solidFill>
                            <a:schemeClr val="lt1"/>
                          </a:solidFill>
                          <a:latin typeface="Arial"/>
                        </a:defRPr>
                      </a:lvl9p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b="0" kern="1200" dirty="0">
                          <a:solidFill>
                            <a:schemeClr val="tx1"/>
                          </a:solidFill>
                          <a:effectLst/>
                          <a:latin typeface="+mn-lt"/>
                          <a:ea typeface="Batang"/>
                          <a:cs typeface="Times New Roman"/>
                        </a:rPr>
                        <a:t>Incentives from government</a:t>
                      </a:r>
                    </a:p>
                  </a:txBody>
                  <a:tcPr marL="9525" marR="9525" marT="9525" marB="0" anchor="ctr">
                    <a:lnL w="12700" cmpd="sng">
                      <a:noFill/>
                    </a:lnL>
                    <a:lnR w="12700" cmpd="sng">
                      <a:noFill/>
                    </a:lnR>
                    <a:lnT w="6350" cap="flat" cmpd="sng" algn="ctr">
                      <a:noFill/>
                      <a:prstDash val="sysDot"/>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1026391" rtl="0" eaLnBrk="1" latinLnBrk="0" hangingPunct="1">
                        <a:defRPr sz="2063" b="1" kern="1200">
                          <a:solidFill>
                            <a:schemeClr val="lt1"/>
                          </a:solidFill>
                          <a:latin typeface="Arial"/>
                        </a:defRPr>
                      </a:lvl1pPr>
                      <a:lvl2pPr marL="513198" algn="l" defTabSz="1026391" rtl="0" eaLnBrk="1" latinLnBrk="0" hangingPunct="1">
                        <a:defRPr sz="2063" b="1" kern="1200">
                          <a:solidFill>
                            <a:schemeClr val="lt1"/>
                          </a:solidFill>
                          <a:latin typeface="Arial"/>
                        </a:defRPr>
                      </a:lvl2pPr>
                      <a:lvl3pPr marL="1026391" algn="l" defTabSz="1026391" rtl="0" eaLnBrk="1" latinLnBrk="0" hangingPunct="1">
                        <a:defRPr sz="2063" b="1" kern="1200">
                          <a:solidFill>
                            <a:schemeClr val="lt1"/>
                          </a:solidFill>
                          <a:latin typeface="Arial"/>
                        </a:defRPr>
                      </a:lvl3pPr>
                      <a:lvl4pPr marL="1539585" algn="l" defTabSz="1026391" rtl="0" eaLnBrk="1" latinLnBrk="0" hangingPunct="1">
                        <a:defRPr sz="2063" b="1" kern="1200">
                          <a:solidFill>
                            <a:schemeClr val="lt1"/>
                          </a:solidFill>
                          <a:latin typeface="Arial"/>
                        </a:defRPr>
                      </a:lvl4pPr>
                      <a:lvl5pPr marL="2052772" algn="l" defTabSz="1026391" rtl="0" eaLnBrk="1" latinLnBrk="0" hangingPunct="1">
                        <a:defRPr sz="2063" b="1" kern="1200">
                          <a:solidFill>
                            <a:schemeClr val="lt1"/>
                          </a:solidFill>
                          <a:latin typeface="Arial"/>
                        </a:defRPr>
                      </a:lvl5pPr>
                      <a:lvl6pPr marL="2565968" algn="l" defTabSz="1026391" rtl="0" eaLnBrk="1" latinLnBrk="0" hangingPunct="1">
                        <a:defRPr sz="2063" b="1" kern="1200">
                          <a:solidFill>
                            <a:schemeClr val="lt1"/>
                          </a:solidFill>
                          <a:latin typeface="Arial"/>
                        </a:defRPr>
                      </a:lvl6pPr>
                      <a:lvl7pPr marL="3079159" algn="l" defTabSz="1026391" rtl="0" eaLnBrk="1" latinLnBrk="0" hangingPunct="1">
                        <a:defRPr sz="2063" b="1" kern="1200">
                          <a:solidFill>
                            <a:schemeClr val="lt1"/>
                          </a:solidFill>
                          <a:latin typeface="Arial"/>
                        </a:defRPr>
                      </a:lvl7pPr>
                      <a:lvl8pPr marL="3592357" algn="l" defTabSz="1026391" rtl="0" eaLnBrk="1" latinLnBrk="0" hangingPunct="1">
                        <a:defRPr sz="2063" b="1" kern="1200">
                          <a:solidFill>
                            <a:schemeClr val="lt1"/>
                          </a:solidFill>
                          <a:latin typeface="Arial"/>
                        </a:defRPr>
                      </a:lvl8pPr>
                      <a:lvl9pPr marL="4105556" algn="l" defTabSz="1026391" rtl="0" eaLnBrk="1" latinLnBrk="0" hangingPunct="1">
                        <a:defRPr sz="2063" b="1" kern="1200">
                          <a:solidFill>
                            <a:schemeClr val="lt1"/>
                          </a:solidFill>
                          <a:latin typeface="Arial"/>
                        </a:defRPr>
                      </a:lvl9pPr>
                    </a:lstStyle>
                    <a:p>
                      <a:pPr marL="0" algn="r" defTabSz="914400" rtl="0" eaLnBrk="1" fontAlgn="b" latinLnBrk="0" hangingPunct="1"/>
                      <a:endParaRPr lang="en-GB" sz="11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6350" cap="flat" cmpd="sng" algn="ctr">
                      <a:noFill/>
                      <a:prstDash val="sysDot"/>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0"/>
                  </a:ext>
                </a:extLst>
              </a:tr>
              <a:tr h="445993">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Payback in shorter timeframe</a:t>
                      </a: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algn="r" defTabSz="914400" rtl="0" eaLnBrk="1" fontAlgn="b" latinLnBrk="0" hangingPunct="1"/>
                      <a:endParaRPr lang="en-GB" sz="11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1"/>
                  </a:ext>
                </a:extLst>
              </a:tr>
              <a:tr h="445993">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More matured/reliable technology</a:t>
                      </a: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algn="r" defTabSz="914400" rtl="0" eaLnBrk="1" fontAlgn="b" latinLnBrk="0" hangingPunct="1"/>
                      <a:endParaRPr lang="en-GB" sz="11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2"/>
                  </a:ext>
                </a:extLst>
              </a:tr>
              <a:tr h="456349">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More explanation on what benefits I can </a:t>
                      </a:r>
                    </a:p>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expect from battery energy storage</a:t>
                      </a: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algn="r" defTabSz="914400" rtl="0" eaLnBrk="1" fontAlgn="b" latinLnBrk="0" hangingPunct="1"/>
                      <a:endParaRPr lang="en-GB" sz="11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3"/>
                  </a:ext>
                </a:extLst>
              </a:tr>
              <a:tr h="445993">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Flexible payment options</a:t>
                      </a: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algn="r" defTabSz="914400" rtl="0" eaLnBrk="1" fontAlgn="b" latinLnBrk="0" hangingPunct="1"/>
                      <a:endParaRPr lang="en-GB" sz="1200" b="0" i="0" u="none" strike="noStrike" kern="1200" dirty="0">
                        <a:solidFill>
                          <a:srgbClr val="003260"/>
                        </a:solidFill>
                        <a:latin typeface="+mn-lt"/>
                        <a:ea typeface="+mn-ea"/>
                        <a:cs typeface="+mn-cs"/>
                      </a:endParaRP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95000"/>
                        <a:alpha val="0"/>
                      </a:sysClr>
                    </a:solidFill>
                  </a:tcPr>
                </a:tc>
                <a:extLst>
                  <a:ext uri="{0D108BD9-81ED-4DB2-BD59-A6C34878D82A}">
                    <a16:rowId xmlns:a16="http://schemas.microsoft.com/office/drawing/2014/main" val="10004"/>
                  </a:ext>
                </a:extLst>
              </a:tr>
              <a:tr h="456349">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Detailed training on how to use </a:t>
                      </a:r>
                    </a:p>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this battery energy storage</a:t>
                      </a: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algn="r" defTabSz="914400" rtl="0" eaLnBrk="1" fontAlgn="b" latinLnBrk="0" hangingPunct="1"/>
                      <a:endParaRPr lang="en-GB" sz="11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5"/>
                  </a:ext>
                </a:extLst>
              </a:tr>
              <a:tr h="578211">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More tests of the devices to better</a:t>
                      </a:r>
                    </a:p>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 investigates all possible effects of the solution</a:t>
                      </a: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algn="r" defTabSz="914400" rtl="0" eaLnBrk="1" fontAlgn="b" latinLnBrk="0" hangingPunct="1"/>
                      <a:endParaRPr lang="en-GB" sz="11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6"/>
                  </a:ext>
                </a:extLst>
              </a:tr>
              <a:tr h="456349">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Lease based model with zero installation</a:t>
                      </a:r>
                    </a:p>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 and operational effort for households (you).</a:t>
                      </a: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algn="r" defTabSz="914400" rtl="0" eaLnBrk="1" fontAlgn="b" latinLnBrk="0" hangingPunct="1"/>
                      <a:endParaRPr lang="en-GB" sz="11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solidFill>
                        <a:sysClr val="window" lastClr="FFFFFF">
                          <a:lumMod val="95000"/>
                        </a:sys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7"/>
                  </a:ext>
                </a:extLst>
              </a:tr>
              <a:tr h="445993">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Bundled with PV contract</a:t>
                      </a: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lvl1pPr marL="0" algn="l" defTabSz="1026391" rtl="0" eaLnBrk="1" latinLnBrk="0" hangingPunct="1">
                        <a:defRPr sz="2063" kern="1200">
                          <a:solidFill>
                            <a:schemeClr val="dk1"/>
                          </a:solidFill>
                          <a:latin typeface="Arial"/>
                        </a:defRPr>
                      </a:lvl1pPr>
                      <a:lvl2pPr marL="513198" algn="l" defTabSz="1026391" rtl="0" eaLnBrk="1" latinLnBrk="0" hangingPunct="1">
                        <a:defRPr sz="2063" kern="1200">
                          <a:solidFill>
                            <a:schemeClr val="dk1"/>
                          </a:solidFill>
                          <a:latin typeface="Arial"/>
                        </a:defRPr>
                      </a:lvl2pPr>
                      <a:lvl3pPr marL="1026391" algn="l" defTabSz="1026391" rtl="0" eaLnBrk="1" latinLnBrk="0" hangingPunct="1">
                        <a:defRPr sz="2063" kern="1200">
                          <a:solidFill>
                            <a:schemeClr val="dk1"/>
                          </a:solidFill>
                          <a:latin typeface="Arial"/>
                        </a:defRPr>
                      </a:lvl3pPr>
                      <a:lvl4pPr marL="1539585" algn="l" defTabSz="1026391" rtl="0" eaLnBrk="1" latinLnBrk="0" hangingPunct="1">
                        <a:defRPr sz="2063" kern="1200">
                          <a:solidFill>
                            <a:schemeClr val="dk1"/>
                          </a:solidFill>
                          <a:latin typeface="Arial"/>
                        </a:defRPr>
                      </a:lvl4pPr>
                      <a:lvl5pPr marL="2052772" algn="l" defTabSz="1026391" rtl="0" eaLnBrk="1" latinLnBrk="0" hangingPunct="1">
                        <a:defRPr sz="2063" kern="1200">
                          <a:solidFill>
                            <a:schemeClr val="dk1"/>
                          </a:solidFill>
                          <a:latin typeface="Arial"/>
                        </a:defRPr>
                      </a:lvl5pPr>
                      <a:lvl6pPr marL="2565968" algn="l" defTabSz="1026391" rtl="0" eaLnBrk="1" latinLnBrk="0" hangingPunct="1">
                        <a:defRPr sz="2063" kern="1200">
                          <a:solidFill>
                            <a:schemeClr val="dk1"/>
                          </a:solidFill>
                          <a:latin typeface="Arial"/>
                        </a:defRPr>
                      </a:lvl6pPr>
                      <a:lvl7pPr marL="3079159" algn="l" defTabSz="1026391" rtl="0" eaLnBrk="1" latinLnBrk="0" hangingPunct="1">
                        <a:defRPr sz="2063" kern="1200">
                          <a:solidFill>
                            <a:schemeClr val="dk1"/>
                          </a:solidFill>
                          <a:latin typeface="Arial"/>
                        </a:defRPr>
                      </a:lvl7pPr>
                      <a:lvl8pPr marL="3592357" algn="l" defTabSz="1026391" rtl="0" eaLnBrk="1" latinLnBrk="0" hangingPunct="1">
                        <a:defRPr sz="2063" kern="1200">
                          <a:solidFill>
                            <a:schemeClr val="dk1"/>
                          </a:solidFill>
                          <a:latin typeface="Arial"/>
                        </a:defRPr>
                      </a:lvl8pPr>
                      <a:lvl9pPr marL="4105556" algn="l" defTabSz="1026391" rtl="0" eaLnBrk="1" latinLnBrk="0" hangingPunct="1">
                        <a:defRPr sz="2063" kern="1200">
                          <a:solidFill>
                            <a:schemeClr val="dk1"/>
                          </a:solidFill>
                          <a:latin typeface="Arial"/>
                        </a:defRPr>
                      </a:lvl9pPr>
                    </a:lstStyle>
                    <a:p>
                      <a:pPr marL="0" algn="r" defTabSz="914400" rtl="0" eaLnBrk="1" fontAlgn="b" latinLnBrk="0" hangingPunct="1"/>
                      <a:endParaRPr lang="en-GB" sz="11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ysClr val="window" lastClr="FFFFFF">
                          <a:lumMod val="95000"/>
                        </a:sys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8"/>
                  </a:ext>
                </a:extLst>
              </a:tr>
            </a:tbl>
          </a:graphicData>
        </a:graphic>
      </p:graphicFrame>
      <p:graphicFrame>
        <p:nvGraphicFramePr>
          <p:cNvPr id="13" name="Content Placeholder 4">
            <a:extLst>
              <a:ext uri="{FF2B5EF4-FFF2-40B4-BE49-F238E27FC236}">
                <a16:creationId xmlns:a16="http://schemas.microsoft.com/office/drawing/2014/main" id="{FFC28787-49DA-23AA-C3F1-AD8DFC056736}"/>
              </a:ext>
            </a:extLst>
          </p:cNvPr>
          <p:cNvGraphicFramePr>
            <a:graphicFrameLocks/>
          </p:cNvGraphicFramePr>
          <p:nvPr/>
        </p:nvGraphicFramePr>
        <p:xfrm>
          <a:off x="5645590" y="2175954"/>
          <a:ext cx="2899487" cy="4177223"/>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AAD2D4B4-5255-EF81-3906-47BC57516097}"/>
              </a:ext>
            </a:extLst>
          </p:cNvPr>
          <p:cNvSpPr txBox="1"/>
          <p:nvPr/>
        </p:nvSpPr>
        <p:spPr>
          <a:xfrm>
            <a:off x="4054057" y="1661508"/>
            <a:ext cx="3459182" cy="369332"/>
          </a:xfrm>
          <a:prstGeom prst="rect">
            <a:avLst/>
          </a:prstGeom>
        </p:spPr>
        <p:txBody>
          <a:bodyPr wrap="square" lIns="0" tIns="0" rIns="0" bIns="0">
            <a:spAutoFit/>
          </a:bodyPr>
          <a:lstStyle>
            <a:defPPr>
              <a:defRPr lang="en-US"/>
            </a:defPPr>
            <a:lvl1pPr algn="ctr" defTabSz="914400">
              <a:buSzPct val="75000"/>
              <a:defRPr sz="1400" b="1" kern="0">
                <a:solidFill>
                  <a:srgbClr val="17426B"/>
                </a:solidFill>
                <a:cs typeface="Arial" charset="0"/>
              </a:defRPr>
            </a:lvl1pPr>
          </a:lstStyle>
          <a:p>
            <a:pPr marL="0" marR="0" lvl="0" indent="0" algn="ctr" defTabSz="914400" rtl="0" eaLnBrk="1" fontAlgn="auto" latinLnBrk="0" hangingPunct="1">
              <a:lnSpc>
                <a:spcPct val="100000"/>
              </a:lnSpc>
              <a:spcBef>
                <a:spcPts val="0"/>
              </a:spcBef>
              <a:spcAft>
                <a:spcPts val="0"/>
              </a:spcAft>
              <a:buClrTx/>
              <a:buSzPct val="75000"/>
              <a:buFontTx/>
              <a:buNone/>
              <a:tabLst/>
              <a:defRPr/>
            </a:pPr>
            <a:r>
              <a:rPr kumimoji="0" lang="en-US" sz="1200" b="1" i="0" u="none" strike="noStrike" kern="0" cap="none" spc="0" normalizeH="0" baseline="0" noProof="0" dirty="0">
                <a:ln>
                  <a:noFill/>
                </a:ln>
                <a:solidFill>
                  <a:srgbClr val="003260"/>
                </a:solidFill>
                <a:effectLst/>
                <a:uLnTx/>
                <a:uFillTx/>
                <a:latin typeface="Calibri"/>
                <a:ea typeface="+mn-ea"/>
                <a:cs typeface="Arial" charset="0"/>
              </a:rPr>
              <a:t>What would be required to make battery energy storage more attractive for you?</a:t>
            </a:r>
          </a:p>
        </p:txBody>
      </p:sp>
      <p:pic>
        <p:nvPicPr>
          <p:cNvPr id="22" name="Picture 4" descr="Image result">
            <a:extLst>
              <a:ext uri="{FF2B5EF4-FFF2-40B4-BE49-F238E27FC236}">
                <a16:creationId xmlns:a16="http://schemas.microsoft.com/office/drawing/2014/main" id="{A57D0FA2-F114-F2B6-C1A4-C21F51CC399F}"/>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336890" y="317429"/>
            <a:ext cx="372843" cy="252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9916173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2228FA3E-AE8D-27B3-8380-77DB1AFA8EC6}"/>
              </a:ext>
            </a:extLst>
          </p:cNvPr>
          <p:cNvSpPr>
            <a:spLocks/>
          </p:cNvSpPr>
          <p:nvPr/>
        </p:nvSpPr>
        <p:spPr>
          <a:xfrm flipH="1">
            <a:off x="281932" y="684076"/>
            <a:ext cx="11628139" cy="68562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199" marR="0" lvl="0" indent="0" algn="l" defTabSz="857014"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A44D6D8D-7249-BD64-6662-57B4C8485E47}"/>
              </a:ext>
            </a:extLst>
          </p:cNvPr>
          <p:cNvSpPr/>
          <p:nvPr/>
        </p:nvSpPr>
        <p:spPr>
          <a:xfrm>
            <a:off x="1120357" y="935133"/>
            <a:ext cx="10653500" cy="221599"/>
          </a:xfrm>
          <a:prstGeom prst="rect">
            <a:avLst/>
          </a:prstGeom>
        </p:spPr>
        <p:txBody>
          <a:bodyPr wrap="square" lIns="0" tIns="0" rIns="0" bIns="0" anchor="ctr">
            <a:spAutoFit/>
          </a:bodyPr>
          <a:lstStyle/>
          <a:p>
            <a:pPr marL="0" marR="0" lvl="0" indent="0" algn="l" defTabSz="1094544" rtl="0" eaLnBrk="1" fontAlgn="auto" latinLnBrk="0" hangingPunct="1">
              <a:lnSpc>
                <a:spcPct val="90000"/>
              </a:lnSpc>
              <a:spcBef>
                <a:spcPct val="0"/>
              </a:spcBef>
              <a:spcAft>
                <a:spcPts val="0"/>
              </a:spcAft>
              <a:buClrTx/>
              <a:buSzTx/>
              <a:buFontTx/>
              <a:buNone/>
              <a:tabLst/>
              <a:defRPr/>
            </a:pPr>
            <a:r>
              <a:rPr lang="en-GB" sz="1600" b="1" dirty="0">
                <a:solidFill>
                  <a:prstClr val="white"/>
                </a:solidFill>
                <a:latin typeface="Calibri"/>
              </a:rPr>
              <a:t>Energy independence features highly for prospective buyers</a:t>
            </a:r>
            <a:endParaRPr kumimoji="0" lang="en-GB"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284383" y="272295"/>
            <a:ext cx="11623236" cy="369236"/>
          </a:xfrm>
        </p:spPr>
        <p:txBody>
          <a:bodyPr/>
          <a:lstStyle/>
          <a:p>
            <a:r>
              <a:rPr lang="en-US" dirty="0">
                <a:solidFill>
                  <a:srgbClr val="172D55"/>
                </a:solidFill>
              </a:rPr>
              <a:t>Key perceived benefits</a:t>
            </a:r>
            <a:endParaRPr lang="en-GB" dirty="0"/>
          </a:p>
        </p:txBody>
      </p:sp>
      <p:grpSp>
        <p:nvGrpSpPr>
          <p:cNvPr id="18" name="Group 17">
            <a:extLst>
              <a:ext uri="{FF2B5EF4-FFF2-40B4-BE49-F238E27FC236}">
                <a16:creationId xmlns:a16="http://schemas.microsoft.com/office/drawing/2014/main" id="{7F0408A9-6E91-0DFB-440A-C9EA1DEBC1C9}"/>
              </a:ext>
            </a:extLst>
          </p:cNvPr>
          <p:cNvGrpSpPr/>
          <p:nvPr/>
        </p:nvGrpSpPr>
        <p:grpSpPr>
          <a:xfrm>
            <a:off x="281931" y="743886"/>
            <a:ext cx="702214" cy="566002"/>
            <a:chOff x="779460" y="743186"/>
            <a:chExt cx="702397" cy="566149"/>
          </a:xfrm>
        </p:grpSpPr>
        <p:sp>
          <p:nvSpPr>
            <p:cNvPr id="9" name="Rectangle 8">
              <a:extLst>
                <a:ext uri="{FF2B5EF4-FFF2-40B4-BE49-F238E27FC236}">
                  <a16:creationId xmlns:a16="http://schemas.microsoft.com/office/drawing/2014/main" id="{23DEE729-02BB-9367-9E03-0683E8D57358}"/>
                </a:ext>
              </a:extLst>
            </p:cNvPr>
            <p:cNvSpPr/>
            <p:nvPr/>
          </p:nvSpPr>
          <p:spPr>
            <a:xfrm>
              <a:off x="779460" y="1004830"/>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52795A46-49F6-6B5C-E6D8-DAE7B1E6484F}"/>
                </a:ext>
              </a:extLst>
            </p:cNvPr>
            <p:cNvSpPr/>
            <p:nvPr/>
          </p:nvSpPr>
          <p:spPr>
            <a:xfrm>
              <a:off x="915708" y="743186"/>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C73E1CF0-F5F5-43FF-FBD4-DBE7862DAA5D}"/>
                </a:ext>
              </a:extLst>
            </p:cNvPr>
            <p:cNvGrpSpPr/>
            <p:nvPr/>
          </p:nvGrpSpPr>
          <p:grpSpPr>
            <a:xfrm>
              <a:off x="1015152" y="830461"/>
              <a:ext cx="356737" cy="385459"/>
              <a:chOff x="-8902701" y="1020763"/>
              <a:chExt cx="4456113" cy="4814888"/>
            </a:xfrm>
            <a:solidFill>
              <a:schemeClr val="bg1"/>
            </a:solidFill>
          </p:grpSpPr>
          <p:sp>
            <p:nvSpPr>
              <p:cNvPr id="5" name="Freeform 19">
                <a:extLst>
                  <a:ext uri="{FF2B5EF4-FFF2-40B4-BE49-F238E27FC236}">
                    <a16:creationId xmlns:a16="http://schemas.microsoft.com/office/drawing/2014/main" id="{9309B6D1-14B6-5FEA-884B-FCA1F5A37941}"/>
                  </a:ext>
                </a:extLst>
              </p:cNvPr>
              <p:cNvSpPr>
                <a:spLocks/>
              </p:cNvSpPr>
              <p:nvPr/>
            </p:nvSpPr>
            <p:spPr bwMode="auto">
              <a:xfrm>
                <a:off x="-8902701" y="1147763"/>
                <a:ext cx="2230438" cy="4200525"/>
              </a:xfrm>
              <a:custGeom>
                <a:avLst/>
                <a:gdLst>
                  <a:gd name="T0" fmla="*/ 1405 w 1405"/>
                  <a:gd name="T1" fmla="*/ 0 h 2646"/>
                  <a:gd name="T2" fmla="*/ 1205 w 1405"/>
                  <a:gd name="T3" fmla="*/ 233 h 2646"/>
                  <a:gd name="T4" fmla="*/ 1024 w 1405"/>
                  <a:gd name="T5" fmla="*/ 279 h 2646"/>
                  <a:gd name="T6" fmla="*/ 854 w 1405"/>
                  <a:gd name="T7" fmla="*/ 351 h 2646"/>
                  <a:gd name="T8" fmla="*/ 699 w 1405"/>
                  <a:gd name="T9" fmla="*/ 448 h 2646"/>
                  <a:gd name="T10" fmla="*/ 562 w 1405"/>
                  <a:gd name="T11" fmla="*/ 567 h 2646"/>
                  <a:gd name="T12" fmla="*/ 444 w 1405"/>
                  <a:gd name="T13" fmla="*/ 706 h 2646"/>
                  <a:gd name="T14" fmla="*/ 347 w 1405"/>
                  <a:gd name="T15" fmla="*/ 860 h 2646"/>
                  <a:gd name="T16" fmla="*/ 276 w 1405"/>
                  <a:gd name="T17" fmla="*/ 1030 h 2646"/>
                  <a:gd name="T18" fmla="*/ 230 w 1405"/>
                  <a:gd name="T19" fmla="*/ 1212 h 2646"/>
                  <a:gd name="T20" fmla="*/ 216 w 1405"/>
                  <a:gd name="T21" fmla="*/ 1405 h 2646"/>
                  <a:gd name="T22" fmla="*/ 230 w 1405"/>
                  <a:gd name="T23" fmla="*/ 1592 h 2646"/>
                  <a:gd name="T24" fmla="*/ 274 w 1405"/>
                  <a:gd name="T25" fmla="*/ 1772 h 2646"/>
                  <a:gd name="T26" fmla="*/ 343 w 1405"/>
                  <a:gd name="T27" fmla="*/ 1939 h 2646"/>
                  <a:gd name="T28" fmla="*/ 436 w 1405"/>
                  <a:gd name="T29" fmla="*/ 2092 h 2646"/>
                  <a:gd name="T30" fmla="*/ 550 w 1405"/>
                  <a:gd name="T31" fmla="*/ 2230 h 2646"/>
                  <a:gd name="T32" fmla="*/ 683 w 1405"/>
                  <a:gd name="T33" fmla="*/ 2349 h 2646"/>
                  <a:gd name="T34" fmla="*/ 833 w 1405"/>
                  <a:gd name="T35" fmla="*/ 2446 h 2646"/>
                  <a:gd name="T36" fmla="*/ 674 w 1405"/>
                  <a:gd name="T37" fmla="*/ 2604 h 2646"/>
                  <a:gd name="T38" fmla="*/ 537 w 1405"/>
                  <a:gd name="T39" fmla="*/ 2510 h 2646"/>
                  <a:gd name="T40" fmla="*/ 411 w 1405"/>
                  <a:gd name="T41" fmla="*/ 2398 h 2646"/>
                  <a:gd name="T42" fmla="*/ 277 w 1405"/>
                  <a:gd name="T43" fmla="*/ 2244 h 2646"/>
                  <a:gd name="T44" fmla="*/ 170 w 1405"/>
                  <a:gd name="T45" fmla="*/ 2077 h 2646"/>
                  <a:gd name="T46" fmla="*/ 88 w 1405"/>
                  <a:gd name="T47" fmla="*/ 1896 h 2646"/>
                  <a:gd name="T48" fmla="*/ 31 w 1405"/>
                  <a:gd name="T49" fmla="*/ 1705 h 2646"/>
                  <a:gd name="T50" fmla="*/ 3 w 1405"/>
                  <a:gd name="T51" fmla="*/ 1506 h 2646"/>
                  <a:gd name="T52" fmla="*/ 3 w 1405"/>
                  <a:gd name="T53" fmla="*/ 1303 h 2646"/>
                  <a:gd name="T54" fmla="*/ 31 w 1405"/>
                  <a:gd name="T55" fmla="*/ 1104 h 2646"/>
                  <a:gd name="T56" fmla="*/ 88 w 1405"/>
                  <a:gd name="T57" fmla="*/ 913 h 2646"/>
                  <a:gd name="T58" fmla="*/ 170 w 1405"/>
                  <a:gd name="T59" fmla="*/ 732 h 2646"/>
                  <a:gd name="T60" fmla="*/ 277 w 1405"/>
                  <a:gd name="T61" fmla="*/ 564 h 2646"/>
                  <a:gd name="T62" fmla="*/ 411 w 1405"/>
                  <a:gd name="T63" fmla="*/ 411 h 2646"/>
                  <a:gd name="T64" fmla="*/ 564 w 1405"/>
                  <a:gd name="T65" fmla="*/ 279 h 2646"/>
                  <a:gd name="T66" fmla="*/ 732 w 1405"/>
                  <a:gd name="T67" fmla="*/ 171 h 2646"/>
                  <a:gd name="T68" fmla="*/ 913 w 1405"/>
                  <a:gd name="T69" fmla="*/ 88 h 2646"/>
                  <a:gd name="T70" fmla="*/ 1102 w 1405"/>
                  <a:gd name="T71" fmla="*/ 33 h 2646"/>
                  <a:gd name="T72" fmla="*/ 1302 w 1405"/>
                  <a:gd name="T73" fmla="*/ 4 h 2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5" h="2646">
                    <a:moveTo>
                      <a:pt x="1404" y="0"/>
                    </a:moveTo>
                    <a:lnTo>
                      <a:pt x="1405" y="0"/>
                    </a:lnTo>
                    <a:lnTo>
                      <a:pt x="1300" y="221"/>
                    </a:lnTo>
                    <a:lnTo>
                      <a:pt x="1205" y="233"/>
                    </a:lnTo>
                    <a:lnTo>
                      <a:pt x="1113" y="253"/>
                    </a:lnTo>
                    <a:lnTo>
                      <a:pt x="1024" y="279"/>
                    </a:lnTo>
                    <a:lnTo>
                      <a:pt x="937" y="311"/>
                    </a:lnTo>
                    <a:lnTo>
                      <a:pt x="854" y="351"/>
                    </a:lnTo>
                    <a:lnTo>
                      <a:pt x="775" y="397"/>
                    </a:lnTo>
                    <a:lnTo>
                      <a:pt x="699" y="448"/>
                    </a:lnTo>
                    <a:lnTo>
                      <a:pt x="628" y="505"/>
                    </a:lnTo>
                    <a:lnTo>
                      <a:pt x="562" y="567"/>
                    </a:lnTo>
                    <a:lnTo>
                      <a:pt x="500" y="634"/>
                    </a:lnTo>
                    <a:lnTo>
                      <a:pt x="444" y="706"/>
                    </a:lnTo>
                    <a:lnTo>
                      <a:pt x="393" y="782"/>
                    </a:lnTo>
                    <a:lnTo>
                      <a:pt x="347" y="860"/>
                    </a:lnTo>
                    <a:lnTo>
                      <a:pt x="309" y="944"/>
                    </a:lnTo>
                    <a:lnTo>
                      <a:pt x="276" y="1030"/>
                    </a:lnTo>
                    <a:lnTo>
                      <a:pt x="250" y="1121"/>
                    </a:lnTo>
                    <a:lnTo>
                      <a:pt x="230" y="1212"/>
                    </a:lnTo>
                    <a:lnTo>
                      <a:pt x="220" y="1308"/>
                    </a:lnTo>
                    <a:lnTo>
                      <a:pt x="216" y="1405"/>
                    </a:lnTo>
                    <a:lnTo>
                      <a:pt x="220" y="1499"/>
                    </a:lnTo>
                    <a:lnTo>
                      <a:pt x="230" y="1592"/>
                    </a:lnTo>
                    <a:lnTo>
                      <a:pt x="249" y="1684"/>
                    </a:lnTo>
                    <a:lnTo>
                      <a:pt x="274" y="1772"/>
                    </a:lnTo>
                    <a:lnTo>
                      <a:pt x="305" y="1857"/>
                    </a:lnTo>
                    <a:lnTo>
                      <a:pt x="343" y="1939"/>
                    </a:lnTo>
                    <a:lnTo>
                      <a:pt x="386" y="2018"/>
                    </a:lnTo>
                    <a:lnTo>
                      <a:pt x="436" y="2092"/>
                    </a:lnTo>
                    <a:lnTo>
                      <a:pt x="490" y="2163"/>
                    </a:lnTo>
                    <a:lnTo>
                      <a:pt x="550" y="2230"/>
                    </a:lnTo>
                    <a:lnTo>
                      <a:pt x="614" y="2291"/>
                    </a:lnTo>
                    <a:lnTo>
                      <a:pt x="683" y="2349"/>
                    </a:lnTo>
                    <a:lnTo>
                      <a:pt x="757" y="2400"/>
                    </a:lnTo>
                    <a:lnTo>
                      <a:pt x="833" y="2446"/>
                    </a:lnTo>
                    <a:lnTo>
                      <a:pt x="746" y="2646"/>
                    </a:lnTo>
                    <a:lnTo>
                      <a:pt x="674" y="2604"/>
                    </a:lnTo>
                    <a:lnTo>
                      <a:pt x="605" y="2560"/>
                    </a:lnTo>
                    <a:lnTo>
                      <a:pt x="537" y="2510"/>
                    </a:lnTo>
                    <a:lnTo>
                      <a:pt x="473" y="2455"/>
                    </a:lnTo>
                    <a:lnTo>
                      <a:pt x="411" y="2398"/>
                    </a:lnTo>
                    <a:lnTo>
                      <a:pt x="342" y="2323"/>
                    </a:lnTo>
                    <a:lnTo>
                      <a:pt x="277" y="2244"/>
                    </a:lnTo>
                    <a:lnTo>
                      <a:pt x="221" y="2162"/>
                    </a:lnTo>
                    <a:lnTo>
                      <a:pt x="170" y="2077"/>
                    </a:lnTo>
                    <a:lnTo>
                      <a:pt x="126" y="1988"/>
                    </a:lnTo>
                    <a:lnTo>
                      <a:pt x="88" y="1896"/>
                    </a:lnTo>
                    <a:lnTo>
                      <a:pt x="56" y="1802"/>
                    </a:lnTo>
                    <a:lnTo>
                      <a:pt x="31" y="1705"/>
                    </a:lnTo>
                    <a:lnTo>
                      <a:pt x="14" y="1607"/>
                    </a:lnTo>
                    <a:lnTo>
                      <a:pt x="3" y="1506"/>
                    </a:lnTo>
                    <a:lnTo>
                      <a:pt x="0" y="1405"/>
                    </a:lnTo>
                    <a:lnTo>
                      <a:pt x="3" y="1303"/>
                    </a:lnTo>
                    <a:lnTo>
                      <a:pt x="14" y="1202"/>
                    </a:lnTo>
                    <a:lnTo>
                      <a:pt x="31" y="1104"/>
                    </a:lnTo>
                    <a:lnTo>
                      <a:pt x="56" y="1007"/>
                    </a:lnTo>
                    <a:lnTo>
                      <a:pt x="88" y="913"/>
                    </a:lnTo>
                    <a:lnTo>
                      <a:pt x="126" y="821"/>
                    </a:lnTo>
                    <a:lnTo>
                      <a:pt x="170" y="732"/>
                    </a:lnTo>
                    <a:lnTo>
                      <a:pt x="221" y="647"/>
                    </a:lnTo>
                    <a:lnTo>
                      <a:pt x="277" y="564"/>
                    </a:lnTo>
                    <a:lnTo>
                      <a:pt x="342" y="486"/>
                    </a:lnTo>
                    <a:lnTo>
                      <a:pt x="411" y="411"/>
                    </a:lnTo>
                    <a:lnTo>
                      <a:pt x="486" y="342"/>
                    </a:lnTo>
                    <a:lnTo>
                      <a:pt x="564" y="279"/>
                    </a:lnTo>
                    <a:lnTo>
                      <a:pt x="645" y="221"/>
                    </a:lnTo>
                    <a:lnTo>
                      <a:pt x="732" y="171"/>
                    </a:lnTo>
                    <a:lnTo>
                      <a:pt x="821" y="127"/>
                    </a:lnTo>
                    <a:lnTo>
                      <a:pt x="913" y="88"/>
                    </a:lnTo>
                    <a:lnTo>
                      <a:pt x="1007" y="57"/>
                    </a:lnTo>
                    <a:lnTo>
                      <a:pt x="1102" y="33"/>
                    </a:lnTo>
                    <a:lnTo>
                      <a:pt x="1202" y="14"/>
                    </a:lnTo>
                    <a:lnTo>
                      <a:pt x="1302" y="4"/>
                    </a:lnTo>
                    <a:lnTo>
                      <a:pt x="1404"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Freeform 20">
                <a:extLst>
                  <a:ext uri="{FF2B5EF4-FFF2-40B4-BE49-F238E27FC236}">
                    <a16:creationId xmlns:a16="http://schemas.microsoft.com/office/drawing/2014/main" id="{E4B137F8-9762-AA05-FFE4-6100F3D33179}"/>
                  </a:ext>
                </a:extLst>
              </p:cNvPr>
              <p:cNvSpPr>
                <a:spLocks/>
              </p:cNvSpPr>
              <p:nvPr/>
            </p:nvSpPr>
            <p:spPr bwMode="auto">
              <a:xfrm>
                <a:off x="-7348538" y="1466850"/>
                <a:ext cx="2901950" cy="4140200"/>
              </a:xfrm>
              <a:custGeom>
                <a:avLst/>
                <a:gdLst>
                  <a:gd name="T0" fmla="*/ 1221 w 1828"/>
                  <a:gd name="T1" fmla="*/ 46 h 2608"/>
                  <a:gd name="T2" fmla="*/ 1354 w 1828"/>
                  <a:gd name="T3" fmla="*/ 151 h 2608"/>
                  <a:gd name="T4" fmla="*/ 1487 w 1828"/>
                  <a:gd name="T5" fmla="*/ 285 h 2608"/>
                  <a:gd name="T6" fmla="*/ 1607 w 1828"/>
                  <a:gd name="T7" fmla="*/ 446 h 2608"/>
                  <a:gd name="T8" fmla="*/ 1703 w 1828"/>
                  <a:gd name="T9" fmla="*/ 620 h 2608"/>
                  <a:gd name="T10" fmla="*/ 1772 w 1828"/>
                  <a:gd name="T11" fmla="*/ 806 h 2608"/>
                  <a:gd name="T12" fmla="*/ 1814 w 1828"/>
                  <a:gd name="T13" fmla="*/ 1001 h 2608"/>
                  <a:gd name="T14" fmla="*/ 1828 w 1828"/>
                  <a:gd name="T15" fmla="*/ 1204 h 2608"/>
                  <a:gd name="T16" fmla="*/ 1814 w 1828"/>
                  <a:gd name="T17" fmla="*/ 1406 h 2608"/>
                  <a:gd name="T18" fmla="*/ 1772 w 1828"/>
                  <a:gd name="T19" fmla="*/ 1601 h 2608"/>
                  <a:gd name="T20" fmla="*/ 1703 w 1828"/>
                  <a:gd name="T21" fmla="*/ 1787 h 2608"/>
                  <a:gd name="T22" fmla="*/ 1607 w 1828"/>
                  <a:gd name="T23" fmla="*/ 1961 h 2608"/>
                  <a:gd name="T24" fmla="*/ 1487 w 1828"/>
                  <a:gd name="T25" fmla="*/ 2122 h 2608"/>
                  <a:gd name="T26" fmla="*/ 1343 w 1828"/>
                  <a:gd name="T27" fmla="*/ 2266 h 2608"/>
                  <a:gd name="T28" fmla="*/ 1183 w 1828"/>
                  <a:gd name="T29" fmla="*/ 2386 h 2608"/>
                  <a:gd name="T30" fmla="*/ 1007 w 1828"/>
                  <a:gd name="T31" fmla="*/ 2482 h 2608"/>
                  <a:gd name="T32" fmla="*/ 821 w 1828"/>
                  <a:gd name="T33" fmla="*/ 2551 h 2608"/>
                  <a:gd name="T34" fmla="*/ 626 w 1828"/>
                  <a:gd name="T35" fmla="*/ 2593 h 2608"/>
                  <a:gd name="T36" fmla="*/ 425 w 1828"/>
                  <a:gd name="T37" fmla="*/ 2608 h 2608"/>
                  <a:gd name="T38" fmla="*/ 209 w 1828"/>
                  <a:gd name="T39" fmla="*/ 2591 h 2608"/>
                  <a:gd name="T40" fmla="*/ 0 w 1828"/>
                  <a:gd name="T41" fmla="*/ 2542 h 2608"/>
                  <a:gd name="T42" fmla="*/ 235 w 1828"/>
                  <a:gd name="T43" fmla="*/ 2376 h 2608"/>
                  <a:gd name="T44" fmla="*/ 425 w 1828"/>
                  <a:gd name="T45" fmla="*/ 2392 h 2608"/>
                  <a:gd name="T46" fmla="*/ 617 w 1828"/>
                  <a:gd name="T47" fmla="*/ 2376 h 2608"/>
                  <a:gd name="T48" fmla="*/ 799 w 1828"/>
                  <a:gd name="T49" fmla="*/ 2331 h 2608"/>
                  <a:gd name="T50" fmla="*/ 971 w 1828"/>
                  <a:gd name="T51" fmla="*/ 2259 h 2608"/>
                  <a:gd name="T52" fmla="*/ 1127 w 1828"/>
                  <a:gd name="T53" fmla="*/ 2162 h 2608"/>
                  <a:gd name="T54" fmla="*/ 1264 w 1828"/>
                  <a:gd name="T55" fmla="*/ 2043 h 2608"/>
                  <a:gd name="T56" fmla="*/ 1383 w 1828"/>
                  <a:gd name="T57" fmla="*/ 1904 h 2608"/>
                  <a:gd name="T58" fmla="*/ 1480 w 1828"/>
                  <a:gd name="T59" fmla="*/ 1749 h 2608"/>
                  <a:gd name="T60" fmla="*/ 1552 w 1828"/>
                  <a:gd name="T61" fmla="*/ 1578 h 2608"/>
                  <a:gd name="T62" fmla="*/ 1597 w 1828"/>
                  <a:gd name="T63" fmla="*/ 1396 h 2608"/>
                  <a:gd name="T64" fmla="*/ 1612 w 1828"/>
                  <a:gd name="T65" fmla="*/ 1204 h 2608"/>
                  <a:gd name="T66" fmla="*/ 1597 w 1828"/>
                  <a:gd name="T67" fmla="*/ 1011 h 2608"/>
                  <a:gd name="T68" fmla="*/ 1552 w 1828"/>
                  <a:gd name="T69" fmla="*/ 828 h 2608"/>
                  <a:gd name="T70" fmla="*/ 1480 w 1828"/>
                  <a:gd name="T71" fmla="*/ 658 h 2608"/>
                  <a:gd name="T72" fmla="*/ 1383 w 1828"/>
                  <a:gd name="T73" fmla="*/ 502 h 2608"/>
                  <a:gd name="T74" fmla="*/ 1264 w 1828"/>
                  <a:gd name="T75" fmla="*/ 365 h 2608"/>
                  <a:gd name="T76" fmla="*/ 1127 w 1828"/>
                  <a:gd name="T77" fmla="*/ 245 h 2608"/>
                  <a:gd name="T78" fmla="*/ 1149 w 1828"/>
                  <a:gd name="T79"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8" h="2608">
                    <a:moveTo>
                      <a:pt x="1149" y="0"/>
                    </a:moveTo>
                    <a:lnTo>
                      <a:pt x="1221" y="46"/>
                    </a:lnTo>
                    <a:lnTo>
                      <a:pt x="1289" y="96"/>
                    </a:lnTo>
                    <a:lnTo>
                      <a:pt x="1354" y="151"/>
                    </a:lnTo>
                    <a:lnTo>
                      <a:pt x="1417" y="210"/>
                    </a:lnTo>
                    <a:lnTo>
                      <a:pt x="1487" y="285"/>
                    </a:lnTo>
                    <a:lnTo>
                      <a:pt x="1551" y="363"/>
                    </a:lnTo>
                    <a:lnTo>
                      <a:pt x="1607" y="446"/>
                    </a:lnTo>
                    <a:lnTo>
                      <a:pt x="1658" y="531"/>
                    </a:lnTo>
                    <a:lnTo>
                      <a:pt x="1703" y="620"/>
                    </a:lnTo>
                    <a:lnTo>
                      <a:pt x="1741" y="712"/>
                    </a:lnTo>
                    <a:lnTo>
                      <a:pt x="1772" y="806"/>
                    </a:lnTo>
                    <a:lnTo>
                      <a:pt x="1797" y="903"/>
                    </a:lnTo>
                    <a:lnTo>
                      <a:pt x="1814" y="1001"/>
                    </a:lnTo>
                    <a:lnTo>
                      <a:pt x="1826" y="1102"/>
                    </a:lnTo>
                    <a:lnTo>
                      <a:pt x="1828" y="1204"/>
                    </a:lnTo>
                    <a:lnTo>
                      <a:pt x="1826" y="1305"/>
                    </a:lnTo>
                    <a:lnTo>
                      <a:pt x="1814" y="1406"/>
                    </a:lnTo>
                    <a:lnTo>
                      <a:pt x="1797" y="1504"/>
                    </a:lnTo>
                    <a:lnTo>
                      <a:pt x="1772" y="1601"/>
                    </a:lnTo>
                    <a:lnTo>
                      <a:pt x="1741" y="1695"/>
                    </a:lnTo>
                    <a:lnTo>
                      <a:pt x="1703" y="1787"/>
                    </a:lnTo>
                    <a:lnTo>
                      <a:pt x="1658" y="1876"/>
                    </a:lnTo>
                    <a:lnTo>
                      <a:pt x="1607" y="1961"/>
                    </a:lnTo>
                    <a:lnTo>
                      <a:pt x="1551" y="2043"/>
                    </a:lnTo>
                    <a:lnTo>
                      <a:pt x="1487" y="2122"/>
                    </a:lnTo>
                    <a:lnTo>
                      <a:pt x="1417" y="2197"/>
                    </a:lnTo>
                    <a:lnTo>
                      <a:pt x="1343" y="2266"/>
                    </a:lnTo>
                    <a:lnTo>
                      <a:pt x="1264" y="2329"/>
                    </a:lnTo>
                    <a:lnTo>
                      <a:pt x="1183" y="2386"/>
                    </a:lnTo>
                    <a:lnTo>
                      <a:pt x="1096" y="2437"/>
                    </a:lnTo>
                    <a:lnTo>
                      <a:pt x="1007" y="2482"/>
                    </a:lnTo>
                    <a:lnTo>
                      <a:pt x="916" y="2520"/>
                    </a:lnTo>
                    <a:lnTo>
                      <a:pt x="821" y="2551"/>
                    </a:lnTo>
                    <a:lnTo>
                      <a:pt x="726" y="2576"/>
                    </a:lnTo>
                    <a:lnTo>
                      <a:pt x="626" y="2593"/>
                    </a:lnTo>
                    <a:lnTo>
                      <a:pt x="527" y="2604"/>
                    </a:lnTo>
                    <a:lnTo>
                      <a:pt x="425" y="2608"/>
                    </a:lnTo>
                    <a:lnTo>
                      <a:pt x="316" y="2604"/>
                    </a:lnTo>
                    <a:lnTo>
                      <a:pt x="209" y="2591"/>
                    </a:lnTo>
                    <a:lnTo>
                      <a:pt x="103" y="2571"/>
                    </a:lnTo>
                    <a:lnTo>
                      <a:pt x="0" y="2542"/>
                    </a:lnTo>
                    <a:lnTo>
                      <a:pt x="144" y="2358"/>
                    </a:lnTo>
                    <a:lnTo>
                      <a:pt x="235" y="2376"/>
                    </a:lnTo>
                    <a:lnTo>
                      <a:pt x="329" y="2388"/>
                    </a:lnTo>
                    <a:lnTo>
                      <a:pt x="425" y="2392"/>
                    </a:lnTo>
                    <a:lnTo>
                      <a:pt x="522" y="2388"/>
                    </a:lnTo>
                    <a:lnTo>
                      <a:pt x="617" y="2376"/>
                    </a:lnTo>
                    <a:lnTo>
                      <a:pt x="710" y="2358"/>
                    </a:lnTo>
                    <a:lnTo>
                      <a:pt x="799" y="2331"/>
                    </a:lnTo>
                    <a:lnTo>
                      <a:pt x="887" y="2299"/>
                    </a:lnTo>
                    <a:lnTo>
                      <a:pt x="971" y="2259"/>
                    </a:lnTo>
                    <a:lnTo>
                      <a:pt x="1051" y="2214"/>
                    </a:lnTo>
                    <a:lnTo>
                      <a:pt x="1127" y="2162"/>
                    </a:lnTo>
                    <a:lnTo>
                      <a:pt x="1197" y="2105"/>
                    </a:lnTo>
                    <a:lnTo>
                      <a:pt x="1264" y="2043"/>
                    </a:lnTo>
                    <a:lnTo>
                      <a:pt x="1327" y="1977"/>
                    </a:lnTo>
                    <a:lnTo>
                      <a:pt x="1383" y="1904"/>
                    </a:lnTo>
                    <a:lnTo>
                      <a:pt x="1434" y="1829"/>
                    </a:lnTo>
                    <a:lnTo>
                      <a:pt x="1480" y="1749"/>
                    </a:lnTo>
                    <a:lnTo>
                      <a:pt x="1519" y="1665"/>
                    </a:lnTo>
                    <a:lnTo>
                      <a:pt x="1552" y="1578"/>
                    </a:lnTo>
                    <a:lnTo>
                      <a:pt x="1578" y="1488"/>
                    </a:lnTo>
                    <a:lnTo>
                      <a:pt x="1597" y="1396"/>
                    </a:lnTo>
                    <a:lnTo>
                      <a:pt x="1608" y="1301"/>
                    </a:lnTo>
                    <a:lnTo>
                      <a:pt x="1612" y="1204"/>
                    </a:lnTo>
                    <a:lnTo>
                      <a:pt x="1608" y="1106"/>
                    </a:lnTo>
                    <a:lnTo>
                      <a:pt x="1597" y="1011"/>
                    </a:lnTo>
                    <a:lnTo>
                      <a:pt x="1578" y="918"/>
                    </a:lnTo>
                    <a:lnTo>
                      <a:pt x="1552" y="828"/>
                    </a:lnTo>
                    <a:lnTo>
                      <a:pt x="1519" y="742"/>
                    </a:lnTo>
                    <a:lnTo>
                      <a:pt x="1480" y="658"/>
                    </a:lnTo>
                    <a:lnTo>
                      <a:pt x="1434" y="578"/>
                    </a:lnTo>
                    <a:lnTo>
                      <a:pt x="1383" y="502"/>
                    </a:lnTo>
                    <a:lnTo>
                      <a:pt x="1327" y="431"/>
                    </a:lnTo>
                    <a:lnTo>
                      <a:pt x="1264" y="365"/>
                    </a:lnTo>
                    <a:lnTo>
                      <a:pt x="1197" y="302"/>
                    </a:lnTo>
                    <a:lnTo>
                      <a:pt x="1127" y="245"/>
                    </a:lnTo>
                    <a:lnTo>
                      <a:pt x="1051" y="194"/>
                    </a:lnTo>
                    <a:lnTo>
                      <a:pt x="1149"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Freeform 21">
                <a:extLst>
                  <a:ext uri="{FF2B5EF4-FFF2-40B4-BE49-F238E27FC236}">
                    <a16:creationId xmlns:a16="http://schemas.microsoft.com/office/drawing/2014/main" id="{98FD07A9-9627-A2D6-8210-5A2B6EA43382}"/>
                  </a:ext>
                </a:extLst>
              </p:cNvPr>
              <p:cNvSpPr>
                <a:spLocks/>
              </p:cNvSpPr>
              <p:nvPr/>
            </p:nvSpPr>
            <p:spPr bwMode="auto">
              <a:xfrm>
                <a:off x="-7781926" y="1020763"/>
                <a:ext cx="2484438" cy="4814888"/>
              </a:xfrm>
              <a:custGeom>
                <a:avLst/>
                <a:gdLst>
                  <a:gd name="T0" fmla="*/ 834 w 1565"/>
                  <a:gd name="T1" fmla="*/ 0 h 3033"/>
                  <a:gd name="T2" fmla="*/ 1468 w 1565"/>
                  <a:gd name="T3" fmla="*/ 1 h 3033"/>
                  <a:gd name="T4" fmla="*/ 944 w 1565"/>
                  <a:gd name="T5" fmla="*/ 1031 h 3033"/>
                  <a:gd name="T6" fmla="*/ 1565 w 1565"/>
                  <a:gd name="T7" fmla="*/ 1028 h 3033"/>
                  <a:gd name="T8" fmla="*/ 0 w 1565"/>
                  <a:gd name="T9" fmla="*/ 3033 h 3033"/>
                  <a:gd name="T10" fmla="*/ 674 w 1565"/>
                  <a:gd name="T11" fmla="*/ 1491 h 3033"/>
                  <a:gd name="T12" fmla="*/ 119 w 1565"/>
                  <a:gd name="T13" fmla="*/ 1495 h 3033"/>
                  <a:gd name="T14" fmla="*/ 834 w 1565"/>
                  <a:gd name="T15" fmla="*/ 0 h 3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5" h="3033">
                    <a:moveTo>
                      <a:pt x="834" y="0"/>
                    </a:moveTo>
                    <a:lnTo>
                      <a:pt x="1468" y="1"/>
                    </a:lnTo>
                    <a:lnTo>
                      <a:pt x="944" y="1031"/>
                    </a:lnTo>
                    <a:lnTo>
                      <a:pt x="1565" y="1028"/>
                    </a:lnTo>
                    <a:lnTo>
                      <a:pt x="0" y="3033"/>
                    </a:lnTo>
                    <a:lnTo>
                      <a:pt x="674" y="1491"/>
                    </a:lnTo>
                    <a:lnTo>
                      <a:pt x="119" y="1495"/>
                    </a:lnTo>
                    <a:lnTo>
                      <a:pt x="834"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6" name="TextBox 5">
            <a:extLst>
              <a:ext uri="{FF2B5EF4-FFF2-40B4-BE49-F238E27FC236}">
                <a16:creationId xmlns:a16="http://schemas.microsoft.com/office/drawing/2014/main" id="{F2F75D4F-24D3-B118-83CD-04770972B335}"/>
              </a:ext>
            </a:extLst>
          </p:cNvPr>
          <p:cNvSpPr txBox="1"/>
          <p:nvPr/>
        </p:nvSpPr>
        <p:spPr>
          <a:xfrm>
            <a:off x="10679629" y="6473517"/>
            <a:ext cx="1229504" cy="153888"/>
          </a:xfrm>
          <a:prstGeom prst="rect">
            <a:avLst/>
          </a:prstGeom>
          <a:noFill/>
        </p:spPr>
        <p:txBody>
          <a:bodyPr wrap="square" lIns="0" tIns="0" rIns="0" bIns="0" rtlCol="0" anchor="b">
            <a:spAutoFit/>
          </a:bodyPr>
          <a:lstStyle/>
          <a:p>
            <a:pPr marL="0" marR="0" lvl="0" indent="0" algn="r" defTabSz="8358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7426B"/>
                </a:solidFill>
                <a:effectLst/>
                <a:uLnTx/>
                <a:uFillTx/>
                <a:latin typeface="Calibri"/>
                <a:ea typeface="+mn-ea"/>
                <a:cs typeface="Calibri" panose="020F0502020204030204" pitchFamily="34" charset="0"/>
              </a:rPr>
              <a:t>Source: Frost &amp; Sullivan</a:t>
            </a:r>
          </a:p>
        </p:txBody>
      </p:sp>
      <p:graphicFrame>
        <p:nvGraphicFramePr>
          <p:cNvPr id="4" name="Table 3">
            <a:extLst>
              <a:ext uri="{FF2B5EF4-FFF2-40B4-BE49-F238E27FC236}">
                <a16:creationId xmlns:a16="http://schemas.microsoft.com/office/drawing/2014/main" id="{B2522F04-ED38-EFF4-12B4-E4AF9BB9BF28}"/>
              </a:ext>
            </a:extLst>
          </p:cNvPr>
          <p:cNvGraphicFramePr>
            <a:graphicFrameLocks noGrp="1"/>
          </p:cNvGraphicFramePr>
          <p:nvPr>
            <p:custDataLst>
              <p:tags r:id="rId1"/>
            </p:custDataLst>
          </p:nvPr>
        </p:nvGraphicFramePr>
        <p:xfrm>
          <a:off x="2344739" y="2326448"/>
          <a:ext cx="6362700" cy="3633840"/>
        </p:xfrm>
        <a:graphic>
          <a:graphicData uri="http://schemas.openxmlformats.org/drawingml/2006/table">
            <a:tbl>
              <a:tblPr firstRow="1" bandRow="1">
                <a:tableStyleId>{5C22544A-7EE6-4342-B048-85BDC9FD1C3A}</a:tableStyleId>
              </a:tblPr>
              <a:tblGrid>
                <a:gridCol w="3190874">
                  <a:extLst>
                    <a:ext uri="{9D8B030D-6E8A-4147-A177-3AD203B41FA5}">
                      <a16:colId xmlns:a16="http://schemas.microsoft.com/office/drawing/2014/main" val="20000"/>
                    </a:ext>
                  </a:extLst>
                </a:gridCol>
                <a:gridCol w="3171826">
                  <a:extLst>
                    <a:ext uri="{9D8B030D-6E8A-4147-A177-3AD203B41FA5}">
                      <a16:colId xmlns:a16="http://schemas.microsoft.com/office/drawing/2014/main" val="20001"/>
                    </a:ext>
                  </a:extLst>
                </a:gridCol>
              </a:tblGrid>
              <a:tr h="381158">
                <a:tc>
                  <a:txBody>
                    <a:body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b="0" kern="1200" dirty="0">
                          <a:solidFill>
                            <a:schemeClr val="tx1"/>
                          </a:solidFill>
                          <a:effectLst/>
                          <a:latin typeface="+mn-lt"/>
                          <a:ea typeface="Batang"/>
                          <a:cs typeface="Times New Roman"/>
                        </a:rPr>
                        <a:t>Savings on electricity bill</a:t>
                      </a:r>
                    </a:p>
                  </a:txBody>
                  <a:tcPr marL="9525" marR="9525" marT="9525" marB="0" anchor="ctr">
                    <a:lnL w="12700" cmpd="sng">
                      <a:noFill/>
                    </a:lnL>
                    <a:lnR w="12700" cmpd="sng">
                      <a:noFill/>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p>
                      <a:pPr marL="0" algn="r" defTabSz="914400" rtl="0" eaLnBrk="1" fontAlgn="b" latinLnBrk="0" hangingPunct="1"/>
                      <a:endParaRPr lang="en-GB" sz="12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0"/>
                  </a:ext>
                </a:extLst>
              </a:tr>
              <a:tr h="381158">
                <a:tc>
                  <a:txBody>
                    <a:body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Energy independence </a:t>
                      </a: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p>
                      <a:pPr marL="0" algn="r" defTabSz="914400" rtl="0" eaLnBrk="1" fontAlgn="b" latinLnBrk="0" hangingPunct="1"/>
                      <a:endParaRPr lang="en-GB" sz="12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1"/>
                  </a:ext>
                </a:extLst>
              </a:tr>
              <a:tr h="398824">
                <a:tc>
                  <a:txBody>
                    <a:body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Provides an environment-friendly solution</a:t>
                      </a: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p>
                      <a:pPr marL="0" algn="r" defTabSz="914400" rtl="0" eaLnBrk="1" fontAlgn="b" latinLnBrk="0" hangingPunct="1"/>
                      <a:endParaRPr lang="en-GB" sz="12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2"/>
                  </a:ext>
                </a:extLst>
              </a:tr>
              <a:tr h="398824">
                <a:tc>
                  <a:txBody>
                    <a:body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Ability to charge electric devices (vehicle, laptops, etc.)</a:t>
                      </a: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p>
                      <a:pPr marL="0" algn="r" defTabSz="914400" rtl="0" eaLnBrk="1" fontAlgn="b" latinLnBrk="0" hangingPunct="1"/>
                      <a:endParaRPr lang="en-GB" sz="12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3"/>
                  </a:ext>
                </a:extLst>
              </a:tr>
              <a:tr h="494157">
                <a:tc>
                  <a:txBody>
                    <a:body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Ability to monitor/control energy consumption in household</a:t>
                      </a: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p>
                      <a:pPr marL="0" algn="r" defTabSz="914400" rtl="0" eaLnBrk="1" fontAlgn="b" latinLnBrk="0" hangingPunct="1"/>
                      <a:endParaRPr lang="en-GB" sz="12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alpha val="0"/>
                      </a:schemeClr>
                    </a:solidFill>
                  </a:tcPr>
                </a:tc>
                <a:extLst>
                  <a:ext uri="{0D108BD9-81ED-4DB2-BD59-A6C34878D82A}">
                    <a16:rowId xmlns:a16="http://schemas.microsoft.com/office/drawing/2014/main" val="10004"/>
                  </a:ext>
                </a:extLst>
              </a:tr>
              <a:tr h="381158">
                <a:tc>
                  <a:txBody>
                    <a:body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Increase the home value</a:t>
                      </a: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p>
                      <a:pPr marL="0" algn="r" defTabSz="914400" rtl="0" eaLnBrk="1" fontAlgn="b" latinLnBrk="0" hangingPunct="1"/>
                      <a:endParaRPr lang="en-GB" sz="12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5"/>
                  </a:ext>
                </a:extLst>
              </a:tr>
              <a:tr h="381158">
                <a:tc>
                  <a:txBody>
                    <a:body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Incentives from government</a:t>
                      </a: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p>
                      <a:pPr marL="0" algn="r" defTabSz="914400" rtl="0" eaLnBrk="1" fontAlgn="b" latinLnBrk="0" hangingPunct="1"/>
                      <a:endParaRPr lang="en-GB" sz="12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6"/>
                  </a:ext>
                </a:extLst>
              </a:tr>
              <a:tr h="398824">
                <a:tc>
                  <a:txBody>
                    <a:body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Peer-2-peer energy trading with neighbours</a:t>
                      </a: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p>
                      <a:pPr marL="0" algn="r" defTabSz="914400" rtl="0" eaLnBrk="1" fontAlgn="b" latinLnBrk="0" hangingPunct="1"/>
                      <a:endParaRPr lang="en-GB" sz="12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7"/>
                  </a:ext>
                </a:extLst>
              </a:tr>
              <a:tr h="381158">
                <a:tc>
                  <a:txBody>
                    <a:bodyPr/>
                    <a:lstStyle/>
                    <a:p>
                      <a:pPr marL="0" lvl="0" indent="0" algn="r" defTabSz="914400" rtl="0" eaLnBrk="1" fontAlgn="t" latinLnBrk="0" hangingPunct="1">
                        <a:lnSpc>
                          <a:spcPct val="100000"/>
                        </a:lnSpc>
                        <a:spcAft>
                          <a:spcPts val="0"/>
                        </a:spcAft>
                        <a:buSzPts val="1100"/>
                        <a:buFont typeface="Courier New"/>
                        <a:buNone/>
                        <a:tabLst>
                          <a:tab pos="630555" algn="l"/>
                          <a:tab pos="3780790" algn="l"/>
                        </a:tabLst>
                      </a:pPr>
                      <a:r>
                        <a:rPr lang="en-GB" sz="1400" kern="1200" dirty="0">
                          <a:solidFill>
                            <a:schemeClr val="tx1"/>
                          </a:solidFill>
                          <a:effectLst/>
                          <a:latin typeface="+mn-lt"/>
                          <a:ea typeface="Batang"/>
                          <a:cs typeface="Times New Roman"/>
                        </a:rPr>
                        <a:t>Other</a:t>
                      </a: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tc>
                  <a:txBody>
                    <a:bodyPr/>
                    <a:lstStyle/>
                    <a:p>
                      <a:pPr marL="0" algn="r" defTabSz="914400" rtl="0" eaLnBrk="1" fontAlgn="b" latinLnBrk="0" hangingPunct="1"/>
                      <a:endParaRPr lang="en-GB" sz="1200" b="0" i="0" u="none" strike="noStrike" kern="1200" dirty="0">
                        <a:solidFill>
                          <a:schemeClr val="tx1"/>
                        </a:solidFill>
                        <a:latin typeface="+mn-lt"/>
                        <a:ea typeface="+mn-ea"/>
                        <a:cs typeface="+mn-cs"/>
                      </a:endParaRPr>
                    </a:p>
                  </a:txBody>
                  <a:tcPr marL="9525" marR="9525" marT="9525"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0000">
                        <a:alpha val="0"/>
                      </a:srgbClr>
                    </a:solidFill>
                  </a:tcPr>
                </a:tc>
                <a:extLst>
                  <a:ext uri="{0D108BD9-81ED-4DB2-BD59-A6C34878D82A}">
                    <a16:rowId xmlns:a16="http://schemas.microsoft.com/office/drawing/2014/main" val="10008"/>
                  </a:ext>
                </a:extLst>
              </a:tr>
            </a:tbl>
          </a:graphicData>
        </a:graphic>
      </p:graphicFrame>
      <p:graphicFrame>
        <p:nvGraphicFramePr>
          <p:cNvPr id="15" name="Content Placeholder 4">
            <a:extLst>
              <a:ext uri="{FF2B5EF4-FFF2-40B4-BE49-F238E27FC236}">
                <a16:creationId xmlns:a16="http://schemas.microsoft.com/office/drawing/2014/main" id="{0B59F1C2-7856-85A0-BBDF-EA988AE9D66D}"/>
              </a:ext>
            </a:extLst>
          </p:cNvPr>
          <p:cNvGraphicFramePr>
            <a:graphicFrameLocks/>
          </p:cNvGraphicFramePr>
          <p:nvPr/>
        </p:nvGraphicFramePr>
        <p:xfrm>
          <a:off x="5812713" y="2332258"/>
          <a:ext cx="2054069" cy="3702873"/>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6">
            <a:extLst>
              <a:ext uri="{FF2B5EF4-FFF2-40B4-BE49-F238E27FC236}">
                <a16:creationId xmlns:a16="http://schemas.microsoft.com/office/drawing/2014/main" id="{B4F346F0-1EF7-E6D5-1706-EB9F3D5E5F16}"/>
              </a:ext>
            </a:extLst>
          </p:cNvPr>
          <p:cNvSpPr txBox="1"/>
          <p:nvPr/>
        </p:nvSpPr>
        <p:spPr>
          <a:xfrm>
            <a:off x="4273132" y="1744151"/>
            <a:ext cx="3459182" cy="369332"/>
          </a:xfrm>
          <a:prstGeom prst="rect">
            <a:avLst/>
          </a:prstGeom>
        </p:spPr>
        <p:txBody>
          <a:bodyPr wrap="square" lIns="0" tIns="0" rIns="0" bIns="0">
            <a:spAutoFit/>
          </a:bodyPr>
          <a:lstStyle>
            <a:defPPr>
              <a:defRPr lang="en-US"/>
            </a:defPPr>
            <a:lvl1pPr algn="ctr" defTabSz="914400">
              <a:buSzPct val="75000"/>
              <a:defRPr sz="1400" b="1" kern="0">
                <a:solidFill>
                  <a:srgbClr val="17426B"/>
                </a:solidFill>
                <a:cs typeface="Arial" charset="0"/>
              </a:defRPr>
            </a:lvl1pPr>
          </a:lstStyle>
          <a:p>
            <a:pPr marL="0" marR="0" lvl="0" indent="0" algn="ctr" defTabSz="914400" rtl="0" eaLnBrk="1" fontAlgn="auto" latinLnBrk="0" hangingPunct="1">
              <a:lnSpc>
                <a:spcPct val="100000"/>
              </a:lnSpc>
              <a:spcBef>
                <a:spcPts val="0"/>
              </a:spcBef>
              <a:spcAft>
                <a:spcPts val="0"/>
              </a:spcAft>
              <a:buClrTx/>
              <a:buSzPct val="75000"/>
              <a:buFontTx/>
              <a:buNone/>
              <a:tabLst/>
              <a:defRPr/>
            </a:pPr>
            <a:r>
              <a:rPr kumimoji="0" lang="en-US" sz="1200" b="1" i="0" u="none" strike="noStrike" kern="0" cap="none" spc="0" normalizeH="0" baseline="0" noProof="0" dirty="0">
                <a:ln>
                  <a:noFill/>
                </a:ln>
                <a:solidFill>
                  <a:srgbClr val="172D55"/>
                </a:solidFill>
                <a:effectLst/>
                <a:uLnTx/>
                <a:uFillTx/>
                <a:latin typeface="Calibri"/>
                <a:ea typeface="+mn-ea"/>
                <a:cs typeface="Arial" charset="0"/>
              </a:rPr>
              <a:t>In your opinion, what benefits do battery energy storage systems provide?</a:t>
            </a:r>
          </a:p>
        </p:txBody>
      </p:sp>
      <p:pic>
        <p:nvPicPr>
          <p:cNvPr id="19" name="Picture 4" descr="Image result">
            <a:extLst>
              <a:ext uri="{FF2B5EF4-FFF2-40B4-BE49-F238E27FC236}">
                <a16:creationId xmlns:a16="http://schemas.microsoft.com/office/drawing/2014/main" id="{58EF4320-CDE8-5D1B-3587-463F7A0AC6E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336890" y="317429"/>
            <a:ext cx="372843" cy="252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6000369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C8E147-0753-4CE0-AFEF-9DC7AB03098B}"/>
              </a:ext>
            </a:extLst>
          </p:cNvPr>
          <p:cNvPicPr>
            <a:picLocks noChangeAspect="1"/>
          </p:cNvPicPr>
          <p:nvPr/>
        </p:nvPicPr>
        <p:blipFill rotWithShape="1">
          <a:blip r:embed="rId2"/>
          <a:srcRect l="11037"/>
          <a:stretch/>
        </p:blipFill>
        <p:spPr>
          <a:xfrm>
            <a:off x="9168599" y="1477986"/>
            <a:ext cx="2060665" cy="1389793"/>
          </a:xfrm>
          <a:prstGeom prst="rect">
            <a:avLst/>
          </a:prstGeom>
        </p:spPr>
      </p:pic>
      <p:sp>
        <p:nvSpPr>
          <p:cNvPr id="4" name="Title 3"/>
          <p:cNvSpPr>
            <a:spLocks noGrp="1"/>
          </p:cNvSpPr>
          <p:nvPr>
            <p:ph type="title"/>
          </p:nvPr>
        </p:nvSpPr>
        <p:spPr>
          <a:xfrm>
            <a:off x="838202" y="25935"/>
            <a:ext cx="7586929" cy="524107"/>
          </a:xfrm>
        </p:spPr>
        <p:txBody>
          <a:bodyPr/>
          <a:lstStyle/>
          <a:p>
            <a:r>
              <a:rPr lang="en-US" b="1" dirty="0"/>
              <a:t>1.  Agenda</a:t>
            </a:r>
            <a:br>
              <a:rPr lang="en-US" b="1" dirty="0"/>
            </a:br>
            <a:r>
              <a:rPr lang="en-US" sz="2800" dirty="0"/>
              <a:t>Greg Walker (CABA)</a:t>
            </a:r>
            <a:r>
              <a:rPr lang="en-US" sz="2800" b="1" dirty="0"/>
              <a:t> </a:t>
            </a:r>
            <a:endParaRPr lang="en-US" b="1" dirty="0"/>
          </a:p>
        </p:txBody>
      </p:sp>
      <p:sp>
        <p:nvSpPr>
          <p:cNvPr id="5" name="Text Placeholder 4"/>
          <p:cNvSpPr>
            <a:spLocks noGrp="1"/>
          </p:cNvSpPr>
          <p:nvPr>
            <p:ph type="body" sz="quarter" idx="12"/>
          </p:nvPr>
        </p:nvSpPr>
        <p:spPr>
          <a:xfrm>
            <a:off x="595623" y="1477986"/>
            <a:ext cx="11000754" cy="4451995"/>
          </a:xfrm>
        </p:spPr>
        <p:txBody>
          <a:bodyPr>
            <a:normAutofit/>
          </a:bodyPr>
          <a:lstStyle/>
          <a:p>
            <a:pPr marL="457200" indent="-457200">
              <a:buFont typeface="+mj-lt"/>
              <a:buAutoNum type="arabicPeriod"/>
            </a:pPr>
            <a:r>
              <a:rPr lang="en-US" sz="2000" dirty="0"/>
              <a:t>Agenda</a:t>
            </a:r>
          </a:p>
          <a:p>
            <a:pPr marL="457200" indent="-457200">
              <a:buFont typeface="+mj-lt"/>
              <a:buAutoNum type="arabicPeriod"/>
            </a:pPr>
            <a:r>
              <a:rPr lang="en-US" sz="2000" dirty="0"/>
              <a:t>Call to Order, Welcome, Introductions, About the CHC</a:t>
            </a:r>
          </a:p>
          <a:p>
            <a:pPr marL="457200" indent="-457200">
              <a:buFont typeface="+mj-lt"/>
              <a:buAutoNum type="arabicPeriod"/>
            </a:pPr>
            <a:r>
              <a:rPr lang="en-US" sz="2000" dirty="0"/>
              <a:t>Administrative </a:t>
            </a:r>
          </a:p>
          <a:p>
            <a:pPr marL="457200" indent="-457200">
              <a:buFont typeface="+mj-lt"/>
              <a:buAutoNum type="arabicPeriod"/>
            </a:pPr>
            <a:r>
              <a:rPr lang="en-US" sz="2000" dirty="0"/>
              <a:t>Research Update </a:t>
            </a:r>
          </a:p>
          <a:p>
            <a:pPr marL="457200" indent="-457200">
              <a:buFont typeface="+mj-lt"/>
              <a:buAutoNum type="arabicPeriod"/>
            </a:pPr>
            <a:r>
              <a:rPr lang="en-US" sz="2000" dirty="0"/>
              <a:t>CABA Podcasts</a:t>
            </a:r>
          </a:p>
          <a:p>
            <a:pPr marL="457200" indent="-457200">
              <a:buFont typeface="+mj-lt"/>
              <a:buAutoNum type="arabicPeriod"/>
            </a:pPr>
            <a:r>
              <a:rPr lang="en-US" sz="2000" dirty="0"/>
              <a:t>Keynote: </a:t>
            </a:r>
            <a:r>
              <a:rPr lang="en-CA" sz="2000" dirty="0"/>
              <a:t>“Residential Battery Energy Storage” (30 min)</a:t>
            </a:r>
          </a:p>
          <a:p>
            <a:pPr marL="457200" lvl="1" indent="0">
              <a:buNone/>
            </a:pPr>
            <a:r>
              <a:rPr lang="en-US" sz="2000" dirty="0"/>
              <a:t>	Jonathan Robinson (Frost &amp; Sullivan)</a:t>
            </a:r>
          </a:p>
          <a:p>
            <a:pPr marL="457200" indent="-457200">
              <a:buFont typeface="+mj-lt"/>
              <a:buAutoNum type="arabicPeriod"/>
            </a:pPr>
            <a:r>
              <a:rPr lang="en-US" sz="2000" dirty="0"/>
              <a:t>New Business</a:t>
            </a:r>
          </a:p>
          <a:p>
            <a:pPr marL="457200" indent="-457200">
              <a:buFont typeface="+mj-lt"/>
              <a:buAutoNum type="arabicPeriod"/>
            </a:pPr>
            <a:r>
              <a:rPr lang="en-US" sz="2000" dirty="0"/>
              <a:t>Announcements</a:t>
            </a:r>
          </a:p>
          <a:p>
            <a:pPr marL="457200" indent="-457200">
              <a:buFont typeface="+mj-lt"/>
              <a:buAutoNum type="arabicPeriod"/>
            </a:pPr>
            <a:r>
              <a:rPr lang="en-US" sz="2000" dirty="0"/>
              <a:t>Adjournment</a:t>
            </a:r>
          </a:p>
        </p:txBody>
      </p:sp>
      <p:sp>
        <p:nvSpPr>
          <p:cNvPr id="2" name="Slide Number Placeholder 1">
            <a:extLst>
              <a:ext uri="{FF2B5EF4-FFF2-40B4-BE49-F238E27FC236}">
                <a16:creationId xmlns:a16="http://schemas.microsoft.com/office/drawing/2014/main" id="{03E6F4FB-BF07-48AE-AFF6-D4E572C2D504}"/>
              </a:ext>
            </a:extLst>
          </p:cNvPr>
          <p:cNvSpPr>
            <a:spLocks noGrp="1"/>
          </p:cNvSpPr>
          <p:nvPr>
            <p:ph type="sldNum" sz="quarter" idx="14"/>
          </p:nvPr>
        </p:nvSpPr>
        <p:spPr/>
        <p:txBody>
          <a:bodyPr/>
          <a:lstStyle/>
          <a:p>
            <a:fld id="{4658F449-AC56-C64A-8488-86A10DE691DA}" type="slidenum">
              <a:rPr lang="en-US" smtClean="0"/>
              <a:pPr/>
              <a:t>2</a:t>
            </a:fld>
            <a:endParaRPr lang="en-US" dirty="0"/>
          </a:p>
        </p:txBody>
      </p:sp>
      <p:pic>
        <p:nvPicPr>
          <p:cNvPr id="6" name="Picture 3"/>
          <p:cNvPicPr>
            <a:picLocks noChangeAspect="1" noChangeArrowheads="1"/>
          </p:cNvPicPr>
          <p:nvPr/>
        </p:nvPicPr>
        <p:blipFill>
          <a:blip r:embed="rId3">
            <a:extLst>
              <a:ext uri="{28A0092B-C50C-407E-A947-70E740481C1C}">
                <a14:useLocalDpi xmlns:a14="http://schemas.microsoft.com/office/drawing/2010/main" val="0"/>
              </a:ext>
            </a:extLst>
          </a:blip>
          <a:srcRect l="3944" t="19875" r="5957" b="22630"/>
          <a:stretch>
            <a:fillRect/>
          </a:stretch>
        </p:blipFill>
        <p:spPr bwMode="auto">
          <a:xfrm>
            <a:off x="7553035" y="5216088"/>
            <a:ext cx="3676229" cy="8748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32571872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2228FA3E-AE8D-27B3-8380-77DB1AFA8EC6}"/>
              </a:ext>
            </a:extLst>
          </p:cNvPr>
          <p:cNvSpPr>
            <a:spLocks/>
          </p:cNvSpPr>
          <p:nvPr/>
        </p:nvSpPr>
        <p:spPr>
          <a:xfrm flipH="1">
            <a:off x="281932" y="684076"/>
            <a:ext cx="11628139" cy="68562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199" marR="0" lvl="0" indent="0" algn="l" defTabSz="857014"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A44D6D8D-7249-BD64-6662-57B4C8485E47}"/>
              </a:ext>
            </a:extLst>
          </p:cNvPr>
          <p:cNvSpPr/>
          <p:nvPr/>
        </p:nvSpPr>
        <p:spPr>
          <a:xfrm>
            <a:off x="1120357" y="935133"/>
            <a:ext cx="10653500" cy="221599"/>
          </a:xfrm>
          <a:prstGeom prst="rect">
            <a:avLst/>
          </a:prstGeom>
        </p:spPr>
        <p:txBody>
          <a:bodyPr wrap="square" lIns="0" tIns="0" rIns="0" bIns="0" anchor="ctr">
            <a:spAutoFit/>
          </a:bodyPr>
          <a:lstStyle/>
          <a:p>
            <a:pPr marL="0" marR="0" lvl="0" indent="0" algn="l" defTabSz="1094544" rtl="0" eaLnBrk="1" fontAlgn="auto" latinLnBrk="0" hangingPunct="1">
              <a:lnSpc>
                <a:spcPct val="90000"/>
              </a:lnSpc>
              <a:spcBef>
                <a:spcPct val="0"/>
              </a:spcBef>
              <a:spcAft>
                <a:spcPts val="0"/>
              </a:spcAft>
              <a:buClrTx/>
              <a:buSzTx/>
              <a:buFontTx/>
              <a:buNone/>
              <a:tabLst/>
              <a:defRPr/>
            </a:pPr>
            <a:r>
              <a:rPr lang="en-GB" sz="1600" b="1" dirty="0">
                <a:solidFill>
                  <a:prstClr val="white"/>
                </a:solidFill>
                <a:latin typeface="Calibri"/>
              </a:rPr>
              <a:t>Predictably cost and payback come up, but maintenance and fire risks show the need to drive greater education in the market</a:t>
            </a:r>
            <a:endParaRPr kumimoji="0" lang="en-GB" sz="1600" b="1"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title"/>
          </p:nvPr>
        </p:nvSpPr>
        <p:spPr>
          <a:xfrm>
            <a:off x="284383" y="272295"/>
            <a:ext cx="11623236" cy="369236"/>
          </a:xfrm>
        </p:spPr>
        <p:txBody>
          <a:bodyPr/>
          <a:lstStyle/>
          <a:p>
            <a:r>
              <a:rPr lang="en-US" dirty="0">
                <a:solidFill>
                  <a:srgbClr val="172D55"/>
                </a:solidFill>
              </a:rPr>
              <a:t>What deters a potential </a:t>
            </a:r>
            <a:r>
              <a:rPr lang="en-US" dirty="0" err="1">
                <a:solidFill>
                  <a:srgbClr val="172D55"/>
                </a:solidFill>
              </a:rPr>
              <a:t>bess</a:t>
            </a:r>
            <a:r>
              <a:rPr lang="en-US" dirty="0">
                <a:solidFill>
                  <a:srgbClr val="172D55"/>
                </a:solidFill>
              </a:rPr>
              <a:t> purchase?</a:t>
            </a:r>
            <a:endParaRPr lang="en-GB" dirty="0"/>
          </a:p>
        </p:txBody>
      </p:sp>
      <p:grpSp>
        <p:nvGrpSpPr>
          <p:cNvPr id="18" name="Group 17">
            <a:extLst>
              <a:ext uri="{FF2B5EF4-FFF2-40B4-BE49-F238E27FC236}">
                <a16:creationId xmlns:a16="http://schemas.microsoft.com/office/drawing/2014/main" id="{7F0408A9-6E91-0DFB-440A-C9EA1DEBC1C9}"/>
              </a:ext>
            </a:extLst>
          </p:cNvPr>
          <p:cNvGrpSpPr/>
          <p:nvPr/>
        </p:nvGrpSpPr>
        <p:grpSpPr>
          <a:xfrm>
            <a:off x="281931" y="743886"/>
            <a:ext cx="702214" cy="566002"/>
            <a:chOff x="779460" y="743186"/>
            <a:chExt cx="702397" cy="566149"/>
          </a:xfrm>
        </p:grpSpPr>
        <p:sp>
          <p:nvSpPr>
            <p:cNvPr id="9" name="Rectangle 8">
              <a:extLst>
                <a:ext uri="{FF2B5EF4-FFF2-40B4-BE49-F238E27FC236}">
                  <a16:creationId xmlns:a16="http://schemas.microsoft.com/office/drawing/2014/main" id="{23DEE729-02BB-9367-9E03-0683E8D57358}"/>
                </a:ext>
              </a:extLst>
            </p:cNvPr>
            <p:cNvSpPr/>
            <p:nvPr/>
          </p:nvSpPr>
          <p:spPr>
            <a:xfrm>
              <a:off x="779460" y="1004830"/>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52795A46-49F6-6B5C-E6D8-DAE7B1E6484F}"/>
                </a:ext>
              </a:extLst>
            </p:cNvPr>
            <p:cNvSpPr/>
            <p:nvPr/>
          </p:nvSpPr>
          <p:spPr>
            <a:xfrm>
              <a:off x="915708" y="743186"/>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C73E1CF0-F5F5-43FF-FBD4-DBE7862DAA5D}"/>
                </a:ext>
              </a:extLst>
            </p:cNvPr>
            <p:cNvGrpSpPr/>
            <p:nvPr/>
          </p:nvGrpSpPr>
          <p:grpSpPr>
            <a:xfrm>
              <a:off x="1015152" y="830461"/>
              <a:ext cx="356737" cy="385459"/>
              <a:chOff x="-8902701" y="1020763"/>
              <a:chExt cx="4456113" cy="4814888"/>
            </a:xfrm>
            <a:solidFill>
              <a:schemeClr val="bg1"/>
            </a:solidFill>
          </p:grpSpPr>
          <p:sp>
            <p:nvSpPr>
              <p:cNvPr id="5" name="Freeform 19">
                <a:extLst>
                  <a:ext uri="{FF2B5EF4-FFF2-40B4-BE49-F238E27FC236}">
                    <a16:creationId xmlns:a16="http://schemas.microsoft.com/office/drawing/2014/main" id="{9309B6D1-14B6-5FEA-884B-FCA1F5A37941}"/>
                  </a:ext>
                </a:extLst>
              </p:cNvPr>
              <p:cNvSpPr>
                <a:spLocks/>
              </p:cNvSpPr>
              <p:nvPr/>
            </p:nvSpPr>
            <p:spPr bwMode="auto">
              <a:xfrm>
                <a:off x="-8902701" y="1147763"/>
                <a:ext cx="2230438" cy="4200525"/>
              </a:xfrm>
              <a:custGeom>
                <a:avLst/>
                <a:gdLst>
                  <a:gd name="T0" fmla="*/ 1405 w 1405"/>
                  <a:gd name="T1" fmla="*/ 0 h 2646"/>
                  <a:gd name="T2" fmla="*/ 1205 w 1405"/>
                  <a:gd name="T3" fmla="*/ 233 h 2646"/>
                  <a:gd name="T4" fmla="*/ 1024 w 1405"/>
                  <a:gd name="T5" fmla="*/ 279 h 2646"/>
                  <a:gd name="T6" fmla="*/ 854 w 1405"/>
                  <a:gd name="T7" fmla="*/ 351 h 2646"/>
                  <a:gd name="T8" fmla="*/ 699 w 1405"/>
                  <a:gd name="T9" fmla="*/ 448 h 2646"/>
                  <a:gd name="T10" fmla="*/ 562 w 1405"/>
                  <a:gd name="T11" fmla="*/ 567 h 2646"/>
                  <a:gd name="T12" fmla="*/ 444 w 1405"/>
                  <a:gd name="T13" fmla="*/ 706 h 2646"/>
                  <a:gd name="T14" fmla="*/ 347 w 1405"/>
                  <a:gd name="T15" fmla="*/ 860 h 2646"/>
                  <a:gd name="T16" fmla="*/ 276 w 1405"/>
                  <a:gd name="T17" fmla="*/ 1030 h 2646"/>
                  <a:gd name="T18" fmla="*/ 230 w 1405"/>
                  <a:gd name="T19" fmla="*/ 1212 h 2646"/>
                  <a:gd name="T20" fmla="*/ 216 w 1405"/>
                  <a:gd name="T21" fmla="*/ 1405 h 2646"/>
                  <a:gd name="T22" fmla="*/ 230 w 1405"/>
                  <a:gd name="T23" fmla="*/ 1592 h 2646"/>
                  <a:gd name="T24" fmla="*/ 274 w 1405"/>
                  <a:gd name="T25" fmla="*/ 1772 h 2646"/>
                  <a:gd name="T26" fmla="*/ 343 w 1405"/>
                  <a:gd name="T27" fmla="*/ 1939 h 2646"/>
                  <a:gd name="T28" fmla="*/ 436 w 1405"/>
                  <a:gd name="T29" fmla="*/ 2092 h 2646"/>
                  <a:gd name="T30" fmla="*/ 550 w 1405"/>
                  <a:gd name="T31" fmla="*/ 2230 h 2646"/>
                  <a:gd name="T32" fmla="*/ 683 w 1405"/>
                  <a:gd name="T33" fmla="*/ 2349 h 2646"/>
                  <a:gd name="T34" fmla="*/ 833 w 1405"/>
                  <a:gd name="T35" fmla="*/ 2446 h 2646"/>
                  <a:gd name="T36" fmla="*/ 674 w 1405"/>
                  <a:gd name="T37" fmla="*/ 2604 h 2646"/>
                  <a:gd name="T38" fmla="*/ 537 w 1405"/>
                  <a:gd name="T39" fmla="*/ 2510 h 2646"/>
                  <a:gd name="T40" fmla="*/ 411 w 1405"/>
                  <a:gd name="T41" fmla="*/ 2398 h 2646"/>
                  <a:gd name="T42" fmla="*/ 277 w 1405"/>
                  <a:gd name="T43" fmla="*/ 2244 h 2646"/>
                  <a:gd name="T44" fmla="*/ 170 w 1405"/>
                  <a:gd name="T45" fmla="*/ 2077 h 2646"/>
                  <a:gd name="T46" fmla="*/ 88 w 1405"/>
                  <a:gd name="T47" fmla="*/ 1896 h 2646"/>
                  <a:gd name="T48" fmla="*/ 31 w 1405"/>
                  <a:gd name="T49" fmla="*/ 1705 h 2646"/>
                  <a:gd name="T50" fmla="*/ 3 w 1405"/>
                  <a:gd name="T51" fmla="*/ 1506 h 2646"/>
                  <a:gd name="T52" fmla="*/ 3 w 1405"/>
                  <a:gd name="T53" fmla="*/ 1303 h 2646"/>
                  <a:gd name="T54" fmla="*/ 31 w 1405"/>
                  <a:gd name="T55" fmla="*/ 1104 h 2646"/>
                  <a:gd name="T56" fmla="*/ 88 w 1405"/>
                  <a:gd name="T57" fmla="*/ 913 h 2646"/>
                  <a:gd name="T58" fmla="*/ 170 w 1405"/>
                  <a:gd name="T59" fmla="*/ 732 h 2646"/>
                  <a:gd name="T60" fmla="*/ 277 w 1405"/>
                  <a:gd name="T61" fmla="*/ 564 h 2646"/>
                  <a:gd name="T62" fmla="*/ 411 w 1405"/>
                  <a:gd name="T63" fmla="*/ 411 h 2646"/>
                  <a:gd name="T64" fmla="*/ 564 w 1405"/>
                  <a:gd name="T65" fmla="*/ 279 h 2646"/>
                  <a:gd name="T66" fmla="*/ 732 w 1405"/>
                  <a:gd name="T67" fmla="*/ 171 h 2646"/>
                  <a:gd name="T68" fmla="*/ 913 w 1405"/>
                  <a:gd name="T69" fmla="*/ 88 h 2646"/>
                  <a:gd name="T70" fmla="*/ 1102 w 1405"/>
                  <a:gd name="T71" fmla="*/ 33 h 2646"/>
                  <a:gd name="T72" fmla="*/ 1302 w 1405"/>
                  <a:gd name="T73" fmla="*/ 4 h 2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5" h="2646">
                    <a:moveTo>
                      <a:pt x="1404" y="0"/>
                    </a:moveTo>
                    <a:lnTo>
                      <a:pt x="1405" y="0"/>
                    </a:lnTo>
                    <a:lnTo>
                      <a:pt x="1300" y="221"/>
                    </a:lnTo>
                    <a:lnTo>
                      <a:pt x="1205" y="233"/>
                    </a:lnTo>
                    <a:lnTo>
                      <a:pt x="1113" y="253"/>
                    </a:lnTo>
                    <a:lnTo>
                      <a:pt x="1024" y="279"/>
                    </a:lnTo>
                    <a:lnTo>
                      <a:pt x="937" y="311"/>
                    </a:lnTo>
                    <a:lnTo>
                      <a:pt x="854" y="351"/>
                    </a:lnTo>
                    <a:lnTo>
                      <a:pt x="775" y="397"/>
                    </a:lnTo>
                    <a:lnTo>
                      <a:pt x="699" y="448"/>
                    </a:lnTo>
                    <a:lnTo>
                      <a:pt x="628" y="505"/>
                    </a:lnTo>
                    <a:lnTo>
                      <a:pt x="562" y="567"/>
                    </a:lnTo>
                    <a:lnTo>
                      <a:pt x="500" y="634"/>
                    </a:lnTo>
                    <a:lnTo>
                      <a:pt x="444" y="706"/>
                    </a:lnTo>
                    <a:lnTo>
                      <a:pt x="393" y="782"/>
                    </a:lnTo>
                    <a:lnTo>
                      <a:pt x="347" y="860"/>
                    </a:lnTo>
                    <a:lnTo>
                      <a:pt x="309" y="944"/>
                    </a:lnTo>
                    <a:lnTo>
                      <a:pt x="276" y="1030"/>
                    </a:lnTo>
                    <a:lnTo>
                      <a:pt x="250" y="1121"/>
                    </a:lnTo>
                    <a:lnTo>
                      <a:pt x="230" y="1212"/>
                    </a:lnTo>
                    <a:lnTo>
                      <a:pt x="220" y="1308"/>
                    </a:lnTo>
                    <a:lnTo>
                      <a:pt x="216" y="1405"/>
                    </a:lnTo>
                    <a:lnTo>
                      <a:pt x="220" y="1499"/>
                    </a:lnTo>
                    <a:lnTo>
                      <a:pt x="230" y="1592"/>
                    </a:lnTo>
                    <a:lnTo>
                      <a:pt x="249" y="1684"/>
                    </a:lnTo>
                    <a:lnTo>
                      <a:pt x="274" y="1772"/>
                    </a:lnTo>
                    <a:lnTo>
                      <a:pt x="305" y="1857"/>
                    </a:lnTo>
                    <a:lnTo>
                      <a:pt x="343" y="1939"/>
                    </a:lnTo>
                    <a:lnTo>
                      <a:pt x="386" y="2018"/>
                    </a:lnTo>
                    <a:lnTo>
                      <a:pt x="436" y="2092"/>
                    </a:lnTo>
                    <a:lnTo>
                      <a:pt x="490" y="2163"/>
                    </a:lnTo>
                    <a:lnTo>
                      <a:pt x="550" y="2230"/>
                    </a:lnTo>
                    <a:lnTo>
                      <a:pt x="614" y="2291"/>
                    </a:lnTo>
                    <a:lnTo>
                      <a:pt x="683" y="2349"/>
                    </a:lnTo>
                    <a:lnTo>
                      <a:pt x="757" y="2400"/>
                    </a:lnTo>
                    <a:lnTo>
                      <a:pt x="833" y="2446"/>
                    </a:lnTo>
                    <a:lnTo>
                      <a:pt x="746" y="2646"/>
                    </a:lnTo>
                    <a:lnTo>
                      <a:pt x="674" y="2604"/>
                    </a:lnTo>
                    <a:lnTo>
                      <a:pt x="605" y="2560"/>
                    </a:lnTo>
                    <a:lnTo>
                      <a:pt x="537" y="2510"/>
                    </a:lnTo>
                    <a:lnTo>
                      <a:pt x="473" y="2455"/>
                    </a:lnTo>
                    <a:lnTo>
                      <a:pt x="411" y="2398"/>
                    </a:lnTo>
                    <a:lnTo>
                      <a:pt x="342" y="2323"/>
                    </a:lnTo>
                    <a:lnTo>
                      <a:pt x="277" y="2244"/>
                    </a:lnTo>
                    <a:lnTo>
                      <a:pt x="221" y="2162"/>
                    </a:lnTo>
                    <a:lnTo>
                      <a:pt x="170" y="2077"/>
                    </a:lnTo>
                    <a:lnTo>
                      <a:pt x="126" y="1988"/>
                    </a:lnTo>
                    <a:lnTo>
                      <a:pt x="88" y="1896"/>
                    </a:lnTo>
                    <a:lnTo>
                      <a:pt x="56" y="1802"/>
                    </a:lnTo>
                    <a:lnTo>
                      <a:pt x="31" y="1705"/>
                    </a:lnTo>
                    <a:lnTo>
                      <a:pt x="14" y="1607"/>
                    </a:lnTo>
                    <a:lnTo>
                      <a:pt x="3" y="1506"/>
                    </a:lnTo>
                    <a:lnTo>
                      <a:pt x="0" y="1405"/>
                    </a:lnTo>
                    <a:lnTo>
                      <a:pt x="3" y="1303"/>
                    </a:lnTo>
                    <a:lnTo>
                      <a:pt x="14" y="1202"/>
                    </a:lnTo>
                    <a:lnTo>
                      <a:pt x="31" y="1104"/>
                    </a:lnTo>
                    <a:lnTo>
                      <a:pt x="56" y="1007"/>
                    </a:lnTo>
                    <a:lnTo>
                      <a:pt x="88" y="913"/>
                    </a:lnTo>
                    <a:lnTo>
                      <a:pt x="126" y="821"/>
                    </a:lnTo>
                    <a:lnTo>
                      <a:pt x="170" y="732"/>
                    </a:lnTo>
                    <a:lnTo>
                      <a:pt x="221" y="647"/>
                    </a:lnTo>
                    <a:lnTo>
                      <a:pt x="277" y="564"/>
                    </a:lnTo>
                    <a:lnTo>
                      <a:pt x="342" y="486"/>
                    </a:lnTo>
                    <a:lnTo>
                      <a:pt x="411" y="411"/>
                    </a:lnTo>
                    <a:lnTo>
                      <a:pt x="486" y="342"/>
                    </a:lnTo>
                    <a:lnTo>
                      <a:pt x="564" y="279"/>
                    </a:lnTo>
                    <a:lnTo>
                      <a:pt x="645" y="221"/>
                    </a:lnTo>
                    <a:lnTo>
                      <a:pt x="732" y="171"/>
                    </a:lnTo>
                    <a:lnTo>
                      <a:pt x="821" y="127"/>
                    </a:lnTo>
                    <a:lnTo>
                      <a:pt x="913" y="88"/>
                    </a:lnTo>
                    <a:lnTo>
                      <a:pt x="1007" y="57"/>
                    </a:lnTo>
                    <a:lnTo>
                      <a:pt x="1102" y="33"/>
                    </a:lnTo>
                    <a:lnTo>
                      <a:pt x="1202" y="14"/>
                    </a:lnTo>
                    <a:lnTo>
                      <a:pt x="1302" y="4"/>
                    </a:lnTo>
                    <a:lnTo>
                      <a:pt x="1404"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Freeform 20">
                <a:extLst>
                  <a:ext uri="{FF2B5EF4-FFF2-40B4-BE49-F238E27FC236}">
                    <a16:creationId xmlns:a16="http://schemas.microsoft.com/office/drawing/2014/main" id="{E4B137F8-9762-AA05-FFE4-6100F3D33179}"/>
                  </a:ext>
                </a:extLst>
              </p:cNvPr>
              <p:cNvSpPr>
                <a:spLocks/>
              </p:cNvSpPr>
              <p:nvPr/>
            </p:nvSpPr>
            <p:spPr bwMode="auto">
              <a:xfrm>
                <a:off x="-7348538" y="1466850"/>
                <a:ext cx="2901950" cy="4140200"/>
              </a:xfrm>
              <a:custGeom>
                <a:avLst/>
                <a:gdLst>
                  <a:gd name="T0" fmla="*/ 1221 w 1828"/>
                  <a:gd name="T1" fmla="*/ 46 h 2608"/>
                  <a:gd name="T2" fmla="*/ 1354 w 1828"/>
                  <a:gd name="T3" fmla="*/ 151 h 2608"/>
                  <a:gd name="T4" fmla="*/ 1487 w 1828"/>
                  <a:gd name="T5" fmla="*/ 285 h 2608"/>
                  <a:gd name="T6" fmla="*/ 1607 w 1828"/>
                  <a:gd name="T7" fmla="*/ 446 h 2608"/>
                  <a:gd name="T8" fmla="*/ 1703 w 1828"/>
                  <a:gd name="T9" fmla="*/ 620 h 2608"/>
                  <a:gd name="T10" fmla="*/ 1772 w 1828"/>
                  <a:gd name="T11" fmla="*/ 806 h 2608"/>
                  <a:gd name="T12" fmla="*/ 1814 w 1828"/>
                  <a:gd name="T13" fmla="*/ 1001 h 2608"/>
                  <a:gd name="T14" fmla="*/ 1828 w 1828"/>
                  <a:gd name="T15" fmla="*/ 1204 h 2608"/>
                  <a:gd name="T16" fmla="*/ 1814 w 1828"/>
                  <a:gd name="T17" fmla="*/ 1406 h 2608"/>
                  <a:gd name="T18" fmla="*/ 1772 w 1828"/>
                  <a:gd name="T19" fmla="*/ 1601 h 2608"/>
                  <a:gd name="T20" fmla="*/ 1703 w 1828"/>
                  <a:gd name="T21" fmla="*/ 1787 h 2608"/>
                  <a:gd name="T22" fmla="*/ 1607 w 1828"/>
                  <a:gd name="T23" fmla="*/ 1961 h 2608"/>
                  <a:gd name="T24" fmla="*/ 1487 w 1828"/>
                  <a:gd name="T25" fmla="*/ 2122 h 2608"/>
                  <a:gd name="T26" fmla="*/ 1343 w 1828"/>
                  <a:gd name="T27" fmla="*/ 2266 h 2608"/>
                  <a:gd name="T28" fmla="*/ 1183 w 1828"/>
                  <a:gd name="T29" fmla="*/ 2386 h 2608"/>
                  <a:gd name="T30" fmla="*/ 1007 w 1828"/>
                  <a:gd name="T31" fmla="*/ 2482 h 2608"/>
                  <a:gd name="T32" fmla="*/ 821 w 1828"/>
                  <a:gd name="T33" fmla="*/ 2551 h 2608"/>
                  <a:gd name="T34" fmla="*/ 626 w 1828"/>
                  <a:gd name="T35" fmla="*/ 2593 h 2608"/>
                  <a:gd name="T36" fmla="*/ 425 w 1828"/>
                  <a:gd name="T37" fmla="*/ 2608 h 2608"/>
                  <a:gd name="T38" fmla="*/ 209 w 1828"/>
                  <a:gd name="T39" fmla="*/ 2591 h 2608"/>
                  <a:gd name="T40" fmla="*/ 0 w 1828"/>
                  <a:gd name="T41" fmla="*/ 2542 h 2608"/>
                  <a:gd name="T42" fmla="*/ 235 w 1828"/>
                  <a:gd name="T43" fmla="*/ 2376 h 2608"/>
                  <a:gd name="T44" fmla="*/ 425 w 1828"/>
                  <a:gd name="T45" fmla="*/ 2392 h 2608"/>
                  <a:gd name="T46" fmla="*/ 617 w 1828"/>
                  <a:gd name="T47" fmla="*/ 2376 h 2608"/>
                  <a:gd name="T48" fmla="*/ 799 w 1828"/>
                  <a:gd name="T49" fmla="*/ 2331 h 2608"/>
                  <a:gd name="T50" fmla="*/ 971 w 1828"/>
                  <a:gd name="T51" fmla="*/ 2259 h 2608"/>
                  <a:gd name="T52" fmla="*/ 1127 w 1828"/>
                  <a:gd name="T53" fmla="*/ 2162 h 2608"/>
                  <a:gd name="T54" fmla="*/ 1264 w 1828"/>
                  <a:gd name="T55" fmla="*/ 2043 h 2608"/>
                  <a:gd name="T56" fmla="*/ 1383 w 1828"/>
                  <a:gd name="T57" fmla="*/ 1904 h 2608"/>
                  <a:gd name="T58" fmla="*/ 1480 w 1828"/>
                  <a:gd name="T59" fmla="*/ 1749 h 2608"/>
                  <a:gd name="T60" fmla="*/ 1552 w 1828"/>
                  <a:gd name="T61" fmla="*/ 1578 h 2608"/>
                  <a:gd name="T62" fmla="*/ 1597 w 1828"/>
                  <a:gd name="T63" fmla="*/ 1396 h 2608"/>
                  <a:gd name="T64" fmla="*/ 1612 w 1828"/>
                  <a:gd name="T65" fmla="*/ 1204 h 2608"/>
                  <a:gd name="T66" fmla="*/ 1597 w 1828"/>
                  <a:gd name="T67" fmla="*/ 1011 h 2608"/>
                  <a:gd name="T68" fmla="*/ 1552 w 1828"/>
                  <a:gd name="T69" fmla="*/ 828 h 2608"/>
                  <a:gd name="T70" fmla="*/ 1480 w 1828"/>
                  <a:gd name="T71" fmla="*/ 658 h 2608"/>
                  <a:gd name="T72" fmla="*/ 1383 w 1828"/>
                  <a:gd name="T73" fmla="*/ 502 h 2608"/>
                  <a:gd name="T74" fmla="*/ 1264 w 1828"/>
                  <a:gd name="T75" fmla="*/ 365 h 2608"/>
                  <a:gd name="T76" fmla="*/ 1127 w 1828"/>
                  <a:gd name="T77" fmla="*/ 245 h 2608"/>
                  <a:gd name="T78" fmla="*/ 1149 w 1828"/>
                  <a:gd name="T79"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8" h="2608">
                    <a:moveTo>
                      <a:pt x="1149" y="0"/>
                    </a:moveTo>
                    <a:lnTo>
                      <a:pt x="1221" y="46"/>
                    </a:lnTo>
                    <a:lnTo>
                      <a:pt x="1289" y="96"/>
                    </a:lnTo>
                    <a:lnTo>
                      <a:pt x="1354" y="151"/>
                    </a:lnTo>
                    <a:lnTo>
                      <a:pt x="1417" y="210"/>
                    </a:lnTo>
                    <a:lnTo>
                      <a:pt x="1487" y="285"/>
                    </a:lnTo>
                    <a:lnTo>
                      <a:pt x="1551" y="363"/>
                    </a:lnTo>
                    <a:lnTo>
                      <a:pt x="1607" y="446"/>
                    </a:lnTo>
                    <a:lnTo>
                      <a:pt x="1658" y="531"/>
                    </a:lnTo>
                    <a:lnTo>
                      <a:pt x="1703" y="620"/>
                    </a:lnTo>
                    <a:lnTo>
                      <a:pt x="1741" y="712"/>
                    </a:lnTo>
                    <a:lnTo>
                      <a:pt x="1772" y="806"/>
                    </a:lnTo>
                    <a:lnTo>
                      <a:pt x="1797" y="903"/>
                    </a:lnTo>
                    <a:lnTo>
                      <a:pt x="1814" y="1001"/>
                    </a:lnTo>
                    <a:lnTo>
                      <a:pt x="1826" y="1102"/>
                    </a:lnTo>
                    <a:lnTo>
                      <a:pt x="1828" y="1204"/>
                    </a:lnTo>
                    <a:lnTo>
                      <a:pt x="1826" y="1305"/>
                    </a:lnTo>
                    <a:lnTo>
                      <a:pt x="1814" y="1406"/>
                    </a:lnTo>
                    <a:lnTo>
                      <a:pt x="1797" y="1504"/>
                    </a:lnTo>
                    <a:lnTo>
                      <a:pt x="1772" y="1601"/>
                    </a:lnTo>
                    <a:lnTo>
                      <a:pt x="1741" y="1695"/>
                    </a:lnTo>
                    <a:lnTo>
                      <a:pt x="1703" y="1787"/>
                    </a:lnTo>
                    <a:lnTo>
                      <a:pt x="1658" y="1876"/>
                    </a:lnTo>
                    <a:lnTo>
                      <a:pt x="1607" y="1961"/>
                    </a:lnTo>
                    <a:lnTo>
                      <a:pt x="1551" y="2043"/>
                    </a:lnTo>
                    <a:lnTo>
                      <a:pt x="1487" y="2122"/>
                    </a:lnTo>
                    <a:lnTo>
                      <a:pt x="1417" y="2197"/>
                    </a:lnTo>
                    <a:lnTo>
                      <a:pt x="1343" y="2266"/>
                    </a:lnTo>
                    <a:lnTo>
                      <a:pt x="1264" y="2329"/>
                    </a:lnTo>
                    <a:lnTo>
                      <a:pt x="1183" y="2386"/>
                    </a:lnTo>
                    <a:lnTo>
                      <a:pt x="1096" y="2437"/>
                    </a:lnTo>
                    <a:lnTo>
                      <a:pt x="1007" y="2482"/>
                    </a:lnTo>
                    <a:lnTo>
                      <a:pt x="916" y="2520"/>
                    </a:lnTo>
                    <a:lnTo>
                      <a:pt x="821" y="2551"/>
                    </a:lnTo>
                    <a:lnTo>
                      <a:pt x="726" y="2576"/>
                    </a:lnTo>
                    <a:lnTo>
                      <a:pt x="626" y="2593"/>
                    </a:lnTo>
                    <a:lnTo>
                      <a:pt x="527" y="2604"/>
                    </a:lnTo>
                    <a:lnTo>
                      <a:pt x="425" y="2608"/>
                    </a:lnTo>
                    <a:lnTo>
                      <a:pt x="316" y="2604"/>
                    </a:lnTo>
                    <a:lnTo>
                      <a:pt x="209" y="2591"/>
                    </a:lnTo>
                    <a:lnTo>
                      <a:pt x="103" y="2571"/>
                    </a:lnTo>
                    <a:lnTo>
                      <a:pt x="0" y="2542"/>
                    </a:lnTo>
                    <a:lnTo>
                      <a:pt x="144" y="2358"/>
                    </a:lnTo>
                    <a:lnTo>
                      <a:pt x="235" y="2376"/>
                    </a:lnTo>
                    <a:lnTo>
                      <a:pt x="329" y="2388"/>
                    </a:lnTo>
                    <a:lnTo>
                      <a:pt x="425" y="2392"/>
                    </a:lnTo>
                    <a:lnTo>
                      <a:pt x="522" y="2388"/>
                    </a:lnTo>
                    <a:lnTo>
                      <a:pt x="617" y="2376"/>
                    </a:lnTo>
                    <a:lnTo>
                      <a:pt x="710" y="2358"/>
                    </a:lnTo>
                    <a:lnTo>
                      <a:pt x="799" y="2331"/>
                    </a:lnTo>
                    <a:lnTo>
                      <a:pt x="887" y="2299"/>
                    </a:lnTo>
                    <a:lnTo>
                      <a:pt x="971" y="2259"/>
                    </a:lnTo>
                    <a:lnTo>
                      <a:pt x="1051" y="2214"/>
                    </a:lnTo>
                    <a:lnTo>
                      <a:pt x="1127" y="2162"/>
                    </a:lnTo>
                    <a:lnTo>
                      <a:pt x="1197" y="2105"/>
                    </a:lnTo>
                    <a:lnTo>
                      <a:pt x="1264" y="2043"/>
                    </a:lnTo>
                    <a:lnTo>
                      <a:pt x="1327" y="1977"/>
                    </a:lnTo>
                    <a:lnTo>
                      <a:pt x="1383" y="1904"/>
                    </a:lnTo>
                    <a:lnTo>
                      <a:pt x="1434" y="1829"/>
                    </a:lnTo>
                    <a:lnTo>
                      <a:pt x="1480" y="1749"/>
                    </a:lnTo>
                    <a:lnTo>
                      <a:pt x="1519" y="1665"/>
                    </a:lnTo>
                    <a:lnTo>
                      <a:pt x="1552" y="1578"/>
                    </a:lnTo>
                    <a:lnTo>
                      <a:pt x="1578" y="1488"/>
                    </a:lnTo>
                    <a:lnTo>
                      <a:pt x="1597" y="1396"/>
                    </a:lnTo>
                    <a:lnTo>
                      <a:pt x="1608" y="1301"/>
                    </a:lnTo>
                    <a:lnTo>
                      <a:pt x="1612" y="1204"/>
                    </a:lnTo>
                    <a:lnTo>
                      <a:pt x="1608" y="1106"/>
                    </a:lnTo>
                    <a:lnTo>
                      <a:pt x="1597" y="1011"/>
                    </a:lnTo>
                    <a:lnTo>
                      <a:pt x="1578" y="918"/>
                    </a:lnTo>
                    <a:lnTo>
                      <a:pt x="1552" y="828"/>
                    </a:lnTo>
                    <a:lnTo>
                      <a:pt x="1519" y="742"/>
                    </a:lnTo>
                    <a:lnTo>
                      <a:pt x="1480" y="658"/>
                    </a:lnTo>
                    <a:lnTo>
                      <a:pt x="1434" y="578"/>
                    </a:lnTo>
                    <a:lnTo>
                      <a:pt x="1383" y="502"/>
                    </a:lnTo>
                    <a:lnTo>
                      <a:pt x="1327" y="431"/>
                    </a:lnTo>
                    <a:lnTo>
                      <a:pt x="1264" y="365"/>
                    </a:lnTo>
                    <a:lnTo>
                      <a:pt x="1197" y="302"/>
                    </a:lnTo>
                    <a:lnTo>
                      <a:pt x="1127" y="245"/>
                    </a:lnTo>
                    <a:lnTo>
                      <a:pt x="1051" y="194"/>
                    </a:lnTo>
                    <a:lnTo>
                      <a:pt x="1149"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Freeform 21">
                <a:extLst>
                  <a:ext uri="{FF2B5EF4-FFF2-40B4-BE49-F238E27FC236}">
                    <a16:creationId xmlns:a16="http://schemas.microsoft.com/office/drawing/2014/main" id="{98FD07A9-9627-A2D6-8210-5A2B6EA43382}"/>
                  </a:ext>
                </a:extLst>
              </p:cNvPr>
              <p:cNvSpPr>
                <a:spLocks/>
              </p:cNvSpPr>
              <p:nvPr/>
            </p:nvSpPr>
            <p:spPr bwMode="auto">
              <a:xfrm>
                <a:off x="-7781926" y="1020763"/>
                <a:ext cx="2484438" cy="4814888"/>
              </a:xfrm>
              <a:custGeom>
                <a:avLst/>
                <a:gdLst>
                  <a:gd name="T0" fmla="*/ 834 w 1565"/>
                  <a:gd name="T1" fmla="*/ 0 h 3033"/>
                  <a:gd name="T2" fmla="*/ 1468 w 1565"/>
                  <a:gd name="T3" fmla="*/ 1 h 3033"/>
                  <a:gd name="T4" fmla="*/ 944 w 1565"/>
                  <a:gd name="T5" fmla="*/ 1031 h 3033"/>
                  <a:gd name="T6" fmla="*/ 1565 w 1565"/>
                  <a:gd name="T7" fmla="*/ 1028 h 3033"/>
                  <a:gd name="T8" fmla="*/ 0 w 1565"/>
                  <a:gd name="T9" fmla="*/ 3033 h 3033"/>
                  <a:gd name="T10" fmla="*/ 674 w 1565"/>
                  <a:gd name="T11" fmla="*/ 1491 h 3033"/>
                  <a:gd name="T12" fmla="*/ 119 w 1565"/>
                  <a:gd name="T13" fmla="*/ 1495 h 3033"/>
                  <a:gd name="T14" fmla="*/ 834 w 1565"/>
                  <a:gd name="T15" fmla="*/ 0 h 3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5" h="3033">
                    <a:moveTo>
                      <a:pt x="834" y="0"/>
                    </a:moveTo>
                    <a:lnTo>
                      <a:pt x="1468" y="1"/>
                    </a:lnTo>
                    <a:lnTo>
                      <a:pt x="944" y="1031"/>
                    </a:lnTo>
                    <a:lnTo>
                      <a:pt x="1565" y="1028"/>
                    </a:lnTo>
                    <a:lnTo>
                      <a:pt x="0" y="3033"/>
                    </a:lnTo>
                    <a:lnTo>
                      <a:pt x="674" y="1491"/>
                    </a:lnTo>
                    <a:lnTo>
                      <a:pt x="119" y="1495"/>
                    </a:lnTo>
                    <a:lnTo>
                      <a:pt x="834"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6" name="TextBox 5">
            <a:extLst>
              <a:ext uri="{FF2B5EF4-FFF2-40B4-BE49-F238E27FC236}">
                <a16:creationId xmlns:a16="http://schemas.microsoft.com/office/drawing/2014/main" id="{F2F75D4F-24D3-B118-83CD-04770972B335}"/>
              </a:ext>
            </a:extLst>
          </p:cNvPr>
          <p:cNvSpPr txBox="1"/>
          <p:nvPr/>
        </p:nvSpPr>
        <p:spPr>
          <a:xfrm>
            <a:off x="10679629" y="6473517"/>
            <a:ext cx="1229504" cy="153888"/>
          </a:xfrm>
          <a:prstGeom prst="rect">
            <a:avLst/>
          </a:prstGeom>
          <a:noFill/>
        </p:spPr>
        <p:txBody>
          <a:bodyPr wrap="square" lIns="0" tIns="0" rIns="0" bIns="0" rtlCol="0" anchor="b">
            <a:spAutoFit/>
          </a:bodyPr>
          <a:lstStyle/>
          <a:p>
            <a:pPr marL="0" marR="0" lvl="0" indent="0" algn="r" defTabSz="8358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7426B"/>
                </a:solidFill>
                <a:effectLst/>
                <a:uLnTx/>
                <a:uFillTx/>
                <a:latin typeface="Calibri"/>
                <a:ea typeface="+mn-ea"/>
                <a:cs typeface="Calibri" panose="020F0502020204030204" pitchFamily="34" charset="0"/>
              </a:rPr>
              <a:t>Source: Frost &amp; Sullivan</a:t>
            </a:r>
          </a:p>
        </p:txBody>
      </p:sp>
      <p:sp>
        <p:nvSpPr>
          <p:cNvPr id="19" name="TextBox 18">
            <a:extLst>
              <a:ext uri="{FF2B5EF4-FFF2-40B4-BE49-F238E27FC236}">
                <a16:creationId xmlns:a16="http://schemas.microsoft.com/office/drawing/2014/main" id="{8F0267CB-E56E-15A3-1F08-F8A68EE9B392}"/>
              </a:ext>
            </a:extLst>
          </p:cNvPr>
          <p:cNvSpPr txBox="1"/>
          <p:nvPr/>
        </p:nvSpPr>
        <p:spPr>
          <a:xfrm>
            <a:off x="4149307" y="1674101"/>
            <a:ext cx="3459182" cy="369332"/>
          </a:xfrm>
          <a:prstGeom prst="rect">
            <a:avLst/>
          </a:prstGeom>
        </p:spPr>
        <p:txBody>
          <a:bodyPr wrap="square" lIns="0" tIns="0" rIns="0" bIns="0">
            <a:spAutoFit/>
          </a:bodyPr>
          <a:lstStyle>
            <a:defPPr>
              <a:defRPr lang="en-US"/>
            </a:defPPr>
            <a:lvl1pPr algn="ctr" defTabSz="914400">
              <a:buSzPct val="75000"/>
              <a:defRPr sz="1400" b="1" kern="0">
                <a:solidFill>
                  <a:srgbClr val="17426B"/>
                </a:solidFill>
                <a:cs typeface="Arial" charset="0"/>
              </a:defRPr>
            </a:lvl1pPr>
          </a:lstStyle>
          <a:p>
            <a:pPr marL="0" marR="0" lvl="0" indent="0" algn="ctr" defTabSz="914400" rtl="0" eaLnBrk="1" fontAlgn="auto" latinLnBrk="0" hangingPunct="1">
              <a:lnSpc>
                <a:spcPct val="100000"/>
              </a:lnSpc>
              <a:spcBef>
                <a:spcPts val="0"/>
              </a:spcBef>
              <a:spcAft>
                <a:spcPts val="0"/>
              </a:spcAft>
              <a:buClrTx/>
              <a:buSzPct val="75000"/>
              <a:buFontTx/>
              <a:buNone/>
              <a:tabLst/>
              <a:defRPr/>
            </a:pPr>
            <a:r>
              <a:rPr kumimoji="0" lang="en-US" sz="1200" b="1" i="0" u="none" strike="noStrike" kern="0" cap="none" spc="0" normalizeH="0" baseline="0" noProof="0" dirty="0">
                <a:ln>
                  <a:noFill/>
                </a:ln>
                <a:solidFill>
                  <a:srgbClr val="172D55"/>
                </a:solidFill>
                <a:effectLst/>
                <a:uLnTx/>
                <a:uFillTx/>
                <a:latin typeface="Calibri"/>
                <a:ea typeface="+mn-ea"/>
                <a:cs typeface="Arial" charset="0"/>
              </a:rPr>
              <a:t>In your opinion, what benefits do battery energy storage systems provide?</a:t>
            </a:r>
          </a:p>
        </p:txBody>
      </p:sp>
      <p:graphicFrame>
        <p:nvGraphicFramePr>
          <p:cNvPr id="20" name="Table 19">
            <a:extLst>
              <a:ext uri="{FF2B5EF4-FFF2-40B4-BE49-F238E27FC236}">
                <a16:creationId xmlns:a16="http://schemas.microsoft.com/office/drawing/2014/main" id="{CBDEDDDD-A923-04AA-4800-F7632226BE5E}"/>
              </a:ext>
            </a:extLst>
          </p:cNvPr>
          <p:cNvGraphicFramePr>
            <a:graphicFrameLocks noGrp="1"/>
          </p:cNvGraphicFramePr>
          <p:nvPr>
            <p:custDataLst>
              <p:tags r:id="rId1"/>
            </p:custDataLst>
          </p:nvPr>
        </p:nvGraphicFramePr>
        <p:xfrm>
          <a:off x="2025233" y="2254894"/>
          <a:ext cx="7777581" cy="3993508"/>
        </p:xfrm>
        <a:graphic>
          <a:graphicData uri="http://schemas.openxmlformats.org/drawingml/2006/table">
            <a:tbl>
              <a:tblPr firstRow="1" bandRow="1">
                <a:tableStyleId>{5C22544A-7EE6-4342-B048-85BDC9FD1C3A}</a:tableStyleId>
              </a:tblPr>
              <a:tblGrid>
                <a:gridCol w="4243806">
                  <a:extLst>
                    <a:ext uri="{9D8B030D-6E8A-4147-A177-3AD203B41FA5}">
                      <a16:colId xmlns:a16="http://schemas.microsoft.com/office/drawing/2014/main" val="20000"/>
                    </a:ext>
                  </a:extLst>
                </a:gridCol>
                <a:gridCol w="3533775">
                  <a:extLst>
                    <a:ext uri="{9D8B030D-6E8A-4147-A177-3AD203B41FA5}">
                      <a16:colId xmlns:a16="http://schemas.microsoft.com/office/drawing/2014/main" val="20001"/>
                    </a:ext>
                  </a:extLst>
                </a:gridCol>
              </a:tblGrid>
              <a:tr h="337958">
                <a:tc>
                  <a:txBody>
                    <a:bodyPr/>
                    <a:lstStyle/>
                    <a:p>
                      <a:pPr marL="0" algn="r" defTabSz="914400" rtl="0" eaLnBrk="1" fontAlgn="t" latinLnBrk="0" hangingPunct="1"/>
                      <a:r>
                        <a:rPr lang="en-GB" sz="1400" b="0" i="0" u="none" strike="noStrike" kern="1200" dirty="0">
                          <a:solidFill>
                            <a:schemeClr val="tx1"/>
                          </a:solidFill>
                          <a:latin typeface="+mn-lt"/>
                          <a:ea typeface="+mn-ea"/>
                          <a:cs typeface="+mn-cs"/>
                        </a:rPr>
                        <a:t>Device is too expensive to purchase or rent</a:t>
                      </a:r>
                    </a:p>
                  </a:txBody>
                  <a:tcPr marL="9525" marR="9525" marT="9525" marB="0" anchor="ctr">
                    <a:lnL w="12700" cmpd="sng">
                      <a:noFill/>
                    </a:lnL>
                    <a:lnR w="12700" cap="flat" cmpd="sng" algn="ctr">
                      <a:noFill/>
                      <a:prstDash val="solid"/>
                      <a:round/>
                      <a:headEnd type="none" w="med" len="med"/>
                      <a:tailEnd type="none" w="med" len="med"/>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GB" sz="1400" b="0" i="0" u="none" strike="noStrike"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6350" cap="flat" cmpd="sng" algn="ctr">
                      <a:noFill/>
                      <a:prstDash val="sysDot"/>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37958">
                <a:tc>
                  <a:txBody>
                    <a:bodyPr/>
                    <a:lstStyle/>
                    <a:p>
                      <a:pPr marL="0" algn="r" defTabSz="914400" rtl="0" eaLnBrk="1" fontAlgn="t" latinLnBrk="0" hangingPunct="1"/>
                      <a:r>
                        <a:rPr lang="en-GB" sz="1400" b="0" i="0" u="none" strike="noStrike" kern="1200" dirty="0">
                          <a:solidFill>
                            <a:schemeClr val="tx1"/>
                          </a:solidFill>
                          <a:latin typeface="+mn-lt"/>
                          <a:ea typeface="+mn-ea"/>
                          <a:cs typeface="+mn-cs"/>
                        </a:rPr>
                        <a:t>Payback time is too long for me</a:t>
                      </a:r>
                    </a:p>
                  </a:txBody>
                  <a:tcPr marL="9525" marR="9525" marT="9525"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GB" sz="1400" b="0" i="0" u="none" strike="noStrike"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7958">
                <a:tc>
                  <a:txBody>
                    <a:bodyPr/>
                    <a:lstStyle/>
                    <a:p>
                      <a:pPr marL="0" algn="r" defTabSz="914400" rtl="0" eaLnBrk="1" fontAlgn="t" latinLnBrk="0" hangingPunct="1"/>
                      <a:r>
                        <a:rPr lang="en-GB" sz="1400" b="0" i="0" u="none" strike="noStrike" kern="1200" dirty="0">
                          <a:solidFill>
                            <a:schemeClr val="tx1"/>
                          </a:solidFill>
                          <a:latin typeface="+mn-lt"/>
                          <a:ea typeface="+mn-ea"/>
                          <a:cs typeface="+mn-cs"/>
                        </a:rPr>
                        <a:t>Maintenance costs are too high</a:t>
                      </a:r>
                    </a:p>
                  </a:txBody>
                  <a:tcPr marL="9525" marR="9525" marT="9525"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GB" sz="1400" b="0" i="0" u="none" strike="noStrike"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37958">
                <a:tc>
                  <a:txBody>
                    <a:bodyPr/>
                    <a:lstStyle/>
                    <a:p>
                      <a:pPr marL="0" algn="r" defTabSz="914400" rtl="0" eaLnBrk="1" fontAlgn="t" latinLnBrk="0" hangingPunct="1"/>
                      <a:r>
                        <a:rPr lang="en-GB" sz="1400" b="0" i="0" u="none" strike="noStrike" kern="1200" dirty="0">
                          <a:solidFill>
                            <a:schemeClr val="tx1"/>
                          </a:solidFill>
                          <a:latin typeface="+mn-lt"/>
                          <a:ea typeface="+mn-ea"/>
                          <a:cs typeface="+mn-cs"/>
                        </a:rPr>
                        <a:t>Fire hazard</a:t>
                      </a:r>
                    </a:p>
                  </a:txBody>
                  <a:tcPr marL="9525" marR="9525" marT="9525"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GB" sz="1400" b="0" i="0" u="none" strike="noStrike"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51036">
                <a:tc>
                  <a:txBody>
                    <a:bodyPr/>
                    <a:lstStyle/>
                    <a:p>
                      <a:pPr marL="0" algn="r" defTabSz="914400" rtl="0" eaLnBrk="1" fontAlgn="t" latinLnBrk="0" hangingPunct="1"/>
                      <a:r>
                        <a:rPr lang="en-GB" sz="1400" b="0" i="0" u="none" strike="noStrike" kern="1200" dirty="0">
                          <a:solidFill>
                            <a:schemeClr val="tx1"/>
                          </a:solidFill>
                          <a:latin typeface="+mn-lt"/>
                          <a:ea typeface="+mn-ea"/>
                          <a:cs typeface="+mn-cs"/>
                        </a:rPr>
                        <a:t>It requires house reconstruction/ I am afraid of house damage while installing this system</a:t>
                      </a:r>
                    </a:p>
                  </a:txBody>
                  <a:tcPr marL="9525" marR="9525" marT="9525"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GB" sz="1400" b="0" i="0" u="none" strike="noStrike"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87772">
                <a:tc>
                  <a:txBody>
                    <a:bodyPr/>
                    <a:lstStyle/>
                    <a:p>
                      <a:pPr marL="0" algn="r" defTabSz="914400" rtl="0" eaLnBrk="1" fontAlgn="t" latinLnBrk="0" hangingPunct="1"/>
                      <a:r>
                        <a:rPr lang="en-GB" sz="1400" b="0" i="0" u="none" strike="noStrike" kern="1200" dirty="0">
                          <a:solidFill>
                            <a:schemeClr val="tx1"/>
                          </a:solidFill>
                          <a:latin typeface="+mn-lt"/>
                          <a:ea typeface="+mn-ea"/>
                          <a:cs typeface="+mn-cs"/>
                        </a:rPr>
                        <a:t>Solution is not tested properly/is not properly developed</a:t>
                      </a:r>
                    </a:p>
                  </a:txBody>
                  <a:tcPr marL="9525" marR="9525" marT="9525"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GB" sz="1400" b="0" i="0" u="none" strike="noStrike"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37958">
                <a:tc>
                  <a:txBody>
                    <a:bodyPr/>
                    <a:lstStyle/>
                    <a:p>
                      <a:pPr marL="0" algn="r" defTabSz="914400" rtl="0" eaLnBrk="1" fontAlgn="t" latinLnBrk="0" hangingPunct="1"/>
                      <a:r>
                        <a:rPr lang="en-GB" sz="1400" b="0" i="0" u="none" strike="noStrike" kern="1200" dirty="0">
                          <a:solidFill>
                            <a:schemeClr val="tx1"/>
                          </a:solidFill>
                          <a:latin typeface="+mn-lt"/>
                          <a:ea typeface="+mn-ea"/>
                          <a:cs typeface="+mn-cs"/>
                        </a:rPr>
                        <a:t>It is difficult to use</a:t>
                      </a:r>
                    </a:p>
                  </a:txBody>
                  <a:tcPr marL="9525" marR="9525" marT="9525"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GB" sz="1400" b="0" i="0" u="none" strike="noStrike"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451036">
                <a:tc>
                  <a:txBody>
                    <a:bodyPr/>
                    <a:lstStyle/>
                    <a:p>
                      <a:pPr marL="0" algn="r" defTabSz="914400" rtl="0" eaLnBrk="1" fontAlgn="t" latinLnBrk="0" hangingPunct="1"/>
                      <a:r>
                        <a:rPr lang="en-GB" sz="1400" b="0" i="0" u="none" strike="noStrike" kern="1200" dirty="0">
                          <a:solidFill>
                            <a:schemeClr val="tx1"/>
                          </a:solidFill>
                          <a:latin typeface="+mn-lt"/>
                          <a:ea typeface="+mn-ea"/>
                          <a:cs typeface="+mn-cs"/>
                        </a:rPr>
                        <a:t>Solution does not work as it should/it is expected from this kind of device</a:t>
                      </a:r>
                    </a:p>
                  </a:txBody>
                  <a:tcPr marL="9525" marR="9525" marT="9525"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GB" sz="1400" b="0" i="0" u="none" strike="noStrike"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37958">
                <a:tc>
                  <a:txBody>
                    <a:bodyPr/>
                    <a:lstStyle/>
                    <a:p>
                      <a:pPr marL="0" algn="r" defTabSz="914400" rtl="0" eaLnBrk="1" fontAlgn="t" latinLnBrk="0" hangingPunct="1"/>
                      <a:r>
                        <a:rPr lang="en-GB" sz="1400" b="0" i="0" u="none" strike="noStrike" kern="1200" dirty="0">
                          <a:solidFill>
                            <a:schemeClr val="tx1"/>
                          </a:solidFill>
                          <a:latin typeface="+mn-lt"/>
                          <a:ea typeface="+mn-ea"/>
                          <a:cs typeface="+mn-cs"/>
                        </a:rPr>
                        <a:t>Other</a:t>
                      </a:r>
                    </a:p>
                  </a:txBody>
                  <a:tcPr marL="9525" marR="9525" marT="9525"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GB" sz="1400" b="0" i="0" u="none" strike="noStrike"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37958">
                <a:tc>
                  <a:txBody>
                    <a:bodyPr/>
                    <a:lstStyle/>
                    <a:p>
                      <a:pPr marL="0" algn="r" defTabSz="914400" rtl="0" eaLnBrk="1" fontAlgn="t" latinLnBrk="0" hangingPunct="1"/>
                      <a:r>
                        <a:rPr lang="en-GB" sz="1400" b="0" i="0" u="none" strike="noStrike" kern="1200" dirty="0">
                          <a:solidFill>
                            <a:schemeClr val="tx1"/>
                          </a:solidFill>
                          <a:latin typeface="+mn-lt"/>
                          <a:ea typeface="+mn-ea"/>
                          <a:cs typeface="+mn-cs"/>
                        </a:rPr>
                        <a:t>I do not see any problems</a:t>
                      </a:r>
                    </a:p>
                  </a:txBody>
                  <a:tcPr marL="9525" marR="9525" marT="9525"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GB" sz="1400" b="0" i="0" u="none" strike="noStrike"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337958">
                <a:tc>
                  <a:txBody>
                    <a:bodyPr/>
                    <a:lstStyle/>
                    <a:p>
                      <a:pPr marL="0" algn="r" defTabSz="914400" rtl="0" eaLnBrk="1" fontAlgn="t" latinLnBrk="0" hangingPunct="1"/>
                      <a:r>
                        <a:rPr lang="en-GB" sz="1400" b="0" i="0" u="none" strike="noStrike" kern="1200" dirty="0">
                          <a:solidFill>
                            <a:schemeClr val="tx1"/>
                          </a:solidFill>
                          <a:latin typeface="+mn-lt"/>
                          <a:ea typeface="+mn-ea"/>
                          <a:cs typeface="+mn-cs"/>
                        </a:rPr>
                        <a:t>Don't know</a:t>
                      </a:r>
                    </a:p>
                  </a:txBody>
                  <a:tcPr marL="9525" marR="9525" marT="9525" marB="0" anchor="ctr">
                    <a:lnL w="12700" cmpd="sng">
                      <a:noFill/>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r" defTabSz="914400" rtl="0" eaLnBrk="1" fontAlgn="b" latinLnBrk="0" hangingPunct="1"/>
                      <a:endParaRPr lang="en-GB" sz="1400" b="0" i="0" u="none" strike="noStrike" kern="1200" dirty="0">
                        <a:solidFill>
                          <a:schemeClr val="tx1"/>
                        </a:solidFill>
                        <a:latin typeface="+mn-lt"/>
                        <a:ea typeface="+mn-ea"/>
                        <a:cs typeface="+mn-cs"/>
                      </a:endParaRPr>
                    </a:p>
                  </a:txBody>
                  <a:tcPr marL="9525" marR="9525" marT="9525" marB="0" anchor="ctr">
                    <a:lnL w="12700" cap="flat" cmpd="sng" algn="ctr">
                      <a:noFill/>
                      <a:prstDash val="solid"/>
                      <a:round/>
                      <a:headEnd type="none" w="med" len="med"/>
                      <a:tailEnd type="none" w="med" len="med"/>
                    </a:lnL>
                    <a:lnR w="12700" cmpd="sng">
                      <a:noFill/>
                    </a:lnR>
                    <a:lnT w="12700" cap="flat" cmpd="sng" algn="ctr">
                      <a:solidFill>
                        <a:schemeClr val="bg1">
                          <a:lumMod val="9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bl>
          </a:graphicData>
        </a:graphic>
      </p:graphicFrame>
      <p:graphicFrame>
        <p:nvGraphicFramePr>
          <p:cNvPr id="4" name="Content Placeholder 4">
            <a:extLst>
              <a:ext uri="{FF2B5EF4-FFF2-40B4-BE49-F238E27FC236}">
                <a16:creationId xmlns:a16="http://schemas.microsoft.com/office/drawing/2014/main" id="{3344745B-5666-ACAE-C352-CC0E4777E8B3}"/>
              </a:ext>
            </a:extLst>
          </p:cNvPr>
          <p:cNvGraphicFramePr>
            <a:graphicFrameLocks/>
          </p:cNvGraphicFramePr>
          <p:nvPr/>
        </p:nvGraphicFramePr>
        <p:xfrm>
          <a:off x="6476636" y="2178695"/>
          <a:ext cx="2339999" cy="4088755"/>
        </p:xfrm>
        <a:graphic>
          <a:graphicData uri="http://schemas.openxmlformats.org/drawingml/2006/chart">
            <c:chart xmlns:c="http://schemas.openxmlformats.org/drawingml/2006/chart" xmlns:r="http://schemas.openxmlformats.org/officeDocument/2006/relationships" r:id="rId4"/>
          </a:graphicData>
        </a:graphic>
      </p:graphicFrame>
      <p:pic>
        <p:nvPicPr>
          <p:cNvPr id="21" name="Picture 4" descr="Image result">
            <a:extLst>
              <a:ext uri="{FF2B5EF4-FFF2-40B4-BE49-F238E27FC236}">
                <a16:creationId xmlns:a16="http://schemas.microsoft.com/office/drawing/2014/main" id="{87CCC005-3D78-3EA9-A8FE-804F7B5287F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336890" y="317429"/>
            <a:ext cx="372843" cy="252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258485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3216" y="2417"/>
          <a:ext cx="1629" cy="1489"/>
        </p:xfrm>
        <a:graphic>
          <a:graphicData uri="http://schemas.openxmlformats.org/presentationml/2006/ole">
            <mc:AlternateContent xmlns:mc="http://schemas.openxmlformats.org/markup-compatibility/2006">
              <mc:Choice xmlns:v="urn:schemas-microsoft-com:vml" Requires="v">
                <p:oleObj spid="_x0000_s11266" name="think-cell Slide" r:id="rId4" imgW="378" imgH="379" progId="TCLayout.ActiveDocument.1">
                  <p:embed/>
                </p:oleObj>
              </mc:Choice>
              <mc:Fallback>
                <p:oleObj name="think-cell Slide" r:id="rId4" imgW="378" imgH="379" progId="TCLayout.ActiveDocument.1">
                  <p:embed/>
                  <p:pic>
                    <p:nvPicPr>
                      <p:cNvPr id="3" name="Object 2" hidden="1"/>
                      <p:cNvPicPr/>
                      <p:nvPr/>
                    </p:nvPicPr>
                    <p:blipFill>
                      <a:blip r:embed="rId5"/>
                      <a:stretch>
                        <a:fillRect/>
                      </a:stretch>
                    </p:blipFill>
                    <p:spPr>
                      <a:xfrm>
                        <a:off x="3216" y="2417"/>
                        <a:ext cx="1629" cy="1489"/>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t>Key players in the residential </a:t>
            </a:r>
            <a:r>
              <a:rPr lang="en-US" dirty="0" err="1"/>
              <a:t>solar+storage</a:t>
            </a:r>
            <a:r>
              <a:rPr lang="en-US" dirty="0"/>
              <a:t> value chain</a:t>
            </a:r>
            <a:endParaRPr lang="en-IN" dirty="0"/>
          </a:p>
        </p:txBody>
      </p:sp>
      <p:sp>
        <p:nvSpPr>
          <p:cNvPr id="4" name="TextBox 3">
            <a:extLst>
              <a:ext uri="{FF2B5EF4-FFF2-40B4-BE49-F238E27FC236}">
                <a16:creationId xmlns:a16="http://schemas.microsoft.com/office/drawing/2014/main" id="{F6513E49-BD0E-62FC-74D1-B2B56E4F3159}"/>
              </a:ext>
            </a:extLst>
          </p:cNvPr>
          <p:cNvSpPr txBox="1"/>
          <p:nvPr/>
        </p:nvSpPr>
        <p:spPr>
          <a:xfrm>
            <a:off x="10679629" y="6473517"/>
            <a:ext cx="1229504" cy="153888"/>
          </a:xfrm>
          <a:prstGeom prst="rect">
            <a:avLst/>
          </a:prstGeom>
          <a:noFill/>
        </p:spPr>
        <p:txBody>
          <a:bodyPr wrap="square" lIns="0" tIns="0" rIns="0" bIns="0" rtlCol="0" anchor="b">
            <a:spAutoFit/>
          </a:bodyPr>
          <a:lstStyle/>
          <a:p>
            <a:pPr algn="r" defTabSz="835867"/>
            <a:r>
              <a:rPr lang="en-US" sz="1000" dirty="0">
                <a:solidFill>
                  <a:schemeClr val="tx2"/>
                </a:solidFill>
                <a:latin typeface="Calibri"/>
                <a:cs typeface="Calibri" panose="020F0502020204030204" pitchFamily="34" charset="0"/>
              </a:rPr>
              <a:t>Source: Frost &amp; Sullivan</a:t>
            </a:r>
          </a:p>
        </p:txBody>
      </p:sp>
      <p:sp>
        <p:nvSpPr>
          <p:cNvPr id="6" name="Rectangle: Rounded Corners 5">
            <a:extLst>
              <a:ext uri="{FF2B5EF4-FFF2-40B4-BE49-F238E27FC236}">
                <a16:creationId xmlns:a16="http://schemas.microsoft.com/office/drawing/2014/main" id="{6079703F-2FC7-C10D-569E-EED21C83804A}"/>
              </a:ext>
            </a:extLst>
          </p:cNvPr>
          <p:cNvSpPr>
            <a:spLocks/>
          </p:cNvSpPr>
          <p:nvPr/>
        </p:nvSpPr>
        <p:spPr>
          <a:xfrm flipH="1">
            <a:off x="280416" y="771846"/>
            <a:ext cx="11631168" cy="64293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224" defTabSz="857228"/>
            <a:endParaRPr lang="en-US" sz="1500" b="1" dirty="0">
              <a:solidFill>
                <a:prstClr val="white"/>
              </a:solidFill>
            </a:endParaRPr>
          </a:p>
        </p:txBody>
      </p:sp>
      <p:sp>
        <p:nvSpPr>
          <p:cNvPr id="7" name="Rectangle 6">
            <a:extLst>
              <a:ext uri="{FF2B5EF4-FFF2-40B4-BE49-F238E27FC236}">
                <a16:creationId xmlns:a16="http://schemas.microsoft.com/office/drawing/2014/main" id="{F1899E1E-77B5-3392-6E68-3DABE6AC04BC}"/>
              </a:ext>
            </a:extLst>
          </p:cNvPr>
          <p:cNvSpPr/>
          <p:nvPr/>
        </p:nvSpPr>
        <p:spPr>
          <a:xfrm>
            <a:off x="1119061" y="970207"/>
            <a:ext cx="10656276" cy="246221"/>
          </a:xfrm>
          <a:prstGeom prst="rect">
            <a:avLst/>
          </a:prstGeom>
        </p:spPr>
        <p:txBody>
          <a:bodyPr wrap="square" lIns="0" tIns="0" rIns="0" bIns="0" anchor="ctr">
            <a:spAutoFit/>
          </a:bodyPr>
          <a:lstStyle/>
          <a:p>
            <a:pPr defTabSz="835867"/>
            <a:r>
              <a:rPr lang="en-US" sz="1600" b="1" dirty="0">
                <a:solidFill>
                  <a:prstClr val="white"/>
                </a:solidFill>
              </a:rPr>
              <a:t>Consolidation within the value chain likely to drive further efficiency savings and lower price points for customers </a:t>
            </a:r>
          </a:p>
        </p:txBody>
      </p:sp>
      <p:sp>
        <p:nvSpPr>
          <p:cNvPr id="9" name="Oval 8">
            <a:extLst>
              <a:ext uri="{FF2B5EF4-FFF2-40B4-BE49-F238E27FC236}">
                <a16:creationId xmlns:a16="http://schemas.microsoft.com/office/drawing/2014/main" id="{4282E26F-4FD5-09A1-2C54-2E508067D322}"/>
              </a:ext>
            </a:extLst>
          </p:cNvPr>
          <p:cNvSpPr/>
          <p:nvPr/>
        </p:nvSpPr>
        <p:spPr>
          <a:xfrm>
            <a:off x="416665" y="810242"/>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dirty="0"/>
          </a:p>
        </p:txBody>
      </p:sp>
      <p:sp>
        <p:nvSpPr>
          <p:cNvPr id="10" name="Rectangle 9">
            <a:extLst>
              <a:ext uri="{FF2B5EF4-FFF2-40B4-BE49-F238E27FC236}">
                <a16:creationId xmlns:a16="http://schemas.microsoft.com/office/drawing/2014/main" id="{4DB9CFB4-4FB9-4C4A-676C-F66F985BEDA2}"/>
              </a:ext>
            </a:extLst>
          </p:cNvPr>
          <p:cNvSpPr/>
          <p:nvPr/>
        </p:nvSpPr>
        <p:spPr>
          <a:xfrm>
            <a:off x="280417" y="1071885"/>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88" dirty="0"/>
          </a:p>
        </p:txBody>
      </p:sp>
      <p:sp>
        <p:nvSpPr>
          <p:cNvPr id="346" name="Freeform 108"/>
          <p:cNvSpPr>
            <a:spLocks noEditPoints="1"/>
          </p:cNvSpPr>
          <p:nvPr/>
        </p:nvSpPr>
        <p:spPr bwMode="auto">
          <a:xfrm flipV="1">
            <a:off x="531029" y="962044"/>
            <a:ext cx="337418" cy="262542"/>
          </a:xfrm>
          <a:custGeom>
            <a:avLst/>
            <a:gdLst>
              <a:gd name="T0" fmla="*/ 0 w 489"/>
              <a:gd name="T1" fmla="*/ 244 h 450"/>
              <a:gd name="T2" fmla="*/ 0 w 489"/>
              <a:gd name="T3" fmla="*/ 65 h 450"/>
              <a:gd name="T4" fmla="*/ 65 w 489"/>
              <a:gd name="T5" fmla="*/ 0 h 450"/>
              <a:gd name="T6" fmla="*/ 217 w 489"/>
              <a:gd name="T7" fmla="*/ 0 h 450"/>
              <a:gd name="T8" fmla="*/ 282 w 489"/>
              <a:gd name="T9" fmla="*/ 66 h 450"/>
              <a:gd name="T10" fmla="*/ 282 w 489"/>
              <a:gd name="T11" fmla="*/ 351 h 450"/>
              <a:gd name="T12" fmla="*/ 297 w 489"/>
              <a:gd name="T13" fmla="*/ 366 h 450"/>
              <a:gd name="T14" fmla="*/ 366 w 489"/>
              <a:gd name="T15" fmla="*/ 366 h 450"/>
              <a:gd name="T16" fmla="*/ 396 w 489"/>
              <a:gd name="T17" fmla="*/ 338 h 450"/>
              <a:gd name="T18" fmla="*/ 368 w 489"/>
              <a:gd name="T19" fmla="*/ 303 h 450"/>
              <a:gd name="T20" fmla="*/ 306 w 489"/>
              <a:gd name="T21" fmla="*/ 228 h 450"/>
              <a:gd name="T22" fmla="*/ 373 w 489"/>
              <a:gd name="T23" fmla="*/ 168 h 450"/>
              <a:gd name="T24" fmla="*/ 403 w 489"/>
              <a:gd name="T25" fmla="*/ 158 h 450"/>
              <a:gd name="T26" fmla="*/ 430 w 489"/>
              <a:gd name="T27" fmla="*/ 144 h 450"/>
              <a:gd name="T28" fmla="*/ 450 w 489"/>
              <a:gd name="T29" fmla="*/ 156 h 450"/>
              <a:gd name="T30" fmla="*/ 458 w 489"/>
              <a:gd name="T31" fmla="*/ 162 h 450"/>
              <a:gd name="T32" fmla="*/ 478 w 489"/>
              <a:gd name="T33" fmla="*/ 162 h 450"/>
              <a:gd name="T34" fmla="*/ 489 w 489"/>
              <a:gd name="T35" fmla="*/ 171 h 450"/>
              <a:gd name="T36" fmla="*/ 478 w 489"/>
              <a:gd name="T37" fmla="*/ 180 h 450"/>
              <a:gd name="T38" fmla="*/ 460 w 489"/>
              <a:gd name="T39" fmla="*/ 180 h 450"/>
              <a:gd name="T40" fmla="*/ 450 w 489"/>
              <a:gd name="T41" fmla="*/ 190 h 450"/>
              <a:gd name="T42" fmla="*/ 460 w 489"/>
              <a:gd name="T43" fmla="*/ 198 h 450"/>
              <a:gd name="T44" fmla="*/ 477 w 489"/>
              <a:gd name="T45" fmla="*/ 198 h 450"/>
              <a:gd name="T46" fmla="*/ 488 w 489"/>
              <a:gd name="T47" fmla="*/ 207 h 450"/>
              <a:gd name="T48" fmla="*/ 477 w 489"/>
              <a:gd name="T49" fmla="*/ 216 h 450"/>
              <a:gd name="T50" fmla="*/ 461 w 489"/>
              <a:gd name="T51" fmla="*/ 216 h 450"/>
              <a:gd name="T52" fmla="*/ 448 w 489"/>
              <a:gd name="T53" fmla="*/ 223 h 450"/>
              <a:gd name="T54" fmla="*/ 410 w 489"/>
              <a:gd name="T55" fmla="*/ 225 h 450"/>
              <a:gd name="T56" fmla="*/ 397 w 489"/>
              <a:gd name="T57" fmla="*/ 214 h 450"/>
              <a:gd name="T58" fmla="*/ 364 w 489"/>
              <a:gd name="T59" fmla="*/ 205 h 450"/>
              <a:gd name="T60" fmla="*/ 342 w 489"/>
              <a:gd name="T61" fmla="*/ 245 h 450"/>
              <a:gd name="T62" fmla="*/ 367 w 489"/>
              <a:gd name="T63" fmla="*/ 268 h 450"/>
              <a:gd name="T64" fmla="*/ 430 w 489"/>
              <a:gd name="T65" fmla="*/ 318 h 450"/>
              <a:gd name="T66" fmla="*/ 365 w 489"/>
              <a:gd name="T67" fmla="*/ 402 h 450"/>
              <a:gd name="T68" fmla="*/ 295 w 489"/>
              <a:gd name="T69" fmla="*/ 402 h 450"/>
              <a:gd name="T70" fmla="*/ 282 w 489"/>
              <a:gd name="T71" fmla="*/ 414 h 450"/>
              <a:gd name="T72" fmla="*/ 282 w 489"/>
              <a:gd name="T73" fmla="*/ 430 h 450"/>
              <a:gd name="T74" fmla="*/ 262 w 489"/>
              <a:gd name="T75" fmla="*/ 450 h 450"/>
              <a:gd name="T76" fmla="*/ 21 w 489"/>
              <a:gd name="T77" fmla="*/ 450 h 450"/>
              <a:gd name="T78" fmla="*/ 0 w 489"/>
              <a:gd name="T79" fmla="*/ 427 h 450"/>
              <a:gd name="T80" fmla="*/ 0 w 489"/>
              <a:gd name="T81" fmla="*/ 244 h 450"/>
              <a:gd name="T82" fmla="*/ 120 w 489"/>
              <a:gd name="T83" fmla="*/ 296 h 450"/>
              <a:gd name="T84" fmla="*/ 120 w 489"/>
              <a:gd name="T85" fmla="*/ 328 h 450"/>
              <a:gd name="T86" fmla="*/ 129 w 489"/>
              <a:gd name="T87" fmla="*/ 347 h 450"/>
              <a:gd name="T88" fmla="*/ 161 w 489"/>
              <a:gd name="T89" fmla="*/ 339 h 450"/>
              <a:gd name="T90" fmla="*/ 220 w 489"/>
              <a:gd name="T91" fmla="*/ 224 h 450"/>
              <a:gd name="T92" fmla="*/ 208 w 489"/>
              <a:gd name="T93" fmla="*/ 204 h 450"/>
              <a:gd name="T94" fmla="*/ 176 w 489"/>
              <a:gd name="T95" fmla="*/ 204 h 450"/>
              <a:gd name="T96" fmla="*/ 156 w 489"/>
              <a:gd name="T97" fmla="*/ 184 h 450"/>
              <a:gd name="T98" fmla="*/ 156 w 489"/>
              <a:gd name="T99" fmla="*/ 121 h 450"/>
              <a:gd name="T100" fmla="*/ 146 w 489"/>
              <a:gd name="T101" fmla="*/ 103 h 450"/>
              <a:gd name="T102" fmla="*/ 114 w 489"/>
              <a:gd name="T103" fmla="*/ 112 h 450"/>
              <a:gd name="T104" fmla="*/ 57 w 489"/>
              <a:gd name="T105" fmla="*/ 225 h 450"/>
              <a:gd name="T106" fmla="*/ 69 w 489"/>
              <a:gd name="T107" fmla="*/ 246 h 450"/>
              <a:gd name="T108" fmla="*/ 99 w 489"/>
              <a:gd name="T109" fmla="*/ 246 h 450"/>
              <a:gd name="T110" fmla="*/ 120 w 489"/>
              <a:gd name="T111" fmla="*/ 266 h 450"/>
              <a:gd name="T112" fmla="*/ 120 w 489"/>
              <a:gd name="T113" fmla="*/ 29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9" h="450">
                <a:moveTo>
                  <a:pt x="0" y="244"/>
                </a:moveTo>
                <a:cubicBezTo>
                  <a:pt x="0" y="184"/>
                  <a:pt x="0" y="125"/>
                  <a:pt x="0" y="65"/>
                </a:cubicBezTo>
                <a:cubicBezTo>
                  <a:pt x="0" y="25"/>
                  <a:pt x="25" y="0"/>
                  <a:pt x="65" y="0"/>
                </a:cubicBezTo>
                <a:cubicBezTo>
                  <a:pt x="116" y="0"/>
                  <a:pt x="166" y="0"/>
                  <a:pt x="217" y="0"/>
                </a:cubicBezTo>
                <a:cubicBezTo>
                  <a:pt x="257" y="0"/>
                  <a:pt x="282" y="25"/>
                  <a:pt x="282" y="66"/>
                </a:cubicBezTo>
                <a:cubicBezTo>
                  <a:pt x="282" y="161"/>
                  <a:pt x="282" y="256"/>
                  <a:pt x="282" y="351"/>
                </a:cubicBezTo>
                <a:cubicBezTo>
                  <a:pt x="282" y="363"/>
                  <a:pt x="285" y="367"/>
                  <a:pt x="297" y="366"/>
                </a:cubicBezTo>
                <a:cubicBezTo>
                  <a:pt x="320" y="365"/>
                  <a:pt x="343" y="366"/>
                  <a:pt x="366" y="366"/>
                </a:cubicBezTo>
                <a:cubicBezTo>
                  <a:pt x="385" y="366"/>
                  <a:pt x="395" y="356"/>
                  <a:pt x="396" y="338"/>
                </a:cubicBezTo>
                <a:cubicBezTo>
                  <a:pt x="397" y="315"/>
                  <a:pt x="388" y="305"/>
                  <a:pt x="368" y="303"/>
                </a:cubicBezTo>
                <a:cubicBezTo>
                  <a:pt x="326" y="300"/>
                  <a:pt x="304" y="273"/>
                  <a:pt x="306" y="228"/>
                </a:cubicBezTo>
                <a:cubicBezTo>
                  <a:pt x="308" y="192"/>
                  <a:pt x="335" y="168"/>
                  <a:pt x="373" y="168"/>
                </a:cubicBezTo>
                <a:cubicBezTo>
                  <a:pt x="385" y="168"/>
                  <a:pt x="394" y="167"/>
                  <a:pt x="403" y="158"/>
                </a:cubicBezTo>
                <a:cubicBezTo>
                  <a:pt x="410" y="150"/>
                  <a:pt x="419" y="145"/>
                  <a:pt x="430" y="144"/>
                </a:cubicBezTo>
                <a:cubicBezTo>
                  <a:pt x="440" y="143"/>
                  <a:pt x="449" y="144"/>
                  <a:pt x="450" y="156"/>
                </a:cubicBezTo>
                <a:cubicBezTo>
                  <a:pt x="450" y="163"/>
                  <a:pt x="454" y="162"/>
                  <a:pt x="458" y="162"/>
                </a:cubicBezTo>
                <a:cubicBezTo>
                  <a:pt x="465" y="162"/>
                  <a:pt x="471" y="162"/>
                  <a:pt x="478" y="162"/>
                </a:cubicBezTo>
                <a:cubicBezTo>
                  <a:pt x="484" y="162"/>
                  <a:pt x="489" y="165"/>
                  <a:pt x="489" y="171"/>
                </a:cubicBezTo>
                <a:cubicBezTo>
                  <a:pt x="488" y="177"/>
                  <a:pt x="484" y="180"/>
                  <a:pt x="478" y="180"/>
                </a:cubicBezTo>
                <a:cubicBezTo>
                  <a:pt x="472" y="180"/>
                  <a:pt x="466" y="180"/>
                  <a:pt x="460" y="180"/>
                </a:cubicBezTo>
                <a:cubicBezTo>
                  <a:pt x="453" y="179"/>
                  <a:pt x="450" y="181"/>
                  <a:pt x="450" y="190"/>
                </a:cubicBezTo>
                <a:cubicBezTo>
                  <a:pt x="450" y="198"/>
                  <a:pt x="454" y="198"/>
                  <a:pt x="460" y="198"/>
                </a:cubicBezTo>
                <a:cubicBezTo>
                  <a:pt x="466" y="198"/>
                  <a:pt x="471" y="198"/>
                  <a:pt x="477" y="198"/>
                </a:cubicBezTo>
                <a:cubicBezTo>
                  <a:pt x="483" y="198"/>
                  <a:pt x="488" y="200"/>
                  <a:pt x="488" y="207"/>
                </a:cubicBezTo>
                <a:cubicBezTo>
                  <a:pt x="489" y="214"/>
                  <a:pt x="484" y="216"/>
                  <a:pt x="477" y="216"/>
                </a:cubicBezTo>
                <a:cubicBezTo>
                  <a:pt x="472" y="216"/>
                  <a:pt x="466" y="216"/>
                  <a:pt x="461" y="216"/>
                </a:cubicBezTo>
                <a:cubicBezTo>
                  <a:pt x="455" y="216"/>
                  <a:pt x="451" y="216"/>
                  <a:pt x="448" y="223"/>
                </a:cubicBezTo>
                <a:cubicBezTo>
                  <a:pt x="446" y="230"/>
                  <a:pt x="420" y="231"/>
                  <a:pt x="410" y="225"/>
                </a:cubicBezTo>
                <a:cubicBezTo>
                  <a:pt x="405" y="222"/>
                  <a:pt x="401" y="219"/>
                  <a:pt x="397" y="214"/>
                </a:cubicBezTo>
                <a:cubicBezTo>
                  <a:pt x="390" y="204"/>
                  <a:pt x="375" y="201"/>
                  <a:pt x="364" y="205"/>
                </a:cubicBezTo>
                <a:cubicBezTo>
                  <a:pt x="351" y="211"/>
                  <a:pt x="340" y="231"/>
                  <a:pt x="342" y="245"/>
                </a:cubicBezTo>
                <a:cubicBezTo>
                  <a:pt x="344" y="259"/>
                  <a:pt x="353" y="267"/>
                  <a:pt x="367" y="268"/>
                </a:cubicBezTo>
                <a:cubicBezTo>
                  <a:pt x="404" y="273"/>
                  <a:pt x="423" y="288"/>
                  <a:pt x="430" y="318"/>
                </a:cubicBezTo>
                <a:cubicBezTo>
                  <a:pt x="441" y="364"/>
                  <a:pt x="412" y="402"/>
                  <a:pt x="365" y="402"/>
                </a:cubicBezTo>
                <a:cubicBezTo>
                  <a:pt x="342" y="402"/>
                  <a:pt x="318" y="402"/>
                  <a:pt x="295" y="402"/>
                </a:cubicBezTo>
                <a:cubicBezTo>
                  <a:pt x="285" y="402"/>
                  <a:pt x="280" y="404"/>
                  <a:pt x="282" y="414"/>
                </a:cubicBezTo>
                <a:cubicBezTo>
                  <a:pt x="283" y="419"/>
                  <a:pt x="282" y="425"/>
                  <a:pt x="282" y="430"/>
                </a:cubicBezTo>
                <a:cubicBezTo>
                  <a:pt x="281" y="443"/>
                  <a:pt x="275" y="450"/>
                  <a:pt x="262" y="450"/>
                </a:cubicBezTo>
                <a:cubicBezTo>
                  <a:pt x="182" y="450"/>
                  <a:pt x="101" y="450"/>
                  <a:pt x="21" y="450"/>
                </a:cubicBezTo>
                <a:cubicBezTo>
                  <a:pt x="6" y="450"/>
                  <a:pt x="0" y="443"/>
                  <a:pt x="0" y="427"/>
                </a:cubicBezTo>
                <a:cubicBezTo>
                  <a:pt x="0" y="366"/>
                  <a:pt x="0" y="305"/>
                  <a:pt x="0" y="244"/>
                </a:cubicBezTo>
                <a:close/>
                <a:moveTo>
                  <a:pt x="120" y="296"/>
                </a:moveTo>
                <a:cubicBezTo>
                  <a:pt x="120" y="307"/>
                  <a:pt x="120" y="317"/>
                  <a:pt x="120" y="328"/>
                </a:cubicBezTo>
                <a:cubicBezTo>
                  <a:pt x="120" y="336"/>
                  <a:pt x="119" y="346"/>
                  <a:pt x="129" y="347"/>
                </a:cubicBezTo>
                <a:cubicBezTo>
                  <a:pt x="140" y="348"/>
                  <a:pt x="154" y="353"/>
                  <a:pt x="161" y="339"/>
                </a:cubicBezTo>
                <a:cubicBezTo>
                  <a:pt x="181" y="301"/>
                  <a:pt x="200" y="262"/>
                  <a:pt x="220" y="224"/>
                </a:cubicBezTo>
                <a:cubicBezTo>
                  <a:pt x="226" y="212"/>
                  <a:pt x="221" y="205"/>
                  <a:pt x="208" y="204"/>
                </a:cubicBezTo>
                <a:cubicBezTo>
                  <a:pt x="197" y="204"/>
                  <a:pt x="187" y="204"/>
                  <a:pt x="176" y="204"/>
                </a:cubicBezTo>
                <a:cubicBezTo>
                  <a:pt x="158" y="204"/>
                  <a:pt x="156" y="202"/>
                  <a:pt x="156" y="184"/>
                </a:cubicBezTo>
                <a:cubicBezTo>
                  <a:pt x="156" y="163"/>
                  <a:pt x="156" y="142"/>
                  <a:pt x="156" y="121"/>
                </a:cubicBezTo>
                <a:cubicBezTo>
                  <a:pt x="156" y="113"/>
                  <a:pt x="156" y="104"/>
                  <a:pt x="146" y="103"/>
                </a:cubicBezTo>
                <a:cubicBezTo>
                  <a:pt x="135" y="102"/>
                  <a:pt x="122" y="97"/>
                  <a:pt x="114" y="112"/>
                </a:cubicBezTo>
                <a:cubicBezTo>
                  <a:pt x="95" y="150"/>
                  <a:pt x="76" y="187"/>
                  <a:pt x="57" y="225"/>
                </a:cubicBezTo>
                <a:cubicBezTo>
                  <a:pt x="50" y="238"/>
                  <a:pt x="55" y="245"/>
                  <a:pt x="69" y="246"/>
                </a:cubicBezTo>
                <a:cubicBezTo>
                  <a:pt x="79" y="246"/>
                  <a:pt x="89" y="246"/>
                  <a:pt x="99" y="246"/>
                </a:cubicBezTo>
                <a:cubicBezTo>
                  <a:pt x="118" y="246"/>
                  <a:pt x="120" y="248"/>
                  <a:pt x="120" y="266"/>
                </a:cubicBezTo>
                <a:cubicBezTo>
                  <a:pt x="120" y="276"/>
                  <a:pt x="120" y="286"/>
                  <a:pt x="120" y="296"/>
                </a:cubicBezTo>
                <a:close/>
              </a:path>
            </a:pathLst>
          </a:custGeom>
          <a:solidFill>
            <a:schemeClr val="bg1"/>
          </a:solidFill>
          <a:ln>
            <a:noFill/>
          </a:ln>
        </p:spPr>
        <p:txBody>
          <a:bodyPr vert="horz" wrap="square" lIns="90025" tIns="45026" rIns="90025" bIns="45026" numCol="1" anchor="t" anchorCtr="0" compatLnSpc="1">
            <a:prstTxWarp prst="textNoShape">
              <a:avLst/>
            </a:prstTxWarp>
          </a:bodyPr>
          <a:lstStyle/>
          <a:p>
            <a:pPr defTabSz="1080155"/>
            <a:endParaRPr lang="en-US" sz="2133" dirty="0">
              <a:solidFill>
                <a:srgbClr val="000000"/>
              </a:solidFill>
            </a:endParaRPr>
          </a:p>
        </p:txBody>
      </p:sp>
      <p:sp>
        <p:nvSpPr>
          <p:cNvPr id="2" name="Rectangle 1">
            <a:extLst>
              <a:ext uri="{FF2B5EF4-FFF2-40B4-BE49-F238E27FC236}">
                <a16:creationId xmlns:a16="http://schemas.microsoft.com/office/drawing/2014/main" id="{203A7316-C068-8EC0-9967-07C2F2DABE7A}"/>
              </a:ext>
            </a:extLst>
          </p:cNvPr>
          <p:cNvSpPr/>
          <p:nvPr/>
        </p:nvSpPr>
        <p:spPr>
          <a:xfrm>
            <a:off x="1869927" y="3760804"/>
            <a:ext cx="6408000" cy="217135"/>
          </a:xfrm>
          <a:prstGeom prst="rect">
            <a:avLst/>
          </a:prstGeom>
          <a:solidFill>
            <a:srgbClr val="06325C">
              <a:lumMod val="10000"/>
              <a:lumOff val="9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5" name="Rectangle 4">
            <a:extLst>
              <a:ext uri="{FF2B5EF4-FFF2-40B4-BE49-F238E27FC236}">
                <a16:creationId xmlns:a16="http://schemas.microsoft.com/office/drawing/2014/main" id="{68C3983C-07B3-3494-A40E-94645B1FC629}"/>
              </a:ext>
            </a:extLst>
          </p:cNvPr>
          <p:cNvSpPr/>
          <p:nvPr/>
        </p:nvSpPr>
        <p:spPr>
          <a:xfrm>
            <a:off x="1869927" y="4604739"/>
            <a:ext cx="6408000" cy="217135"/>
          </a:xfrm>
          <a:prstGeom prst="rect">
            <a:avLst/>
          </a:prstGeom>
          <a:solidFill>
            <a:srgbClr val="06325C">
              <a:lumMod val="10000"/>
              <a:lumOff val="9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11" name="Pentagon 314">
            <a:extLst>
              <a:ext uri="{FF2B5EF4-FFF2-40B4-BE49-F238E27FC236}">
                <a16:creationId xmlns:a16="http://schemas.microsoft.com/office/drawing/2014/main" id="{C980A08F-DAA6-8D91-A6DC-F469BD289674}"/>
              </a:ext>
            </a:extLst>
          </p:cNvPr>
          <p:cNvSpPr/>
          <p:nvPr/>
        </p:nvSpPr>
        <p:spPr bwMode="auto">
          <a:xfrm flipH="1">
            <a:off x="1886694" y="5498520"/>
            <a:ext cx="8483922" cy="1069418"/>
          </a:xfrm>
          <a:prstGeom prst="homePlate">
            <a:avLst>
              <a:gd name="adj" fmla="val 0"/>
            </a:avLst>
          </a:prstGeom>
          <a:solidFill>
            <a:srgbClr val="E1E8EF"/>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IN" sz="1800" dirty="0">
              <a:solidFill>
                <a:srgbClr val="000000"/>
              </a:solidFill>
              <a:latin typeface="Arial"/>
            </a:endParaRPr>
          </a:p>
        </p:txBody>
      </p:sp>
      <p:sp>
        <p:nvSpPr>
          <p:cNvPr id="12" name="Pentagon 3">
            <a:extLst>
              <a:ext uri="{FF2B5EF4-FFF2-40B4-BE49-F238E27FC236}">
                <a16:creationId xmlns:a16="http://schemas.microsoft.com/office/drawing/2014/main" id="{C3445035-BFAD-2B5A-0F12-F31219504546}"/>
              </a:ext>
            </a:extLst>
          </p:cNvPr>
          <p:cNvSpPr/>
          <p:nvPr/>
        </p:nvSpPr>
        <p:spPr bwMode="auto">
          <a:xfrm>
            <a:off x="5920522" y="1713161"/>
            <a:ext cx="4500294" cy="1408477"/>
          </a:xfrm>
          <a:prstGeom prst="homePlate">
            <a:avLst>
              <a:gd name="adj" fmla="val 0"/>
            </a:avLst>
          </a:prstGeom>
          <a:solidFill>
            <a:schemeClr val="accent2"/>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IN" sz="1800" dirty="0">
              <a:solidFill>
                <a:srgbClr val="000000"/>
              </a:solidFill>
              <a:latin typeface="Arial"/>
            </a:endParaRPr>
          </a:p>
        </p:txBody>
      </p:sp>
      <p:sp>
        <p:nvSpPr>
          <p:cNvPr id="13" name="Pentagon 219">
            <a:extLst>
              <a:ext uri="{FF2B5EF4-FFF2-40B4-BE49-F238E27FC236}">
                <a16:creationId xmlns:a16="http://schemas.microsoft.com/office/drawing/2014/main" id="{78F3E170-54B1-9BBE-F44F-7F13770F64DE}"/>
              </a:ext>
            </a:extLst>
          </p:cNvPr>
          <p:cNvSpPr/>
          <p:nvPr/>
        </p:nvSpPr>
        <p:spPr bwMode="auto">
          <a:xfrm flipH="1">
            <a:off x="1886694" y="1713161"/>
            <a:ext cx="4186228" cy="1408477"/>
          </a:xfrm>
          <a:prstGeom prst="homePlate">
            <a:avLst>
              <a:gd name="adj" fmla="val 0"/>
            </a:avLst>
          </a:prstGeom>
          <a:solidFill>
            <a:schemeClr val="accent2"/>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IN" sz="1800" dirty="0">
              <a:solidFill>
                <a:srgbClr val="000000"/>
              </a:solidFill>
              <a:latin typeface="Arial"/>
            </a:endParaRPr>
          </a:p>
        </p:txBody>
      </p:sp>
      <p:cxnSp>
        <p:nvCxnSpPr>
          <p:cNvPr id="14" name="Straight Connector 13">
            <a:extLst>
              <a:ext uri="{FF2B5EF4-FFF2-40B4-BE49-F238E27FC236}">
                <a16:creationId xmlns:a16="http://schemas.microsoft.com/office/drawing/2014/main" id="{9418BD6A-BD62-0354-667E-A06AFF39D737}"/>
              </a:ext>
            </a:extLst>
          </p:cNvPr>
          <p:cNvCxnSpPr>
            <a:stCxn id="13" idx="3"/>
            <a:endCxn id="12" idx="3"/>
          </p:cNvCxnSpPr>
          <p:nvPr/>
        </p:nvCxnSpPr>
        <p:spPr>
          <a:xfrm>
            <a:off x="1886694" y="2417399"/>
            <a:ext cx="8534122" cy="0"/>
          </a:xfrm>
          <a:prstGeom prst="line">
            <a:avLst/>
          </a:prstGeom>
          <a:noFill/>
          <a:ln w="38100" cap="flat" cmpd="sng" algn="ctr">
            <a:solidFill>
              <a:srgbClr val="FFFFFF">
                <a:lumMod val="85000"/>
              </a:srgbClr>
            </a:solidFill>
            <a:prstDash val="dash"/>
          </a:ln>
          <a:effectLst>
            <a:outerShdw blurRad="40000" dist="23000" dir="5400000" rotWithShape="0">
              <a:srgbClr val="000000">
                <a:alpha val="35000"/>
              </a:srgbClr>
            </a:outerShdw>
          </a:effectLst>
        </p:spPr>
      </p:cxnSp>
      <p:sp>
        <p:nvSpPr>
          <p:cNvPr id="15" name="TextBox 14">
            <a:extLst>
              <a:ext uri="{FF2B5EF4-FFF2-40B4-BE49-F238E27FC236}">
                <a16:creationId xmlns:a16="http://schemas.microsoft.com/office/drawing/2014/main" id="{AA9E942D-9902-CFF4-3323-B79CBB31767B}"/>
              </a:ext>
            </a:extLst>
          </p:cNvPr>
          <p:cNvSpPr txBox="1"/>
          <p:nvPr/>
        </p:nvSpPr>
        <p:spPr>
          <a:xfrm>
            <a:off x="1784687" y="1471690"/>
            <a:ext cx="2165190"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panose="020B0604020202020204" pitchFamily="34" charset="0"/>
                <a:cs typeface="Arial" panose="020B0604020202020204" pitchFamily="34" charset="0"/>
              </a:rPr>
              <a:t>PV Kit Component Suppliers</a:t>
            </a:r>
          </a:p>
        </p:txBody>
      </p:sp>
      <p:sp>
        <p:nvSpPr>
          <p:cNvPr id="16" name="TextBox 15">
            <a:extLst>
              <a:ext uri="{FF2B5EF4-FFF2-40B4-BE49-F238E27FC236}">
                <a16:creationId xmlns:a16="http://schemas.microsoft.com/office/drawing/2014/main" id="{5313318C-6139-8053-8182-420B89FF9BBA}"/>
              </a:ext>
            </a:extLst>
          </p:cNvPr>
          <p:cNvSpPr txBox="1"/>
          <p:nvPr/>
        </p:nvSpPr>
        <p:spPr>
          <a:xfrm>
            <a:off x="4393325" y="1472308"/>
            <a:ext cx="1368327"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panose="020B0604020202020204" pitchFamily="34" charset="0"/>
                <a:cs typeface="Arial" panose="020B0604020202020204" pitchFamily="34" charset="0"/>
              </a:rPr>
              <a:t>Battery Suppliers</a:t>
            </a:r>
          </a:p>
        </p:txBody>
      </p:sp>
      <p:sp>
        <p:nvSpPr>
          <p:cNvPr id="17" name="TextBox 16">
            <a:extLst>
              <a:ext uri="{FF2B5EF4-FFF2-40B4-BE49-F238E27FC236}">
                <a16:creationId xmlns:a16="http://schemas.microsoft.com/office/drawing/2014/main" id="{6B2F9E38-2D70-D88C-E197-2B4901E2878F}"/>
              </a:ext>
            </a:extLst>
          </p:cNvPr>
          <p:cNvSpPr txBox="1"/>
          <p:nvPr/>
        </p:nvSpPr>
        <p:spPr>
          <a:xfrm>
            <a:off x="6395771" y="1486685"/>
            <a:ext cx="1627516"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panose="020B0604020202020204" pitchFamily="34" charset="0"/>
                <a:cs typeface="Arial" panose="020B0604020202020204" pitchFamily="34" charset="0"/>
              </a:rPr>
              <a:t>Distributors/Financers</a:t>
            </a:r>
          </a:p>
        </p:txBody>
      </p:sp>
      <p:sp>
        <p:nvSpPr>
          <p:cNvPr id="18" name="TextBox 17">
            <a:extLst>
              <a:ext uri="{FF2B5EF4-FFF2-40B4-BE49-F238E27FC236}">
                <a16:creationId xmlns:a16="http://schemas.microsoft.com/office/drawing/2014/main" id="{7776B371-76DA-1B3B-AE66-3DB255D91065}"/>
              </a:ext>
            </a:extLst>
          </p:cNvPr>
          <p:cNvSpPr txBox="1"/>
          <p:nvPr/>
        </p:nvSpPr>
        <p:spPr>
          <a:xfrm>
            <a:off x="8487151" y="1497430"/>
            <a:ext cx="1696017"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panose="020B0604020202020204" pitchFamily="34" charset="0"/>
                <a:cs typeface="Arial" panose="020B0604020202020204" pitchFamily="34" charset="0"/>
              </a:rPr>
              <a:t>Installers</a:t>
            </a:r>
            <a:endParaRPr lang="en-US" sz="1200" b="1" dirty="0">
              <a:solidFill>
                <a:srgbClr val="06325C"/>
              </a:solidFill>
              <a:latin typeface="Arial" panose="020B0604020202020204" pitchFamily="34" charset="0"/>
              <a:cs typeface="Arial" panose="020B0604020202020204" pitchFamily="34" charset="0"/>
            </a:endParaRPr>
          </a:p>
        </p:txBody>
      </p:sp>
      <p:sp>
        <p:nvSpPr>
          <p:cNvPr id="19" name="Round Same Side Corner Rectangle 134">
            <a:extLst>
              <a:ext uri="{FF2B5EF4-FFF2-40B4-BE49-F238E27FC236}">
                <a16:creationId xmlns:a16="http://schemas.microsoft.com/office/drawing/2014/main" id="{7DACB856-CDEC-2A7F-8A91-1435718E133F}"/>
              </a:ext>
            </a:extLst>
          </p:cNvPr>
          <p:cNvSpPr/>
          <p:nvPr/>
        </p:nvSpPr>
        <p:spPr bwMode="auto">
          <a:xfrm flipV="1">
            <a:off x="1886694" y="3148826"/>
            <a:ext cx="8534122" cy="574325"/>
          </a:xfrm>
          <a:prstGeom prst="round2SameRect">
            <a:avLst>
              <a:gd name="adj1" fmla="val 11150"/>
              <a:gd name="adj2" fmla="val 0"/>
            </a:avLst>
          </a:prstGeom>
          <a:solidFill>
            <a:srgbClr val="FFFFFF">
              <a:lumMod val="95000"/>
            </a:srgbClr>
          </a:solidFill>
          <a:ln w="22225" algn="ctr">
            <a:noFill/>
            <a:miter lim="800000"/>
            <a:headEnd/>
            <a:tailEnd/>
          </a:ln>
          <a:effectLst/>
        </p:spPr>
        <p:txBody>
          <a:bodyPr rtlCol="0" anchor="ctr">
            <a:no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endParaRPr kumimoji="0" lang="en-IN" sz="1200" b="1" i="0" u="none" strike="noStrike" kern="0" cap="none" spc="0" normalizeH="0" baseline="0" noProof="0" dirty="0">
              <a:ln>
                <a:noFill/>
              </a:ln>
              <a:solidFill>
                <a:srgbClr val="000000"/>
              </a:solidFill>
              <a:effectLst/>
              <a:uLnTx/>
              <a:uFillTx/>
              <a:latin typeface="Arial"/>
              <a:ea typeface="Gulim" pitchFamily="34" charset="-127"/>
            </a:endParaRPr>
          </a:p>
        </p:txBody>
      </p:sp>
      <p:sp>
        <p:nvSpPr>
          <p:cNvPr id="20" name="TextBox 19">
            <a:extLst>
              <a:ext uri="{FF2B5EF4-FFF2-40B4-BE49-F238E27FC236}">
                <a16:creationId xmlns:a16="http://schemas.microsoft.com/office/drawing/2014/main" id="{A82E5DFB-E09E-3E82-F495-34C7ED4ABC7A}"/>
              </a:ext>
            </a:extLst>
          </p:cNvPr>
          <p:cNvSpPr txBox="1"/>
          <p:nvPr/>
        </p:nvSpPr>
        <p:spPr>
          <a:xfrm>
            <a:off x="1988770" y="3098598"/>
            <a:ext cx="1762641" cy="646331"/>
          </a:xfrm>
          <a:prstGeom prst="rect">
            <a:avLst/>
          </a:prstGeom>
          <a:noFill/>
          <a:ln>
            <a:noFill/>
          </a:ln>
        </p:spPr>
        <p:txBody>
          <a:bodyPr wrap="square" lIns="0" tIns="0" rIns="0" bIns="0" rtlCol="0" anchor="t" anchorCtr="0">
            <a:spAutoFit/>
          </a:bodyPr>
          <a:lstStyle>
            <a:defPPr>
              <a:defRPr lang="en-US"/>
            </a:defPPr>
            <a:lvl1pPr marL="95250" indent="-95250" fontAlgn="ctr">
              <a:buFont typeface="Arial" pitchFamily="34" charset="0"/>
              <a:buChar char="•"/>
              <a:defRPr sz="1000"/>
            </a:lvl1pPr>
          </a:lstStyle>
          <a:p>
            <a:pPr marL="0" indent="0" algn="ctr">
              <a:spcAft>
                <a:spcPct val="0"/>
              </a:spcAft>
              <a:buSzPct val="90000"/>
              <a:buFont typeface="Arial" pitchFamily="34" charset="0"/>
              <a:buNone/>
            </a:pPr>
            <a:endParaRPr lang="en-US" sz="1050" dirty="0">
              <a:solidFill>
                <a:srgbClr val="000000"/>
              </a:solidFill>
              <a:latin typeface="Arial" panose="020B0604020202020204" pitchFamily="34" charset="0"/>
              <a:cs typeface="Arial" panose="020B0604020202020204" pitchFamily="34" charset="0"/>
            </a:endParaRPr>
          </a:p>
          <a:p>
            <a:pPr marL="0" indent="0" algn="ctr">
              <a:spcAft>
                <a:spcPct val="0"/>
              </a:spcAft>
              <a:buSzPct val="90000"/>
              <a:buFont typeface="Arial" pitchFamily="34" charset="0"/>
              <a:buNone/>
            </a:pPr>
            <a:r>
              <a:rPr lang="en-US" sz="1050" dirty="0">
                <a:solidFill>
                  <a:srgbClr val="000000"/>
                </a:solidFill>
                <a:latin typeface="Arial" panose="020B0604020202020204" pitchFamily="34" charset="0"/>
                <a:cs typeface="Arial" panose="020B0604020202020204" pitchFamily="34" charset="0"/>
              </a:rPr>
              <a:t>PV Panels, Power Racking </a:t>
            </a:r>
          </a:p>
          <a:p>
            <a:pPr marL="0" indent="0" algn="ctr">
              <a:spcAft>
                <a:spcPct val="0"/>
              </a:spcAft>
              <a:buSzPct val="90000"/>
              <a:buFont typeface="Arial" pitchFamily="34" charset="0"/>
              <a:buNone/>
            </a:pPr>
            <a:r>
              <a:rPr lang="en-US" sz="1050" dirty="0">
                <a:solidFill>
                  <a:srgbClr val="000000"/>
                </a:solidFill>
                <a:latin typeface="Arial" panose="020B0604020202020204" pitchFamily="34" charset="0"/>
                <a:cs typeface="Arial" panose="020B0604020202020204" pitchFamily="34" charset="0"/>
              </a:rPr>
              <a:t>Power Optimisers, Inverters</a:t>
            </a:r>
          </a:p>
          <a:p>
            <a:pPr marL="0" indent="0" algn="ctr">
              <a:spcAft>
                <a:spcPct val="0"/>
              </a:spcAft>
              <a:buSzPct val="90000"/>
              <a:buFont typeface="Arial" pitchFamily="34" charset="0"/>
              <a:buNone/>
            </a:pPr>
            <a:endParaRPr lang="en-US" sz="1050" b="1" dirty="0">
              <a:solidFill>
                <a:srgbClr val="000000"/>
              </a:solidFill>
              <a:latin typeface="Arial" panose="020B0604020202020204" pitchFamily="34" charset="0"/>
              <a:cs typeface="Arial" panose="020B0604020202020204" pitchFamily="34" charset="0"/>
            </a:endParaRPr>
          </a:p>
        </p:txBody>
      </p:sp>
      <p:pic>
        <p:nvPicPr>
          <p:cNvPr id="21" name="Picture 7" descr="http://photos.prnewswire.com/prn/20140616/691314">
            <a:extLst>
              <a:ext uri="{FF2B5EF4-FFF2-40B4-BE49-F238E27FC236}">
                <a16:creationId xmlns:a16="http://schemas.microsoft.com/office/drawing/2014/main" id="{E3454908-60CD-9040-D200-350445EC88E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12645" y="4015407"/>
            <a:ext cx="388138" cy="159813"/>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0058DC72-C1B7-9009-E910-0A33BFED779B}"/>
              </a:ext>
            </a:extLst>
          </p:cNvPr>
          <p:cNvGrpSpPr/>
          <p:nvPr/>
        </p:nvGrpSpPr>
        <p:grpSpPr>
          <a:xfrm>
            <a:off x="4433665" y="1791900"/>
            <a:ext cx="1262063" cy="1260475"/>
            <a:chOff x="3059832" y="1494443"/>
            <a:chExt cx="1262063" cy="1260475"/>
          </a:xfrm>
        </p:grpSpPr>
        <p:sp>
          <p:nvSpPr>
            <p:cNvPr id="23" name="Oval 89">
              <a:extLst>
                <a:ext uri="{FF2B5EF4-FFF2-40B4-BE49-F238E27FC236}">
                  <a16:creationId xmlns:a16="http://schemas.microsoft.com/office/drawing/2014/main" id="{59FE9D76-BC4C-B5EC-368B-13E899B3FE2D}"/>
                </a:ext>
              </a:extLst>
            </p:cNvPr>
            <p:cNvSpPr>
              <a:spLocks noChangeArrowheads="1"/>
            </p:cNvSpPr>
            <p:nvPr/>
          </p:nvSpPr>
          <p:spPr bwMode="auto">
            <a:xfrm>
              <a:off x="3059832" y="1494443"/>
              <a:ext cx="1262063" cy="1260475"/>
            </a:xfrm>
            <a:prstGeom prst="ellipse">
              <a:avLst/>
            </a:prstGeom>
            <a:solidFill>
              <a:schemeClr val="accent3"/>
            </a:solidFill>
            <a:ln>
              <a:noFill/>
            </a:ln>
            <a:effectLst>
              <a:outerShdw blurRad="63500" sx="102000" sy="102000" algn="ctr" rotWithShape="0">
                <a:srgbClr val="FFFFFF">
                  <a:alpha val="40000"/>
                </a:srgbClr>
              </a:outerShdw>
            </a:effec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ndParaRPr>
            </a:p>
          </p:txBody>
        </p:sp>
        <p:sp>
          <p:nvSpPr>
            <p:cNvPr id="24" name="Oval 90">
              <a:extLst>
                <a:ext uri="{FF2B5EF4-FFF2-40B4-BE49-F238E27FC236}">
                  <a16:creationId xmlns:a16="http://schemas.microsoft.com/office/drawing/2014/main" id="{EABBEFCD-1F30-4AD4-CF51-DFAD2E0E6EF9}"/>
                </a:ext>
              </a:extLst>
            </p:cNvPr>
            <p:cNvSpPr>
              <a:spLocks noChangeArrowheads="1"/>
            </p:cNvSpPr>
            <p:nvPr/>
          </p:nvSpPr>
          <p:spPr bwMode="auto">
            <a:xfrm>
              <a:off x="3293572" y="1726374"/>
              <a:ext cx="794582" cy="79661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ndParaRPr>
            </a:p>
          </p:txBody>
        </p:sp>
        <p:sp>
          <p:nvSpPr>
            <p:cNvPr id="25" name="Freeform 1019">
              <a:extLst>
                <a:ext uri="{FF2B5EF4-FFF2-40B4-BE49-F238E27FC236}">
                  <a16:creationId xmlns:a16="http://schemas.microsoft.com/office/drawing/2014/main" id="{32F722C0-28CE-F370-A01C-49F9939AF817}"/>
                </a:ext>
              </a:extLst>
            </p:cNvPr>
            <p:cNvSpPr>
              <a:spLocks noEditPoints="1"/>
            </p:cNvSpPr>
            <p:nvPr/>
          </p:nvSpPr>
          <p:spPr bwMode="auto">
            <a:xfrm>
              <a:off x="3445424" y="1889991"/>
              <a:ext cx="490880" cy="469380"/>
            </a:xfrm>
            <a:custGeom>
              <a:avLst/>
              <a:gdLst>
                <a:gd name="T0" fmla="*/ 1835 w 3285"/>
                <a:gd name="T1" fmla="*/ 2918 h 3144"/>
                <a:gd name="T2" fmla="*/ 1337 w 3285"/>
                <a:gd name="T3" fmla="*/ 2484 h 3144"/>
                <a:gd name="T4" fmla="*/ 1997 w 3285"/>
                <a:gd name="T5" fmla="*/ 2496 h 3144"/>
                <a:gd name="T6" fmla="*/ 2050 w 3285"/>
                <a:gd name="T7" fmla="*/ 2547 h 3144"/>
                <a:gd name="T8" fmla="*/ 2061 w 3285"/>
                <a:gd name="T9" fmla="*/ 2663 h 3144"/>
                <a:gd name="T10" fmla="*/ 3192 w 3285"/>
                <a:gd name="T11" fmla="*/ 2674 h 3144"/>
                <a:gd name="T12" fmla="*/ 3259 w 3285"/>
                <a:gd name="T13" fmla="*/ 2730 h 3144"/>
                <a:gd name="T14" fmla="*/ 3285 w 3285"/>
                <a:gd name="T15" fmla="*/ 2814 h 3144"/>
                <a:gd name="T16" fmla="*/ 3259 w 3285"/>
                <a:gd name="T17" fmla="*/ 2898 h 3144"/>
                <a:gd name="T18" fmla="*/ 3192 w 3285"/>
                <a:gd name="T19" fmla="*/ 2953 h 3144"/>
                <a:gd name="T20" fmla="*/ 2061 w 3285"/>
                <a:gd name="T21" fmla="*/ 2964 h 3144"/>
                <a:gd name="T22" fmla="*/ 2050 w 3285"/>
                <a:gd name="T23" fmla="*/ 3080 h 3144"/>
                <a:gd name="T24" fmla="*/ 1997 w 3285"/>
                <a:gd name="T25" fmla="*/ 3132 h 3144"/>
                <a:gd name="T26" fmla="*/ 1337 w 3285"/>
                <a:gd name="T27" fmla="*/ 3144 h 3144"/>
                <a:gd name="T28" fmla="*/ 1266 w 3285"/>
                <a:gd name="T29" fmla="*/ 3118 h 3144"/>
                <a:gd name="T30" fmla="*/ 1227 w 3285"/>
                <a:gd name="T31" fmla="*/ 3057 h 3144"/>
                <a:gd name="T32" fmla="*/ 150 w 3285"/>
                <a:gd name="T33" fmla="*/ 2964 h 3144"/>
                <a:gd name="T34" fmla="*/ 66 w 3285"/>
                <a:gd name="T35" fmla="*/ 2939 h 3144"/>
                <a:gd name="T36" fmla="*/ 12 w 3285"/>
                <a:gd name="T37" fmla="*/ 2872 h 3144"/>
                <a:gd name="T38" fmla="*/ 3 w 3285"/>
                <a:gd name="T39" fmla="*/ 2783 h 3144"/>
                <a:gd name="T40" fmla="*/ 44 w 3285"/>
                <a:gd name="T41" fmla="*/ 2707 h 3144"/>
                <a:gd name="T42" fmla="*/ 120 w 3285"/>
                <a:gd name="T43" fmla="*/ 2666 h 3144"/>
                <a:gd name="T44" fmla="*/ 1224 w 3285"/>
                <a:gd name="T45" fmla="*/ 2597 h 3144"/>
                <a:gd name="T46" fmla="*/ 1248 w 3285"/>
                <a:gd name="T47" fmla="*/ 2526 h 3144"/>
                <a:gd name="T48" fmla="*/ 1310 w 3285"/>
                <a:gd name="T49" fmla="*/ 2487 h 3144"/>
                <a:gd name="T50" fmla="*/ 1327 w 3285"/>
                <a:gd name="T51" fmla="*/ 1450 h 3144"/>
                <a:gd name="T52" fmla="*/ 1176 w 3285"/>
                <a:gd name="T53" fmla="*/ 1450 h 3144"/>
                <a:gd name="T54" fmla="*/ 1101 w 3285"/>
                <a:gd name="T55" fmla="*/ 1600 h 3144"/>
                <a:gd name="T56" fmla="*/ 724 w 3285"/>
                <a:gd name="T57" fmla="*/ 1450 h 3144"/>
                <a:gd name="T58" fmla="*/ 724 w 3285"/>
                <a:gd name="T59" fmla="*/ 1600 h 3144"/>
                <a:gd name="T60" fmla="*/ 631 w 3285"/>
                <a:gd name="T61" fmla="*/ 1696 h 3144"/>
                <a:gd name="T62" fmla="*/ 631 w 3285"/>
                <a:gd name="T63" fmla="*/ 1354 h 3144"/>
                <a:gd name="T64" fmla="*/ 2774 w 3285"/>
                <a:gd name="T65" fmla="*/ 1816 h 3144"/>
                <a:gd name="T66" fmla="*/ 1176 w 3285"/>
                <a:gd name="T67" fmla="*/ 696 h 3144"/>
                <a:gd name="T68" fmla="*/ 1176 w 3285"/>
                <a:gd name="T69" fmla="*/ 847 h 3144"/>
                <a:gd name="T70" fmla="*/ 1101 w 3285"/>
                <a:gd name="T71" fmla="*/ 696 h 3144"/>
                <a:gd name="T72" fmla="*/ 951 w 3285"/>
                <a:gd name="T73" fmla="*/ 696 h 3144"/>
                <a:gd name="T74" fmla="*/ 875 w 3285"/>
                <a:gd name="T75" fmla="*/ 847 h 3144"/>
                <a:gd name="T76" fmla="*/ 631 w 3285"/>
                <a:gd name="T77" fmla="*/ 600 h 3144"/>
                <a:gd name="T78" fmla="*/ 2653 w 3285"/>
                <a:gd name="T79" fmla="*/ 600 h 3144"/>
                <a:gd name="T80" fmla="*/ 2774 w 3285"/>
                <a:gd name="T81" fmla="*/ 480 h 3144"/>
                <a:gd name="T82" fmla="*/ 511 w 3285"/>
                <a:gd name="T83" fmla="*/ 480 h 3144"/>
                <a:gd name="T84" fmla="*/ 2888 w 3285"/>
                <a:gd name="T85" fmla="*/ 1997 h 3144"/>
                <a:gd name="T86" fmla="*/ 247 w 3285"/>
                <a:gd name="T87" fmla="*/ 0 h 3144"/>
                <a:gd name="T88" fmla="*/ 3095 w 3285"/>
                <a:gd name="T89" fmla="*/ 12 h 3144"/>
                <a:gd name="T90" fmla="*/ 3162 w 3285"/>
                <a:gd name="T91" fmla="*/ 67 h 3144"/>
                <a:gd name="T92" fmla="*/ 3187 w 3285"/>
                <a:gd name="T93" fmla="*/ 150 h 3144"/>
                <a:gd name="T94" fmla="*/ 3180 w 3285"/>
                <a:gd name="T95" fmla="*/ 2192 h 3144"/>
                <a:gd name="T96" fmla="*/ 3144 w 3285"/>
                <a:gd name="T97" fmla="*/ 2252 h 3144"/>
                <a:gd name="T98" fmla="*/ 3083 w 3285"/>
                <a:gd name="T99" fmla="*/ 2289 h 3144"/>
                <a:gd name="T100" fmla="*/ 247 w 3285"/>
                <a:gd name="T101" fmla="*/ 2296 h 3144"/>
                <a:gd name="T102" fmla="*/ 163 w 3285"/>
                <a:gd name="T103" fmla="*/ 2270 h 3144"/>
                <a:gd name="T104" fmla="*/ 109 w 3285"/>
                <a:gd name="T105" fmla="*/ 2204 h 3144"/>
                <a:gd name="T106" fmla="*/ 98 w 3285"/>
                <a:gd name="T107" fmla="*/ 150 h 3144"/>
                <a:gd name="T108" fmla="*/ 114 w 3285"/>
                <a:gd name="T109" fmla="*/ 82 h 3144"/>
                <a:gd name="T110" fmla="*/ 159 w 3285"/>
                <a:gd name="T111" fmla="*/ 28 h 3144"/>
                <a:gd name="T112" fmla="*/ 224 w 3285"/>
                <a:gd name="T113" fmla="*/ 2 h 3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85" h="3144">
                  <a:moveTo>
                    <a:pt x="1449" y="2710"/>
                  </a:moveTo>
                  <a:lnTo>
                    <a:pt x="1449" y="2918"/>
                  </a:lnTo>
                  <a:lnTo>
                    <a:pt x="1835" y="2918"/>
                  </a:lnTo>
                  <a:lnTo>
                    <a:pt x="1835" y="2710"/>
                  </a:lnTo>
                  <a:lnTo>
                    <a:pt x="1449" y="2710"/>
                  </a:lnTo>
                  <a:close/>
                  <a:moveTo>
                    <a:pt x="1337" y="2484"/>
                  </a:moveTo>
                  <a:lnTo>
                    <a:pt x="1948" y="2484"/>
                  </a:lnTo>
                  <a:lnTo>
                    <a:pt x="1974" y="2487"/>
                  </a:lnTo>
                  <a:lnTo>
                    <a:pt x="1997" y="2496"/>
                  </a:lnTo>
                  <a:lnTo>
                    <a:pt x="2019" y="2509"/>
                  </a:lnTo>
                  <a:lnTo>
                    <a:pt x="2036" y="2526"/>
                  </a:lnTo>
                  <a:lnTo>
                    <a:pt x="2050" y="2547"/>
                  </a:lnTo>
                  <a:lnTo>
                    <a:pt x="2058" y="2572"/>
                  </a:lnTo>
                  <a:lnTo>
                    <a:pt x="2061" y="2597"/>
                  </a:lnTo>
                  <a:lnTo>
                    <a:pt x="2061" y="2663"/>
                  </a:lnTo>
                  <a:lnTo>
                    <a:pt x="3134" y="2663"/>
                  </a:lnTo>
                  <a:lnTo>
                    <a:pt x="3164" y="2666"/>
                  </a:lnTo>
                  <a:lnTo>
                    <a:pt x="3192" y="2674"/>
                  </a:lnTo>
                  <a:lnTo>
                    <a:pt x="3218" y="2689"/>
                  </a:lnTo>
                  <a:lnTo>
                    <a:pt x="3240" y="2707"/>
                  </a:lnTo>
                  <a:lnTo>
                    <a:pt x="3259" y="2730"/>
                  </a:lnTo>
                  <a:lnTo>
                    <a:pt x="3273" y="2755"/>
                  </a:lnTo>
                  <a:lnTo>
                    <a:pt x="3282" y="2783"/>
                  </a:lnTo>
                  <a:lnTo>
                    <a:pt x="3285" y="2814"/>
                  </a:lnTo>
                  <a:lnTo>
                    <a:pt x="3282" y="2844"/>
                  </a:lnTo>
                  <a:lnTo>
                    <a:pt x="3273" y="2872"/>
                  </a:lnTo>
                  <a:lnTo>
                    <a:pt x="3259" y="2898"/>
                  </a:lnTo>
                  <a:lnTo>
                    <a:pt x="3240" y="2921"/>
                  </a:lnTo>
                  <a:lnTo>
                    <a:pt x="3218" y="2939"/>
                  </a:lnTo>
                  <a:lnTo>
                    <a:pt x="3192" y="2953"/>
                  </a:lnTo>
                  <a:lnTo>
                    <a:pt x="3164" y="2961"/>
                  </a:lnTo>
                  <a:lnTo>
                    <a:pt x="3134" y="2964"/>
                  </a:lnTo>
                  <a:lnTo>
                    <a:pt x="2061" y="2964"/>
                  </a:lnTo>
                  <a:lnTo>
                    <a:pt x="2061" y="3031"/>
                  </a:lnTo>
                  <a:lnTo>
                    <a:pt x="2058" y="3057"/>
                  </a:lnTo>
                  <a:lnTo>
                    <a:pt x="2050" y="3080"/>
                  </a:lnTo>
                  <a:lnTo>
                    <a:pt x="2036" y="3101"/>
                  </a:lnTo>
                  <a:lnTo>
                    <a:pt x="2019" y="3118"/>
                  </a:lnTo>
                  <a:lnTo>
                    <a:pt x="1997" y="3132"/>
                  </a:lnTo>
                  <a:lnTo>
                    <a:pt x="1974" y="3140"/>
                  </a:lnTo>
                  <a:lnTo>
                    <a:pt x="1948" y="3144"/>
                  </a:lnTo>
                  <a:lnTo>
                    <a:pt x="1337" y="3144"/>
                  </a:lnTo>
                  <a:lnTo>
                    <a:pt x="1310" y="3140"/>
                  </a:lnTo>
                  <a:lnTo>
                    <a:pt x="1286" y="3132"/>
                  </a:lnTo>
                  <a:lnTo>
                    <a:pt x="1266" y="3118"/>
                  </a:lnTo>
                  <a:lnTo>
                    <a:pt x="1248" y="3101"/>
                  </a:lnTo>
                  <a:lnTo>
                    <a:pt x="1235" y="3080"/>
                  </a:lnTo>
                  <a:lnTo>
                    <a:pt x="1227" y="3057"/>
                  </a:lnTo>
                  <a:lnTo>
                    <a:pt x="1224" y="3031"/>
                  </a:lnTo>
                  <a:lnTo>
                    <a:pt x="1224" y="2964"/>
                  </a:lnTo>
                  <a:lnTo>
                    <a:pt x="150" y="2964"/>
                  </a:lnTo>
                  <a:lnTo>
                    <a:pt x="120" y="2961"/>
                  </a:lnTo>
                  <a:lnTo>
                    <a:pt x="92" y="2953"/>
                  </a:lnTo>
                  <a:lnTo>
                    <a:pt x="66" y="2939"/>
                  </a:lnTo>
                  <a:lnTo>
                    <a:pt x="44" y="2921"/>
                  </a:lnTo>
                  <a:lnTo>
                    <a:pt x="26" y="2898"/>
                  </a:lnTo>
                  <a:lnTo>
                    <a:pt x="12" y="2872"/>
                  </a:lnTo>
                  <a:lnTo>
                    <a:pt x="3" y="2844"/>
                  </a:lnTo>
                  <a:lnTo>
                    <a:pt x="0" y="2814"/>
                  </a:lnTo>
                  <a:lnTo>
                    <a:pt x="3" y="2783"/>
                  </a:lnTo>
                  <a:lnTo>
                    <a:pt x="12" y="2755"/>
                  </a:lnTo>
                  <a:lnTo>
                    <a:pt x="26" y="2730"/>
                  </a:lnTo>
                  <a:lnTo>
                    <a:pt x="44" y="2707"/>
                  </a:lnTo>
                  <a:lnTo>
                    <a:pt x="66" y="2689"/>
                  </a:lnTo>
                  <a:lnTo>
                    <a:pt x="92" y="2674"/>
                  </a:lnTo>
                  <a:lnTo>
                    <a:pt x="120" y="2666"/>
                  </a:lnTo>
                  <a:lnTo>
                    <a:pt x="150" y="2663"/>
                  </a:lnTo>
                  <a:lnTo>
                    <a:pt x="1224" y="2663"/>
                  </a:lnTo>
                  <a:lnTo>
                    <a:pt x="1224" y="2597"/>
                  </a:lnTo>
                  <a:lnTo>
                    <a:pt x="1227" y="2572"/>
                  </a:lnTo>
                  <a:lnTo>
                    <a:pt x="1235" y="2547"/>
                  </a:lnTo>
                  <a:lnTo>
                    <a:pt x="1248" y="2526"/>
                  </a:lnTo>
                  <a:lnTo>
                    <a:pt x="1266" y="2509"/>
                  </a:lnTo>
                  <a:lnTo>
                    <a:pt x="1286" y="2496"/>
                  </a:lnTo>
                  <a:lnTo>
                    <a:pt x="1310" y="2487"/>
                  </a:lnTo>
                  <a:lnTo>
                    <a:pt x="1337" y="2484"/>
                  </a:lnTo>
                  <a:close/>
                  <a:moveTo>
                    <a:pt x="1176" y="1450"/>
                  </a:moveTo>
                  <a:lnTo>
                    <a:pt x="1327" y="1450"/>
                  </a:lnTo>
                  <a:lnTo>
                    <a:pt x="1327" y="1600"/>
                  </a:lnTo>
                  <a:lnTo>
                    <a:pt x="1176" y="1600"/>
                  </a:lnTo>
                  <a:lnTo>
                    <a:pt x="1176" y="1450"/>
                  </a:lnTo>
                  <a:close/>
                  <a:moveTo>
                    <a:pt x="951" y="1450"/>
                  </a:moveTo>
                  <a:lnTo>
                    <a:pt x="1101" y="1450"/>
                  </a:lnTo>
                  <a:lnTo>
                    <a:pt x="1101" y="1600"/>
                  </a:lnTo>
                  <a:lnTo>
                    <a:pt x="951" y="1600"/>
                  </a:lnTo>
                  <a:lnTo>
                    <a:pt x="951" y="1450"/>
                  </a:lnTo>
                  <a:close/>
                  <a:moveTo>
                    <a:pt x="724" y="1450"/>
                  </a:moveTo>
                  <a:lnTo>
                    <a:pt x="875" y="1450"/>
                  </a:lnTo>
                  <a:lnTo>
                    <a:pt x="875" y="1600"/>
                  </a:lnTo>
                  <a:lnTo>
                    <a:pt x="724" y="1600"/>
                  </a:lnTo>
                  <a:lnTo>
                    <a:pt x="724" y="1450"/>
                  </a:lnTo>
                  <a:close/>
                  <a:moveTo>
                    <a:pt x="631" y="1354"/>
                  </a:moveTo>
                  <a:lnTo>
                    <a:pt x="631" y="1696"/>
                  </a:lnTo>
                  <a:lnTo>
                    <a:pt x="2653" y="1696"/>
                  </a:lnTo>
                  <a:lnTo>
                    <a:pt x="2653" y="1354"/>
                  </a:lnTo>
                  <a:lnTo>
                    <a:pt x="631" y="1354"/>
                  </a:lnTo>
                  <a:close/>
                  <a:moveTo>
                    <a:pt x="511" y="1234"/>
                  </a:moveTo>
                  <a:lnTo>
                    <a:pt x="2774" y="1234"/>
                  </a:lnTo>
                  <a:lnTo>
                    <a:pt x="2774" y="1816"/>
                  </a:lnTo>
                  <a:lnTo>
                    <a:pt x="511" y="1816"/>
                  </a:lnTo>
                  <a:lnTo>
                    <a:pt x="511" y="1234"/>
                  </a:lnTo>
                  <a:close/>
                  <a:moveTo>
                    <a:pt x="1176" y="696"/>
                  </a:moveTo>
                  <a:lnTo>
                    <a:pt x="1327" y="696"/>
                  </a:lnTo>
                  <a:lnTo>
                    <a:pt x="1327" y="847"/>
                  </a:lnTo>
                  <a:lnTo>
                    <a:pt x="1176" y="847"/>
                  </a:lnTo>
                  <a:lnTo>
                    <a:pt x="1176" y="696"/>
                  </a:lnTo>
                  <a:close/>
                  <a:moveTo>
                    <a:pt x="951" y="696"/>
                  </a:moveTo>
                  <a:lnTo>
                    <a:pt x="1101" y="696"/>
                  </a:lnTo>
                  <a:lnTo>
                    <a:pt x="1101" y="847"/>
                  </a:lnTo>
                  <a:lnTo>
                    <a:pt x="951" y="847"/>
                  </a:lnTo>
                  <a:lnTo>
                    <a:pt x="951" y="696"/>
                  </a:lnTo>
                  <a:close/>
                  <a:moveTo>
                    <a:pt x="724" y="696"/>
                  </a:moveTo>
                  <a:lnTo>
                    <a:pt x="875" y="696"/>
                  </a:lnTo>
                  <a:lnTo>
                    <a:pt x="875" y="847"/>
                  </a:lnTo>
                  <a:lnTo>
                    <a:pt x="724" y="847"/>
                  </a:lnTo>
                  <a:lnTo>
                    <a:pt x="724" y="696"/>
                  </a:lnTo>
                  <a:close/>
                  <a:moveTo>
                    <a:pt x="631" y="600"/>
                  </a:moveTo>
                  <a:lnTo>
                    <a:pt x="631" y="942"/>
                  </a:lnTo>
                  <a:lnTo>
                    <a:pt x="2653" y="942"/>
                  </a:lnTo>
                  <a:lnTo>
                    <a:pt x="2653" y="600"/>
                  </a:lnTo>
                  <a:lnTo>
                    <a:pt x="631" y="600"/>
                  </a:lnTo>
                  <a:close/>
                  <a:moveTo>
                    <a:pt x="511" y="480"/>
                  </a:moveTo>
                  <a:lnTo>
                    <a:pt x="2774" y="480"/>
                  </a:lnTo>
                  <a:lnTo>
                    <a:pt x="2774" y="1062"/>
                  </a:lnTo>
                  <a:lnTo>
                    <a:pt x="511" y="1062"/>
                  </a:lnTo>
                  <a:lnTo>
                    <a:pt x="511" y="480"/>
                  </a:lnTo>
                  <a:close/>
                  <a:moveTo>
                    <a:pt x="397" y="300"/>
                  </a:moveTo>
                  <a:lnTo>
                    <a:pt x="397" y="1997"/>
                  </a:lnTo>
                  <a:lnTo>
                    <a:pt x="2888" y="1997"/>
                  </a:lnTo>
                  <a:lnTo>
                    <a:pt x="2888" y="300"/>
                  </a:lnTo>
                  <a:lnTo>
                    <a:pt x="397" y="300"/>
                  </a:lnTo>
                  <a:close/>
                  <a:moveTo>
                    <a:pt x="247" y="0"/>
                  </a:moveTo>
                  <a:lnTo>
                    <a:pt x="3038" y="0"/>
                  </a:lnTo>
                  <a:lnTo>
                    <a:pt x="3067" y="3"/>
                  </a:lnTo>
                  <a:lnTo>
                    <a:pt x="3095" y="12"/>
                  </a:lnTo>
                  <a:lnTo>
                    <a:pt x="3122" y="25"/>
                  </a:lnTo>
                  <a:lnTo>
                    <a:pt x="3144" y="45"/>
                  </a:lnTo>
                  <a:lnTo>
                    <a:pt x="3162" y="67"/>
                  </a:lnTo>
                  <a:lnTo>
                    <a:pt x="3175" y="92"/>
                  </a:lnTo>
                  <a:lnTo>
                    <a:pt x="3184" y="120"/>
                  </a:lnTo>
                  <a:lnTo>
                    <a:pt x="3187" y="150"/>
                  </a:lnTo>
                  <a:lnTo>
                    <a:pt x="3187" y="2146"/>
                  </a:lnTo>
                  <a:lnTo>
                    <a:pt x="3185" y="2170"/>
                  </a:lnTo>
                  <a:lnTo>
                    <a:pt x="3180" y="2192"/>
                  </a:lnTo>
                  <a:lnTo>
                    <a:pt x="3171" y="2214"/>
                  </a:lnTo>
                  <a:lnTo>
                    <a:pt x="3159" y="2234"/>
                  </a:lnTo>
                  <a:lnTo>
                    <a:pt x="3144" y="2252"/>
                  </a:lnTo>
                  <a:lnTo>
                    <a:pt x="3126" y="2268"/>
                  </a:lnTo>
                  <a:lnTo>
                    <a:pt x="3105" y="2280"/>
                  </a:lnTo>
                  <a:lnTo>
                    <a:pt x="3083" y="2289"/>
                  </a:lnTo>
                  <a:lnTo>
                    <a:pt x="3061" y="2294"/>
                  </a:lnTo>
                  <a:lnTo>
                    <a:pt x="3038" y="2296"/>
                  </a:lnTo>
                  <a:lnTo>
                    <a:pt x="247" y="2296"/>
                  </a:lnTo>
                  <a:lnTo>
                    <a:pt x="217" y="2293"/>
                  </a:lnTo>
                  <a:lnTo>
                    <a:pt x="188" y="2284"/>
                  </a:lnTo>
                  <a:lnTo>
                    <a:pt x="163" y="2270"/>
                  </a:lnTo>
                  <a:lnTo>
                    <a:pt x="141" y="2252"/>
                  </a:lnTo>
                  <a:lnTo>
                    <a:pt x="123" y="2230"/>
                  </a:lnTo>
                  <a:lnTo>
                    <a:pt x="109" y="2204"/>
                  </a:lnTo>
                  <a:lnTo>
                    <a:pt x="101" y="2176"/>
                  </a:lnTo>
                  <a:lnTo>
                    <a:pt x="98" y="2146"/>
                  </a:lnTo>
                  <a:lnTo>
                    <a:pt x="98" y="150"/>
                  </a:lnTo>
                  <a:lnTo>
                    <a:pt x="100" y="126"/>
                  </a:lnTo>
                  <a:lnTo>
                    <a:pt x="105" y="104"/>
                  </a:lnTo>
                  <a:lnTo>
                    <a:pt x="114" y="82"/>
                  </a:lnTo>
                  <a:lnTo>
                    <a:pt x="126" y="62"/>
                  </a:lnTo>
                  <a:lnTo>
                    <a:pt x="141" y="45"/>
                  </a:lnTo>
                  <a:lnTo>
                    <a:pt x="159" y="28"/>
                  </a:lnTo>
                  <a:lnTo>
                    <a:pt x="179" y="16"/>
                  </a:lnTo>
                  <a:lnTo>
                    <a:pt x="200" y="7"/>
                  </a:lnTo>
                  <a:lnTo>
                    <a:pt x="224" y="2"/>
                  </a:lnTo>
                  <a:lnTo>
                    <a:pt x="247" y="0"/>
                  </a:lnTo>
                  <a:close/>
                </a:path>
              </a:pathLst>
            </a:custGeom>
            <a:solidFill>
              <a:srgbClr val="06325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grpSp>
      <p:grpSp>
        <p:nvGrpSpPr>
          <p:cNvPr id="26" name="Group 25">
            <a:extLst>
              <a:ext uri="{FF2B5EF4-FFF2-40B4-BE49-F238E27FC236}">
                <a16:creationId xmlns:a16="http://schemas.microsoft.com/office/drawing/2014/main" id="{2E4DB06C-7C48-648B-95AE-FC1BCF09330D}"/>
              </a:ext>
            </a:extLst>
          </p:cNvPr>
          <p:cNvGrpSpPr/>
          <p:nvPr/>
        </p:nvGrpSpPr>
        <p:grpSpPr>
          <a:xfrm>
            <a:off x="8698657" y="1791900"/>
            <a:ext cx="1262063" cy="1260475"/>
            <a:chOff x="7217419" y="1494443"/>
            <a:chExt cx="1262063" cy="1260475"/>
          </a:xfrm>
        </p:grpSpPr>
        <p:sp>
          <p:nvSpPr>
            <p:cNvPr id="27" name="Oval 97">
              <a:extLst>
                <a:ext uri="{FF2B5EF4-FFF2-40B4-BE49-F238E27FC236}">
                  <a16:creationId xmlns:a16="http://schemas.microsoft.com/office/drawing/2014/main" id="{8BB799EE-14F3-55B0-0D47-63CEAB85943E}"/>
                </a:ext>
              </a:extLst>
            </p:cNvPr>
            <p:cNvSpPr>
              <a:spLocks noChangeArrowheads="1"/>
            </p:cNvSpPr>
            <p:nvPr/>
          </p:nvSpPr>
          <p:spPr bwMode="auto">
            <a:xfrm>
              <a:off x="7217419" y="1494443"/>
              <a:ext cx="1262063" cy="1260475"/>
            </a:xfrm>
            <a:prstGeom prst="ellipse">
              <a:avLst/>
            </a:prstGeom>
            <a:solidFill>
              <a:schemeClr val="accent3"/>
            </a:solidFill>
            <a:ln>
              <a:noFill/>
            </a:ln>
            <a:effectLst>
              <a:outerShdw blurRad="63500" sx="102000" sy="102000" algn="ctr" rotWithShape="0">
                <a:srgbClr val="FFFFFF">
                  <a:alpha val="40000"/>
                </a:srgbClr>
              </a:outerShdw>
            </a:effec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ndParaRPr>
            </a:p>
          </p:txBody>
        </p:sp>
        <p:sp>
          <p:nvSpPr>
            <p:cNvPr id="28" name="Oval 98">
              <a:extLst>
                <a:ext uri="{FF2B5EF4-FFF2-40B4-BE49-F238E27FC236}">
                  <a16:creationId xmlns:a16="http://schemas.microsoft.com/office/drawing/2014/main" id="{9E50835F-5ABA-6F37-72F5-224F59ADF813}"/>
                </a:ext>
              </a:extLst>
            </p:cNvPr>
            <p:cNvSpPr>
              <a:spLocks noChangeArrowheads="1"/>
            </p:cNvSpPr>
            <p:nvPr/>
          </p:nvSpPr>
          <p:spPr bwMode="auto">
            <a:xfrm>
              <a:off x="7450144" y="1726374"/>
              <a:ext cx="796612" cy="79661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ndParaRPr>
            </a:p>
          </p:txBody>
        </p:sp>
        <p:grpSp>
          <p:nvGrpSpPr>
            <p:cNvPr id="29" name="Group 28">
              <a:extLst>
                <a:ext uri="{FF2B5EF4-FFF2-40B4-BE49-F238E27FC236}">
                  <a16:creationId xmlns:a16="http://schemas.microsoft.com/office/drawing/2014/main" id="{E83F2DF2-6149-66FB-A0C4-49251D5D53B3}"/>
                </a:ext>
              </a:extLst>
            </p:cNvPr>
            <p:cNvGrpSpPr/>
            <p:nvPr/>
          </p:nvGrpSpPr>
          <p:grpSpPr>
            <a:xfrm>
              <a:off x="7557892" y="1796068"/>
              <a:ext cx="582613" cy="657225"/>
              <a:chOff x="4333875" y="1824038"/>
              <a:chExt cx="582613" cy="657225"/>
            </a:xfrm>
          </p:grpSpPr>
          <p:sp>
            <p:nvSpPr>
              <p:cNvPr id="30" name="Freeform 1026">
                <a:extLst>
                  <a:ext uri="{FF2B5EF4-FFF2-40B4-BE49-F238E27FC236}">
                    <a16:creationId xmlns:a16="http://schemas.microsoft.com/office/drawing/2014/main" id="{C20448D2-E34F-66AA-6880-2EF4110A84EB}"/>
                  </a:ext>
                </a:extLst>
              </p:cNvPr>
              <p:cNvSpPr>
                <a:spLocks/>
              </p:cNvSpPr>
              <p:nvPr/>
            </p:nvSpPr>
            <p:spPr bwMode="auto">
              <a:xfrm>
                <a:off x="4333875" y="1863726"/>
                <a:ext cx="250825" cy="569913"/>
              </a:xfrm>
              <a:custGeom>
                <a:avLst/>
                <a:gdLst>
                  <a:gd name="T0" fmla="*/ 1053 w 1262"/>
                  <a:gd name="T1" fmla="*/ 419 h 2871"/>
                  <a:gd name="T2" fmla="*/ 913 w 1262"/>
                  <a:gd name="T3" fmla="*/ 487 h 2871"/>
                  <a:gd name="T4" fmla="*/ 786 w 1262"/>
                  <a:gd name="T5" fmla="*/ 573 h 2871"/>
                  <a:gd name="T6" fmla="*/ 672 w 1262"/>
                  <a:gd name="T7" fmla="*/ 676 h 2871"/>
                  <a:gd name="T8" fmla="*/ 572 w 1262"/>
                  <a:gd name="T9" fmla="*/ 792 h 2871"/>
                  <a:gd name="T10" fmla="*/ 490 w 1262"/>
                  <a:gd name="T11" fmla="*/ 922 h 2871"/>
                  <a:gd name="T12" fmla="*/ 425 w 1262"/>
                  <a:gd name="T13" fmla="*/ 1063 h 2871"/>
                  <a:gd name="T14" fmla="*/ 380 w 1262"/>
                  <a:gd name="T15" fmla="*/ 1214 h 2871"/>
                  <a:gd name="T16" fmla="*/ 357 w 1262"/>
                  <a:gd name="T17" fmla="*/ 1373 h 2871"/>
                  <a:gd name="T18" fmla="*/ 357 w 1262"/>
                  <a:gd name="T19" fmla="*/ 1536 h 2871"/>
                  <a:gd name="T20" fmla="*/ 379 w 1262"/>
                  <a:gd name="T21" fmla="*/ 1693 h 2871"/>
                  <a:gd name="T22" fmla="*/ 423 w 1262"/>
                  <a:gd name="T23" fmla="*/ 1843 h 2871"/>
                  <a:gd name="T24" fmla="*/ 487 w 1262"/>
                  <a:gd name="T25" fmla="*/ 1983 h 2871"/>
                  <a:gd name="T26" fmla="*/ 568 w 1262"/>
                  <a:gd name="T27" fmla="*/ 2112 h 2871"/>
                  <a:gd name="T28" fmla="*/ 666 w 1262"/>
                  <a:gd name="T29" fmla="*/ 2228 h 2871"/>
                  <a:gd name="T30" fmla="*/ 779 w 1262"/>
                  <a:gd name="T31" fmla="*/ 2331 h 2871"/>
                  <a:gd name="T32" fmla="*/ 904 w 1262"/>
                  <a:gd name="T33" fmla="*/ 2417 h 2871"/>
                  <a:gd name="T34" fmla="*/ 1041 w 1262"/>
                  <a:gd name="T35" fmla="*/ 2486 h 2871"/>
                  <a:gd name="T36" fmla="*/ 1074 w 1262"/>
                  <a:gd name="T37" fmla="*/ 2871 h 2871"/>
                  <a:gd name="T38" fmla="*/ 901 w 1262"/>
                  <a:gd name="T39" fmla="*/ 2810 h 2871"/>
                  <a:gd name="T40" fmla="*/ 740 w 1262"/>
                  <a:gd name="T41" fmla="*/ 2730 h 2871"/>
                  <a:gd name="T42" fmla="*/ 590 w 1262"/>
                  <a:gd name="T43" fmla="*/ 2631 h 2871"/>
                  <a:gd name="T44" fmla="*/ 454 w 1262"/>
                  <a:gd name="T45" fmla="*/ 2516 h 2871"/>
                  <a:gd name="T46" fmla="*/ 333 w 1262"/>
                  <a:gd name="T47" fmla="*/ 2385 h 2871"/>
                  <a:gd name="T48" fmla="*/ 227 w 1262"/>
                  <a:gd name="T49" fmla="*/ 2240 h 2871"/>
                  <a:gd name="T50" fmla="*/ 141 w 1262"/>
                  <a:gd name="T51" fmla="*/ 2082 h 2871"/>
                  <a:gd name="T52" fmla="*/ 73 w 1262"/>
                  <a:gd name="T53" fmla="*/ 1914 h 2871"/>
                  <a:gd name="T54" fmla="*/ 26 w 1262"/>
                  <a:gd name="T55" fmla="*/ 1736 h 2871"/>
                  <a:gd name="T56" fmla="*/ 3 w 1262"/>
                  <a:gd name="T57" fmla="*/ 1550 h 2871"/>
                  <a:gd name="T58" fmla="*/ 3 w 1262"/>
                  <a:gd name="T59" fmla="*/ 1359 h 2871"/>
                  <a:gd name="T60" fmla="*/ 27 w 1262"/>
                  <a:gd name="T61" fmla="*/ 1172 h 2871"/>
                  <a:gd name="T62" fmla="*/ 74 w 1262"/>
                  <a:gd name="T63" fmla="*/ 994 h 2871"/>
                  <a:gd name="T64" fmla="*/ 142 w 1262"/>
                  <a:gd name="T65" fmla="*/ 825 h 2871"/>
                  <a:gd name="T66" fmla="*/ 229 w 1262"/>
                  <a:gd name="T67" fmla="*/ 668 h 2871"/>
                  <a:gd name="T68" fmla="*/ 335 w 1262"/>
                  <a:gd name="T69" fmla="*/ 522 h 2871"/>
                  <a:gd name="T70" fmla="*/ 457 w 1262"/>
                  <a:gd name="T71" fmla="*/ 391 h 2871"/>
                  <a:gd name="T72" fmla="*/ 594 w 1262"/>
                  <a:gd name="T73" fmla="*/ 275 h 2871"/>
                  <a:gd name="T74" fmla="*/ 745 w 1262"/>
                  <a:gd name="T75" fmla="*/ 177 h 2871"/>
                  <a:gd name="T76" fmla="*/ 907 w 1262"/>
                  <a:gd name="T77" fmla="*/ 97 h 2871"/>
                  <a:gd name="T78" fmla="*/ 1081 w 1262"/>
                  <a:gd name="T79" fmla="*/ 37 h 2871"/>
                  <a:gd name="T80" fmla="*/ 1262 w 1262"/>
                  <a:gd name="T81" fmla="*/ 0 h 2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2" h="2871">
                    <a:moveTo>
                      <a:pt x="1262" y="0"/>
                    </a:moveTo>
                    <a:lnTo>
                      <a:pt x="1053" y="419"/>
                    </a:lnTo>
                    <a:lnTo>
                      <a:pt x="982" y="451"/>
                    </a:lnTo>
                    <a:lnTo>
                      <a:pt x="913" y="487"/>
                    </a:lnTo>
                    <a:lnTo>
                      <a:pt x="849" y="529"/>
                    </a:lnTo>
                    <a:lnTo>
                      <a:pt x="786" y="573"/>
                    </a:lnTo>
                    <a:lnTo>
                      <a:pt x="727" y="623"/>
                    </a:lnTo>
                    <a:lnTo>
                      <a:pt x="672" y="676"/>
                    </a:lnTo>
                    <a:lnTo>
                      <a:pt x="620" y="732"/>
                    </a:lnTo>
                    <a:lnTo>
                      <a:pt x="572" y="792"/>
                    </a:lnTo>
                    <a:lnTo>
                      <a:pt x="528" y="856"/>
                    </a:lnTo>
                    <a:lnTo>
                      <a:pt x="490" y="922"/>
                    </a:lnTo>
                    <a:lnTo>
                      <a:pt x="454" y="992"/>
                    </a:lnTo>
                    <a:lnTo>
                      <a:pt x="425" y="1063"/>
                    </a:lnTo>
                    <a:lnTo>
                      <a:pt x="399" y="1138"/>
                    </a:lnTo>
                    <a:lnTo>
                      <a:pt x="380" y="1214"/>
                    </a:lnTo>
                    <a:lnTo>
                      <a:pt x="365" y="1293"/>
                    </a:lnTo>
                    <a:lnTo>
                      <a:pt x="357" y="1373"/>
                    </a:lnTo>
                    <a:lnTo>
                      <a:pt x="354" y="1454"/>
                    </a:lnTo>
                    <a:lnTo>
                      <a:pt x="357" y="1536"/>
                    </a:lnTo>
                    <a:lnTo>
                      <a:pt x="365" y="1615"/>
                    </a:lnTo>
                    <a:lnTo>
                      <a:pt x="379" y="1693"/>
                    </a:lnTo>
                    <a:lnTo>
                      <a:pt x="398" y="1769"/>
                    </a:lnTo>
                    <a:lnTo>
                      <a:pt x="423" y="1843"/>
                    </a:lnTo>
                    <a:lnTo>
                      <a:pt x="452" y="1914"/>
                    </a:lnTo>
                    <a:lnTo>
                      <a:pt x="487" y="1983"/>
                    </a:lnTo>
                    <a:lnTo>
                      <a:pt x="525" y="2049"/>
                    </a:lnTo>
                    <a:lnTo>
                      <a:pt x="568" y="2112"/>
                    </a:lnTo>
                    <a:lnTo>
                      <a:pt x="615" y="2171"/>
                    </a:lnTo>
                    <a:lnTo>
                      <a:pt x="666" y="2228"/>
                    </a:lnTo>
                    <a:lnTo>
                      <a:pt x="721" y="2281"/>
                    </a:lnTo>
                    <a:lnTo>
                      <a:pt x="779" y="2331"/>
                    </a:lnTo>
                    <a:lnTo>
                      <a:pt x="840" y="2375"/>
                    </a:lnTo>
                    <a:lnTo>
                      <a:pt x="904" y="2417"/>
                    </a:lnTo>
                    <a:lnTo>
                      <a:pt x="971" y="2453"/>
                    </a:lnTo>
                    <a:lnTo>
                      <a:pt x="1041" y="2486"/>
                    </a:lnTo>
                    <a:lnTo>
                      <a:pt x="1114" y="2513"/>
                    </a:lnTo>
                    <a:lnTo>
                      <a:pt x="1074" y="2871"/>
                    </a:lnTo>
                    <a:lnTo>
                      <a:pt x="986" y="2842"/>
                    </a:lnTo>
                    <a:lnTo>
                      <a:pt x="901" y="2810"/>
                    </a:lnTo>
                    <a:lnTo>
                      <a:pt x="819" y="2772"/>
                    </a:lnTo>
                    <a:lnTo>
                      <a:pt x="740" y="2730"/>
                    </a:lnTo>
                    <a:lnTo>
                      <a:pt x="663" y="2683"/>
                    </a:lnTo>
                    <a:lnTo>
                      <a:pt x="590" y="2631"/>
                    </a:lnTo>
                    <a:lnTo>
                      <a:pt x="520" y="2576"/>
                    </a:lnTo>
                    <a:lnTo>
                      <a:pt x="454" y="2516"/>
                    </a:lnTo>
                    <a:lnTo>
                      <a:pt x="391" y="2452"/>
                    </a:lnTo>
                    <a:lnTo>
                      <a:pt x="333" y="2385"/>
                    </a:lnTo>
                    <a:lnTo>
                      <a:pt x="278" y="2314"/>
                    </a:lnTo>
                    <a:lnTo>
                      <a:pt x="227" y="2240"/>
                    </a:lnTo>
                    <a:lnTo>
                      <a:pt x="181" y="2162"/>
                    </a:lnTo>
                    <a:lnTo>
                      <a:pt x="141" y="2082"/>
                    </a:lnTo>
                    <a:lnTo>
                      <a:pt x="104" y="1999"/>
                    </a:lnTo>
                    <a:lnTo>
                      <a:pt x="73" y="1914"/>
                    </a:lnTo>
                    <a:lnTo>
                      <a:pt x="48" y="1826"/>
                    </a:lnTo>
                    <a:lnTo>
                      <a:pt x="26" y="1736"/>
                    </a:lnTo>
                    <a:lnTo>
                      <a:pt x="12" y="1644"/>
                    </a:lnTo>
                    <a:lnTo>
                      <a:pt x="3" y="1550"/>
                    </a:lnTo>
                    <a:lnTo>
                      <a:pt x="0" y="1454"/>
                    </a:lnTo>
                    <a:lnTo>
                      <a:pt x="3" y="1359"/>
                    </a:lnTo>
                    <a:lnTo>
                      <a:pt x="12" y="1264"/>
                    </a:lnTo>
                    <a:lnTo>
                      <a:pt x="27" y="1172"/>
                    </a:lnTo>
                    <a:lnTo>
                      <a:pt x="48" y="1082"/>
                    </a:lnTo>
                    <a:lnTo>
                      <a:pt x="74" y="994"/>
                    </a:lnTo>
                    <a:lnTo>
                      <a:pt x="105" y="909"/>
                    </a:lnTo>
                    <a:lnTo>
                      <a:pt x="142" y="825"/>
                    </a:lnTo>
                    <a:lnTo>
                      <a:pt x="183" y="745"/>
                    </a:lnTo>
                    <a:lnTo>
                      <a:pt x="229" y="668"/>
                    </a:lnTo>
                    <a:lnTo>
                      <a:pt x="280" y="593"/>
                    </a:lnTo>
                    <a:lnTo>
                      <a:pt x="335" y="522"/>
                    </a:lnTo>
                    <a:lnTo>
                      <a:pt x="393" y="455"/>
                    </a:lnTo>
                    <a:lnTo>
                      <a:pt x="457" y="391"/>
                    </a:lnTo>
                    <a:lnTo>
                      <a:pt x="524" y="331"/>
                    </a:lnTo>
                    <a:lnTo>
                      <a:pt x="594" y="275"/>
                    </a:lnTo>
                    <a:lnTo>
                      <a:pt x="668" y="224"/>
                    </a:lnTo>
                    <a:lnTo>
                      <a:pt x="745" y="177"/>
                    </a:lnTo>
                    <a:lnTo>
                      <a:pt x="824" y="135"/>
                    </a:lnTo>
                    <a:lnTo>
                      <a:pt x="907" y="97"/>
                    </a:lnTo>
                    <a:lnTo>
                      <a:pt x="992" y="65"/>
                    </a:lnTo>
                    <a:lnTo>
                      <a:pt x="1081" y="37"/>
                    </a:lnTo>
                    <a:lnTo>
                      <a:pt x="1170" y="16"/>
                    </a:lnTo>
                    <a:lnTo>
                      <a:pt x="1262" y="0"/>
                    </a:lnTo>
                    <a:close/>
                  </a:path>
                </a:pathLst>
              </a:custGeom>
              <a:solidFill>
                <a:srgbClr val="06325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31" name="Freeform 1027">
                <a:extLst>
                  <a:ext uri="{FF2B5EF4-FFF2-40B4-BE49-F238E27FC236}">
                    <a16:creationId xmlns:a16="http://schemas.microsoft.com/office/drawing/2014/main" id="{9BAD6FC0-F567-DD34-5701-77FE371B7F3D}"/>
                  </a:ext>
                </a:extLst>
              </p:cNvPr>
              <p:cNvSpPr>
                <a:spLocks/>
              </p:cNvSpPr>
              <p:nvPr/>
            </p:nvSpPr>
            <p:spPr bwMode="auto">
              <a:xfrm>
                <a:off x="4667250" y="1871663"/>
                <a:ext cx="249238" cy="569913"/>
              </a:xfrm>
              <a:custGeom>
                <a:avLst/>
                <a:gdLst>
                  <a:gd name="T0" fmla="*/ 275 w 1261"/>
                  <a:gd name="T1" fmla="*/ 28 h 2870"/>
                  <a:gd name="T2" fmla="*/ 442 w 1261"/>
                  <a:gd name="T3" fmla="*/ 99 h 2870"/>
                  <a:gd name="T4" fmla="*/ 598 w 1261"/>
                  <a:gd name="T5" fmla="*/ 188 h 2870"/>
                  <a:gd name="T6" fmla="*/ 741 w 1261"/>
                  <a:gd name="T7" fmla="*/ 295 h 2870"/>
                  <a:gd name="T8" fmla="*/ 870 w 1261"/>
                  <a:gd name="T9" fmla="*/ 419 h 2870"/>
                  <a:gd name="T10" fmla="*/ 983 w 1261"/>
                  <a:gd name="T11" fmla="*/ 557 h 2870"/>
                  <a:gd name="T12" fmla="*/ 1079 w 1261"/>
                  <a:gd name="T13" fmla="*/ 708 h 2870"/>
                  <a:gd name="T14" fmla="*/ 1157 w 1261"/>
                  <a:gd name="T15" fmla="*/ 871 h 2870"/>
                  <a:gd name="T16" fmla="*/ 1214 w 1261"/>
                  <a:gd name="T17" fmla="*/ 1044 h 2870"/>
                  <a:gd name="T18" fmla="*/ 1249 w 1261"/>
                  <a:gd name="T19" fmla="*/ 1227 h 2870"/>
                  <a:gd name="T20" fmla="*/ 1261 w 1261"/>
                  <a:gd name="T21" fmla="*/ 1415 h 2870"/>
                  <a:gd name="T22" fmla="*/ 1249 w 1261"/>
                  <a:gd name="T23" fmla="*/ 1605 h 2870"/>
                  <a:gd name="T24" fmla="*/ 1213 w 1261"/>
                  <a:gd name="T25" fmla="*/ 1788 h 2870"/>
                  <a:gd name="T26" fmla="*/ 1157 w 1261"/>
                  <a:gd name="T27" fmla="*/ 1962 h 2870"/>
                  <a:gd name="T28" fmla="*/ 1078 w 1261"/>
                  <a:gd name="T29" fmla="*/ 2125 h 2870"/>
                  <a:gd name="T30" fmla="*/ 981 w 1261"/>
                  <a:gd name="T31" fmla="*/ 2277 h 2870"/>
                  <a:gd name="T32" fmla="*/ 868 w 1261"/>
                  <a:gd name="T33" fmla="*/ 2415 h 2870"/>
                  <a:gd name="T34" fmla="*/ 738 w 1261"/>
                  <a:gd name="T35" fmla="*/ 2539 h 2870"/>
                  <a:gd name="T36" fmla="*/ 594 w 1261"/>
                  <a:gd name="T37" fmla="*/ 2646 h 2870"/>
                  <a:gd name="T38" fmla="*/ 438 w 1261"/>
                  <a:gd name="T39" fmla="*/ 2735 h 2870"/>
                  <a:gd name="T40" fmla="*/ 269 w 1261"/>
                  <a:gd name="T41" fmla="*/ 2805 h 2870"/>
                  <a:gd name="T42" fmla="*/ 92 w 1261"/>
                  <a:gd name="T43" fmla="*/ 2854 h 2870"/>
                  <a:gd name="T44" fmla="*/ 215 w 1261"/>
                  <a:gd name="T45" fmla="*/ 2448 h 2870"/>
                  <a:gd name="T46" fmla="*/ 353 w 1261"/>
                  <a:gd name="T47" fmla="*/ 2380 h 2870"/>
                  <a:gd name="T48" fmla="*/ 479 w 1261"/>
                  <a:gd name="T49" fmla="*/ 2294 h 2870"/>
                  <a:gd name="T50" fmla="*/ 593 w 1261"/>
                  <a:gd name="T51" fmla="*/ 2191 h 2870"/>
                  <a:gd name="T52" fmla="*/ 691 w 1261"/>
                  <a:gd name="T53" fmla="*/ 2075 h 2870"/>
                  <a:gd name="T54" fmla="*/ 773 w 1261"/>
                  <a:gd name="T55" fmla="*/ 1946 h 2870"/>
                  <a:gd name="T56" fmla="*/ 837 w 1261"/>
                  <a:gd name="T57" fmla="*/ 1805 h 2870"/>
                  <a:gd name="T58" fmla="*/ 882 w 1261"/>
                  <a:gd name="T59" fmla="*/ 1655 h 2870"/>
                  <a:gd name="T60" fmla="*/ 904 w 1261"/>
                  <a:gd name="T61" fmla="*/ 1497 h 2870"/>
                  <a:gd name="T62" fmla="*/ 904 w 1261"/>
                  <a:gd name="T63" fmla="*/ 1335 h 2870"/>
                  <a:gd name="T64" fmla="*/ 882 w 1261"/>
                  <a:gd name="T65" fmla="*/ 1177 h 2870"/>
                  <a:gd name="T66" fmla="*/ 838 w 1261"/>
                  <a:gd name="T67" fmla="*/ 1028 h 2870"/>
                  <a:gd name="T68" fmla="*/ 774 w 1261"/>
                  <a:gd name="T69" fmla="*/ 888 h 2870"/>
                  <a:gd name="T70" fmla="*/ 692 w 1261"/>
                  <a:gd name="T71" fmla="*/ 758 h 2870"/>
                  <a:gd name="T72" fmla="*/ 595 w 1261"/>
                  <a:gd name="T73" fmla="*/ 642 h 2870"/>
                  <a:gd name="T74" fmla="*/ 482 w 1261"/>
                  <a:gd name="T75" fmla="*/ 540 h 2870"/>
                  <a:gd name="T76" fmla="*/ 357 w 1261"/>
                  <a:gd name="T77" fmla="*/ 453 h 2870"/>
                  <a:gd name="T78" fmla="*/ 219 w 1261"/>
                  <a:gd name="T79" fmla="*/ 385 h 2870"/>
                  <a:gd name="T80" fmla="*/ 187 w 1261"/>
                  <a:gd name="T81" fmla="*/ 0 h 28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1" h="2870">
                    <a:moveTo>
                      <a:pt x="187" y="0"/>
                    </a:moveTo>
                    <a:lnTo>
                      <a:pt x="275" y="28"/>
                    </a:lnTo>
                    <a:lnTo>
                      <a:pt x="360" y="60"/>
                    </a:lnTo>
                    <a:lnTo>
                      <a:pt x="442" y="99"/>
                    </a:lnTo>
                    <a:lnTo>
                      <a:pt x="522" y="140"/>
                    </a:lnTo>
                    <a:lnTo>
                      <a:pt x="598" y="188"/>
                    </a:lnTo>
                    <a:lnTo>
                      <a:pt x="671" y="240"/>
                    </a:lnTo>
                    <a:lnTo>
                      <a:pt x="741" y="295"/>
                    </a:lnTo>
                    <a:lnTo>
                      <a:pt x="808" y="355"/>
                    </a:lnTo>
                    <a:lnTo>
                      <a:pt x="870" y="419"/>
                    </a:lnTo>
                    <a:lnTo>
                      <a:pt x="928" y="486"/>
                    </a:lnTo>
                    <a:lnTo>
                      <a:pt x="983" y="557"/>
                    </a:lnTo>
                    <a:lnTo>
                      <a:pt x="1034" y="631"/>
                    </a:lnTo>
                    <a:lnTo>
                      <a:pt x="1079" y="708"/>
                    </a:lnTo>
                    <a:lnTo>
                      <a:pt x="1120" y="789"/>
                    </a:lnTo>
                    <a:lnTo>
                      <a:pt x="1157" y="871"/>
                    </a:lnTo>
                    <a:lnTo>
                      <a:pt x="1188" y="957"/>
                    </a:lnTo>
                    <a:lnTo>
                      <a:pt x="1214" y="1044"/>
                    </a:lnTo>
                    <a:lnTo>
                      <a:pt x="1235" y="1134"/>
                    </a:lnTo>
                    <a:lnTo>
                      <a:pt x="1249" y="1227"/>
                    </a:lnTo>
                    <a:lnTo>
                      <a:pt x="1258" y="1321"/>
                    </a:lnTo>
                    <a:lnTo>
                      <a:pt x="1261" y="1415"/>
                    </a:lnTo>
                    <a:lnTo>
                      <a:pt x="1258" y="1511"/>
                    </a:lnTo>
                    <a:lnTo>
                      <a:pt x="1249" y="1605"/>
                    </a:lnTo>
                    <a:lnTo>
                      <a:pt x="1235" y="1698"/>
                    </a:lnTo>
                    <a:lnTo>
                      <a:pt x="1213" y="1788"/>
                    </a:lnTo>
                    <a:lnTo>
                      <a:pt x="1187" y="1876"/>
                    </a:lnTo>
                    <a:lnTo>
                      <a:pt x="1157" y="1962"/>
                    </a:lnTo>
                    <a:lnTo>
                      <a:pt x="1120" y="2045"/>
                    </a:lnTo>
                    <a:lnTo>
                      <a:pt x="1078" y="2125"/>
                    </a:lnTo>
                    <a:lnTo>
                      <a:pt x="1032" y="2203"/>
                    </a:lnTo>
                    <a:lnTo>
                      <a:pt x="981" y="2277"/>
                    </a:lnTo>
                    <a:lnTo>
                      <a:pt x="926" y="2348"/>
                    </a:lnTo>
                    <a:lnTo>
                      <a:pt x="868" y="2415"/>
                    </a:lnTo>
                    <a:lnTo>
                      <a:pt x="805" y="2479"/>
                    </a:lnTo>
                    <a:lnTo>
                      <a:pt x="738" y="2539"/>
                    </a:lnTo>
                    <a:lnTo>
                      <a:pt x="668" y="2595"/>
                    </a:lnTo>
                    <a:lnTo>
                      <a:pt x="594" y="2646"/>
                    </a:lnTo>
                    <a:lnTo>
                      <a:pt x="517" y="2693"/>
                    </a:lnTo>
                    <a:lnTo>
                      <a:pt x="438" y="2735"/>
                    </a:lnTo>
                    <a:lnTo>
                      <a:pt x="355" y="2773"/>
                    </a:lnTo>
                    <a:lnTo>
                      <a:pt x="269" y="2805"/>
                    </a:lnTo>
                    <a:lnTo>
                      <a:pt x="182" y="2833"/>
                    </a:lnTo>
                    <a:lnTo>
                      <a:pt x="92" y="2854"/>
                    </a:lnTo>
                    <a:lnTo>
                      <a:pt x="0" y="2870"/>
                    </a:lnTo>
                    <a:lnTo>
                      <a:pt x="215" y="2448"/>
                    </a:lnTo>
                    <a:lnTo>
                      <a:pt x="286" y="2416"/>
                    </a:lnTo>
                    <a:lnTo>
                      <a:pt x="353" y="2380"/>
                    </a:lnTo>
                    <a:lnTo>
                      <a:pt x="417" y="2339"/>
                    </a:lnTo>
                    <a:lnTo>
                      <a:pt x="479" y="2294"/>
                    </a:lnTo>
                    <a:lnTo>
                      <a:pt x="538" y="2245"/>
                    </a:lnTo>
                    <a:lnTo>
                      <a:pt x="593" y="2191"/>
                    </a:lnTo>
                    <a:lnTo>
                      <a:pt x="644" y="2134"/>
                    </a:lnTo>
                    <a:lnTo>
                      <a:pt x="691" y="2075"/>
                    </a:lnTo>
                    <a:lnTo>
                      <a:pt x="735" y="2012"/>
                    </a:lnTo>
                    <a:lnTo>
                      <a:pt x="773" y="1946"/>
                    </a:lnTo>
                    <a:lnTo>
                      <a:pt x="808" y="1877"/>
                    </a:lnTo>
                    <a:lnTo>
                      <a:pt x="837" y="1805"/>
                    </a:lnTo>
                    <a:lnTo>
                      <a:pt x="862" y="1731"/>
                    </a:lnTo>
                    <a:lnTo>
                      <a:pt x="882" y="1655"/>
                    </a:lnTo>
                    <a:lnTo>
                      <a:pt x="896" y="1577"/>
                    </a:lnTo>
                    <a:lnTo>
                      <a:pt x="904" y="1497"/>
                    </a:lnTo>
                    <a:lnTo>
                      <a:pt x="907" y="1415"/>
                    </a:lnTo>
                    <a:lnTo>
                      <a:pt x="904" y="1335"/>
                    </a:lnTo>
                    <a:lnTo>
                      <a:pt x="896" y="1255"/>
                    </a:lnTo>
                    <a:lnTo>
                      <a:pt x="882" y="1177"/>
                    </a:lnTo>
                    <a:lnTo>
                      <a:pt x="863" y="1102"/>
                    </a:lnTo>
                    <a:lnTo>
                      <a:pt x="838" y="1028"/>
                    </a:lnTo>
                    <a:lnTo>
                      <a:pt x="809" y="956"/>
                    </a:lnTo>
                    <a:lnTo>
                      <a:pt x="774" y="888"/>
                    </a:lnTo>
                    <a:lnTo>
                      <a:pt x="736" y="821"/>
                    </a:lnTo>
                    <a:lnTo>
                      <a:pt x="692" y="758"/>
                    </a:lnTo>
                    <a:lnTo>
                      <a:pt x="646" y="699"/>
                    </a:lnTo>
                    <a:lnTo>
                      <a:pt x="595" y="642"/>
                    </a:lnTo>
                    <a:lnTo>
                      <a:pt x="540" y="589"/>
                    </a:lnTo>
                    <a:lnTo>
                      <a:pt x="482" y="540"/>
                    </a:lnTo>
                    <a:lnTo>
                      <a:pt x="421" y="495"/>
                    </a:lnTo>
                    <a:lnTo>
                      <a:pt x="357" y="453"/>
                    </a:lnTo>
                    <a:lnTo>
                      <a:pt x="289" y="417"/>
                    </a:lnTo>
                    <a:lnTo>
                      <a:pt x="219" y="385"/>
                    </a:lnTo>
                    <a:lnTo>
                      <a:pt x="147" y="358"/>
                    </a:lnTo>
                    <a:lnTo>
                      <a:pt x="187" y="0"/>
                    </a:lnTo>
                    <a:close/>
                  </a:path>
                </a:pathLst>
              </a:custGeom>
              <a:solidFill>
                <a:srgbClr val="06325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sp>
            <p:nvSpPr>
              <p:cNvPr id="32" name="Freeform 1028">
                <a:extLst>
                  <a:ext uri="{FF2B5EF4-FFF2-40B4-BE49-F238E27FC236}">
                    <a16:creationId xmlns:a16="http://schemas.microsoft.com/office/drawing/2014/main" id="{D51F6B3C-1FE5-1753-DD82-6CB3BD073B00}"/>
                  </a:ext>
                </a:extLst>
              </p:cNvPr>
              <p:cNvSpPr>
                <a:spLocks/>
              </p:cNvSpPr>
              <p:nvPr/>
            </p:nvSpPr>
            <p:spPr bwMode="auto">
              <a:xfrm>
                <a:off x="4456113" y="1824038"/>
                <a:ext cx="338138" cy="657225"/>
              </a:xfrm>
              <a:custGeom>
                <a:avLst/>
                <a:gdLst>
                  <a:gd name="T0" fmla="*/ 998 w 1703"/>
                  <a:gd name="T1" fmla="*/ 0 h 3318"/>
                  <a:gd name="T2" fmla="*/ 1010 w 1703"/>
                  <a:gd name="T3" fmla="*/ 1 h 3318"/>
                  <a:gd name="T4" fmla="*/ 1023 w 1703"/>
                  <a:gd name="T5" fmla="*/ 4 h 3318"/>
                  <a:gd name="T6" fmla="*/ 1043 w 1703"/>
                  <a:gd name="T7" fmla="*/ 12 h 3318"/>
                  <a:gd name="T8" fmla="*/ 1059 w 1703"/>
                  <a:gd name="T9" fmla="*/ 25 h 3318"/>
                  <a:gd name="T10" fmla="*/ 1072 w 1703"/>
                  <a:gd name="T11" fmla="*/ 42 h 3318"/>
                  <a:gd name="T12" fmla="*/ 1081 w 1703"/>
                  <a:gd name="T13" fmla="*/ 61 h 3318"/>
                  <a:gd name="T14" fmla="*/ 1086 w 1703"/>
                  <a:gd name="T15" fmla="*/ 81 h 3318"/>
                  <a:gd name="T16" fmla="*/ 1086 w 1703"/>
                  <a:gd name="T17" fmla="*/ 104 h 3318"/>
                  <a:gd name="T18" fmla="*/ 941 w 1703"/>
                  <a:gd name="T19" fmla="*/ 1361 h 3318"/>
                  <a:gd name="T20" fmla="*/ 1613 w 1703"/>
                  <a:gd name="T21" fmla="*/ 1361 h 3318"/>
                  <a:gd name="T22" fmla="*/ 1632 w 1703"/>
                  <a:gd name="T23" fmla="*/ 1363 h 3318"/>
                  <a:gd name="T24" fmla="*/ 1649 w 1703"/>
                  <a:gd name="T25" fmla="*/ 1367 h 3318"/>
                  <a:gd name="T26" fmla="*/ 1664 w 1703"/>
                  <a:gd name="T27" fmla="*/ 1374 h 3318"/>
                  <a:gd name="T28" fmla="*/ 1678 w 1703"/>
                  <a:gd name="T29" fmla="*/ 1384 h 3318"/>
                  <a:gd name="T30" fmla="*/ 1689 w 1703"/>
                  <a:gd name="T31" fmla="*/ 1398 h 3318"/>
                  <a:gd name="T32" fmla="*/ 1698 w 1703"/>
                  <a:gd name="T33" fmla="*/ 1418 h 3318"/>
                  <a:gd name="T34" fmla="*/ 1703 w 1703"/>
                  <a:gd name="T35" fmla="*/ 1439 h 3318"/>
                  <a:gd name="T36" fmla="*/ 1701 w 1703"/>
                  <a:gd name="T37" fmla="*/ 1460 h 3318"/>
                  <a:gd name="T38" fmla="*/ 1692 w 1703"/>
                  <a:gd name="T39" fmla="*/ 1482 h 3318"/>
                  <a:gd name="T40" fmla="*/ 783 w 1703"/>
                  <a:gd name="T41" fmla="*/ 3270 h 3318"/>
                  <a:gd name="T42" fmla="*/ 772 w 1703"/>
                  <a:gd name="T43" fmla="*/ 3286 h 3318"/>
                  <a:gd name="T44" fmla="*/ 758 w 1703"/>
                  <a:gd name="T45" fmla="*/ 3300 h 3318"/>
                  <a:gd name="T46" fmla="*/ 741 w 1703"/>
                  <a:gd name="T47" fmla="*/ 3310 h 3318"/>
                  <a:gd name="T48" fmla="*/ 723 w 1703"/>
                  <a:gd name="T49" fmla="*/ 3316 h 3318"/>
                  <a:gd name="T50" fmla="*/ 704 w 1703"/>
                  <a:gd name="T51" fmla="*/ 3318 h 3318"/>
                  <a:gd name="T52" fmla="*/ 691 w 1703"/>
                  <a:gd name="T53" fmla="*/ 3318 h 3318"/>
                  <a:gd name="T54" fmla="*/ 679 w 1703"/>
                  <a:gd name="T55" fmla="*/ 3315 h 3318"/>
                  <a:gd name="T56" fmla="*/ 659 w 1703"/>
                  <a:gd name="T57" fmla="*/ 3307 h 3318"/>
                  <a:gd name="T58" fmla="*/ 643 w 1703"/>
                  <a:gd name="T59" fmla="*/ 3296 h 3318"/>
                  <a:gd name="T60" fmla="*/ 630 w 1703"/>
                  <a:gd name="T61" fmla="*/ 3281 h 3318"/>
                  <a:gd name="T62" fmla="*/ 621 w 1703"/>
                  <a:gd name="T63" fmla="*/ 3264 h 3318"/>
                  <a:gd name="T64" fmla="*/ 616 w 1703"/>
                  <a:gd name="T65" fmla="*/ 3245 h 3318"/>
                  <a:gd name="T66" fmla="*/ 616 w 1703"/>
                  <a:gd name="T67" fmla="*/ 3225 h 3318"/>
                  <a:gd name="T68" fmla="*/ 752 w 1703"/>
                  <a:gd name="T69" fmla="*/ 2014 h 3318"/>
                  <a:gd name="T70" fmla="*/ 89 w 1703"/>
                  <a:gd name="T71" fmla="*/ 2014 h 3318"/>
                  <a:gd name="T72" fmla="*/ 70 w 1703"/>
                  <a:gd name="T73" fmla="*/ 2012 h 3318"/>
                  <a:gd name="T74" fmla="*/ 53 w 1703"/>
                  <a:gd name="T75" fmla="*/ 2005 h 3318"/>
                  <a:gd name="T76" fmla="*/ 38 w 1703"/>
                  <a:gd name="T77" fmla="*/ 1994 h 3318"/>
                  <a:gd name="T78" fmla="*/ 24 w 1703"/>
                  <a:gd name="T79" fmla="*/ 1981 h 3318"/>
                  <a:gd name="T80" fmla="*/ 13 w 1703"/>
                  <a:gd name="T81" fmla="*/ 1966 h 3318"/>
                  <a:gd name="T82" fmla="*/ 5 w 1703"/>
                  <a:gd name="T83" fmla="*/ 1950 h 3318"/>
                  <a:gd name="T84" fmla="*/ 0 w 1703"/>
                  <a:gd name="T85" fmla="*/ 1932 h 3318"/>
                  <a:gd name="T86" fmla="*/ 0 w 1703"/>
                  <a:gd name="T87" fmla="*/ 1912 h 3318"/>
                  <a:gd name="T88" fmla="*/ 2 w 1703"/>
                  <a:gd name="T89" fmla="*/ 1894 h 3318"/>
                  <a:gd name="T90" fmla="*/ 10 w 1703"/>
                  <a:gd name="T91" fmla="*/ 1877 h 3318"/>
                  <a:gd name="T92" fmla="*/ 919 w 1703"/>
                  <a:gd name="T93" fmla="*/ 50 h 3318"/>
                  <a:gd name="T94" fmla="*/ 930 w 1703"/>
                  <a:gd name="T95" fmla="*/ 33 h 3318"/>
                  <a:gd name="T96" fmla="*/ 943 w 1703"/>
                  <a:gd name="T97" fmla="*/ 18 h 3318"/>
                  <a:gd name="T98" fmla="*/ 960 w 1703"/>
                  <a:gd name="T99" fmla="*/ 8 h 3318"/>
                  <a:gd name="T100" fmla="*/ 979 w 1703"/>
                  <a:gd name="T101" fmla="*/ 2 h 3318"/>
                  <a:gd name="T102" fmla="*/ 998 w 1703"/>
                  <a:gd name="T103" fmla="*/ 0 h 3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03" h="3318">
                    <a:moveTo>
                      <a:pt x="998" y="0"/>
                    </a:moveTo>
                    <a:lnTo>
                      <a:pt x="1010" y="1"/>
                    </a:lnTo>
                    <a:lnTo>
                      <a:pt x="1023" y="4"/>
                    </a:lnTo>
                    <a:lnTo>
                      <a:pt x="1043" y="12"/>
                    </a:lnTo>
                    <a:lnTo>
                      <a:pt x="1059" y="25"/>
                    </a:lnTo>
                    <a:lnTo>
                      <a:pt x="1072" y="42"/>
                    </a:lnTo>
                    <a:lnTo>
                      <a:pt x="1081" y="61"/>
                    </a:lnTo>
                    <a:lnTo>
                      <a:pt x="1086" y="81"/>
                    </a:lnTo>
                    <a:lnTo>
                      <a:pt x="1086" y="104"/>
                    </a:lnTo>
                    <a:lnTo>
                      <a:pt x="941" y="1361"/>
                    </a:lnTo>
                    <a:lnTo>
                      <a:pt x="1613" y="1361"/>
                    </a:lnTo>
                    <a:lnTo>
                      <a:pt x="1632" y="1363"/>
                    </a:lnTo>
                    <a:lnTo>
                      <a:pt x="1649" y="1367"/>
                    </a:lnTo>
                    <a:lnTo>
                      <a:pt x="1664" y="1374"/>
                    </a:lnTo>
                    <a:lnTo>
                      <a:pt x="1678" y="1384"/>
                    </a:lnTo>
                    <a:lnTo>
                      <a:pt x="1689" y="1398"/>
                    </a:lnTo>
                    <a:lnTo>
                      <a:pt x="1698" y="1418"/>
                    </a:lnTo>
                    <a:lnTo>
                      <a:pt x="1703" y="1439"/>
                    </a:lnTo>
                    <a:lnTo>
                      <a:pt x="1701" y="1460"/>
                    </a:lnTo>
                    <a:lnTo>
                      <a:pt x="1692" y="1482"/>
                    </a:lnTo>
                    <a:lnTo>
                      <a:pt x="783" y="3270"/>
                    </a:lnTo>
                    <a:lnTo>
                      <a:pt x="772" y="3286"/>
                    </a:lnTo>
                    <a:lnTo>
                      <a:pt x="758" y="3300"/>
                    </a:lnTo>
                    <a:lnTo>
                      <a:pt x="741" y="3310"/>
                    </a:lnTo>
                    <a:lnTo>
                      <a:pt x="723" y="3316"/>
                    </a:lnTo>
                    <a:lnTo>
                      <a:pt x="704" y="3318"/>
                    </a:lnTo>
                    <a:lnTo>
                      <a:pt x="691" y="3318"/>
                    </a:lnTo>
                    <a:lnTo>
                      <a:pt x="679" y="3315"/>
                    </a:lnTo>
                    <a:lnTo>
                      <a:pt x="659" y="3307"/>
                    </a:lnTo>
                    <a:lnTo>
                      <a:pt x="643" y="3296"/>
                    </a:lnTo>
                    <a:lnTo>
                      <a:pt x="630" y="3281"/>
                    </a:lnTo>
                    <a:lnTo>
                      <a:pt x="621" y="3264"/>
                    </a:lnTo>
                    <a:lnTo>
                      <a:pt x="616" y="3245"/>
                    </a:lnTo>
                    <a:lnTo>
                      <a:pt x="616" y="3225"/>
                    </a:lnTo>
                    <a:lnTo>
                      <a:pt x="752" y="2014"/>
                    </a:lnTo>
                    <a:lnTo>
                      <a:pt x="89" y="2014"/>
                    </a:lnTo>
                    <a:lnTo>
                      <a:pt x="70" y="2012"/>
                    </a:lnTo>
                    <a:lnTo>
                      <a:pt x="53" y="2005"/>
                    </a:lnTo>
                    <a:lnTo>
                      <a:pt x="38" y="1994"/>
                    </a:lnTo>
                    <a:lnTo>
                      <a:pt x="24" y="1981"/>
                    </a:lnTo>
                    <a:lnTo>
                      <a:pt x="13" y="1966"/>
                    </a:lnTo>
                    <a:lnTo>
                      <a:pt x="5" y="1950"/>
                    </a:lnTo>
                    <a:lnTo>
                      <a:pt x="0" y="1932"/>
                    </a:lnTo>
                    <a:lnTo>
                      <a:pt x="0" y="1912"/>
                    </a:lnTo>
                    <a:lnTo>
                      <a:pt x="2" y="1894"/>
                    </a:lnTo>
                    <a:lnTo>
                      <a:pt x="10" y="1877"/>
                    </a:lnTo>
                    <a:lnTo>
                      <a:pt x="919" y="50"/>
                    </a:lnTo>
                    <a:lnTo>
                      <a:pt x="930" y="33"/>
                    </a:lnTo>
                    <a:lnTo>
                      <a:pt x="943" y="18"/>
                    </a:lnTo>
                    <a:lnTo>
                      <a:pt x="960" y="8"/>
                    </a:lnTo>
                    <a:lnTo>
                      <a:pt x="979" y="2"/>
                    </a:lnTo>
                    <a:lnTo>
                      <a:pt x="998" y="0"/>
                    </a:lnTo>
                    <a:close/>
                  </a:path>
                </a:pathLst>
              </a:custGeom>
              <a:solidFill>
                <a:srgbClr val="06325C"/>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Arial"/>
                </a:endParaRPr>
              </a:p>
            </p:txBody>
          </p:sp>
        </p:grpSp>
      </p:grpSp>
      <p:sp>
        <p:nvSpPr>
          <p:cNvPr id="33" name="TextBox 32">
            <a:extLst>
              <a:ext uri="{FF2B5EF4-FFF2-40B4-BE49-F238E27FC236}">
                <a16:creationId xmlns:a16="http://schemas.microsoft.com/office/drawing/2014/main" id="{A4BCF8EE-13E8-B9C6-DF7E-5FDB3E045445}"/>
              </a:ext>
            </a:extLst>
          </p:cNvPr>
          <p:cNvSpPr txBox="1"/>
          <p:nvPr/>
        </p:nvSpPr>
        <p:spPr>
          <a:xfrm>
            <a:off x="4274993" y="3098598"/>
            <a:ext cx="1762641" cy="646331"/>
          </a:xfrm>
          <a:prstGeom prst="rect">
            <a:avLst/>
          </a:prstGeom>
          <a:noFill/>
          <a:ln>
            <a:noFill/>
          </a:ln>
        </p:spPr>
        <p:txBody>
          <a:bodyPr wrap="square" lIns="0" tIns="0" rIns="0" bIns="0" rtlCol="0" anchor="t" anchorCtr="0">
            <a:spAutoFit/>
          </a:bodyPr>
          <a:lstStyle>
            <a:defPPr>
              <a:defRPr lang="en-US"/>
            </a:defPPr>
            <a:lvl1pPr marL="95250" indent="-95250" fontAlgn="ctr">
              <a:buFont typeface="Arial" pitchFamily="34" charset="0"/>
              <a:buChar char="•"/>
              <a:defRPr sz="1000"/>
            </a:lvl1pPr>
          </a:lstStyle>
          <a:p>
            <a:pPr marL="0" indent="0" algn="ctr">
              <a:spcAft>
                <a:spcPct val="0"/>
              </a:spcAft>
              <a:buSzPct val="90000"/>
              <a:buFont typeface="Arial" pitchFamily="34" charset="0"/>
              <a:buNone/>
            </a:pPr>
            <a:endParaRPr lang="en-US" sz="1050" dirty="0">
              <a:solidFill>
                <a:srgbClr val="000000"/>
              </a:solidFill>
              <a:latin typeface="Arial" panose="020B0604020202020204" pitchFamily="34" charset="0"/>
              <a:cs typeface="Arial" panose="020B0604020202020204" pitchFamily="34" charset="0"/>
            </a:endParaRPr>
          </a:p>
          <a:p>
            <a:pPr marL="0" indent="0" algn="ctr">
              <a:spcAft>
                <a:spcPct val="0"/>
              </a:spcAft>
              <a:buSzPct val="90000"/>
              <a:buFont typeface="Arial" pitchFamily="34" charset="0"/>
              <a:buNone/>
            </a:pPr>
            <a:r>
              <a:rPr lang="en-US" sz="1050" dirty="0">
                <a:solidFill>
                  <a:srgbClr val="000000"/>
                </a:solidFill>
                <a:latin typeface="Arial" panose="020B0604020202020204" pitchFamily="34" charset="0"/>
                <a:cs typeface="Arial" panose="020B0604020202020204" pitchFamily="34" charset="0"/>
              </a:rPr>
              <a:t>Behind-the-meter battery systems</a:t>
            </a:r>
          </a:p>
          <a:p>
            <a:pPr marL="0" indent="0" algn="ctr">
              <a:spcAft>
                <a:spcPct val="0"/>
              </a:spcAft>
              <a:buSzPct val="90000"/>
              <a:buFont typeface="Arial" pitchFamily="34" charset="0"/>
              <a:buNone/>
            </a:pPr>
            <a:endParaRPr lang="en-US" sz="1050" b="1" dirty="0">
              <a:solidFill>
                <a:srgbClr val="000000"/>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9D166D29-3847-378A-AF96-AA8645D09E27}"/>
              </a:ext>
            </a:extLst>
          </p:cNvPr>
          <p:cNvSpPr txBox="1"/>
          <p:nvPr/>
        </p:nvSpPr>
        <p:spPr>
          <a:xfrm>
            <a:off x="8451457" y="3090059"/>
            <a:ext cx="1762641" cy="484748"/>
          </a:xfrm>
          <a:prstGeom prst="rect">
            <a:avLst/>
          </a:prstGeom>
          <a:noFill/>
          <a:ln>
            <a:noFill/>
          </a:ln>
        </p:spPr>
        <p:txBody>
          <a:bodyPr wrap="square" lIns="0" tIns="0" rIns="0" bIns="0" rtlCol="0" anchor="t" anchorCtr="0">
            <a:spAutoFit/>
          </a:bodyPr>
          <a:lstStyle>
            <a:defPPr>
              <a:defRPr lang="en-US"/>
            </a:defPPr>
            <a:lvl1pPr marL="95250" indent="-95250" fontAlgn="ctr">
              <a:buFont typeface="Arial" pitchFamily="34" charset="0"/>
              <a:buChar char="•"/>
              <a:defRPr sz="1000"/>
            </a:lvl1pPr>
          </a:lstStyle>
          <a:p>
            <a:pPr marL="0" indent="0" algn="ctr">
              <a:spcAft>
                <a:spcPct val="0"/>
              </a:spcAft>
              <a:buSzPct val="90000"/>
              <a:buFont typeface="Arial" pitchFamily="34" charset="0"/>
              <a:buNone/>
            </a:pPr>
            <a:endParaRPr lang="en-US" sz="1050" dirty="0">
              <a:solidFill>
                <a:srgbClr val="000000"/>
              </a:solidFill>
              <a:latin typeface="Arial" panose="020B0604020202020204" pitchFamily="34" charset="0"/>
              <a:cs typeface="Arial" panose="020B0604020202020204" pitchFamily="34" charset="0"/>
            </a:endParaRPr>
          </a:p>
          <a:p>
            <a:pPr marL="0" indent="0" algn="ctr">
              <a:spcAft>
                <a:spcPct val="0"/>
              </a:spcAft>
              <a:buSzPct val="90000"/>
              <a:buFont typeface="Arial" pitchFamily="34" charset="0"/>
              <a:buNone/>
            </a:pPr>
            <a:r>
              <a:rPr lang="en-US" sz="1050" dirty="0">
                <a:solidFill>
                  <a:srgbClr val="000000"/>
                </a:solidFill>
                <a:latin typeface="Arial" panose="020B0604020202020204" pitchFamily="34" charset="0"/>
                <a:cs typeface="Arial" panose="020B0604020202020204" pitchFamily="34" charset="0"/>
              </a:rPr>
              <a:t>PV Kit Supplier (Residential Rooftop)</a:t>
            </a:r>
          </a:p>
        </p:txBody>
      </p:sp>
      <p:cxnSp>
        <p:nvCxnSpPr>
          <p:cNvPr id="35" name="Straight Connector 34">
            <a:extLst>
              <a:ext uri="{FF2B5EF4-FFF2-40B4-BE49-F238E27FC236}">
                <a16:creationId xmlns:a16="http://schemas.microsoft.com/office/drawing/2014/main" id="{CEB2F293-510D-DCF2-7666-FD6D93573864}"/>
              </a:ext>
            </a:extLst>
          </p:cNvPr>
          <p:cNvCxnSpPr/>
          <p:nvPr/>
        </p:nvCxnSpPr>
        <p:spPr>
          <a:xfrm flipH="1">
            <a:off x="1886694" y="1734344"/>
            <a:ext cx="2854" cy="4808195"/>
          </a:xfrm>
          <a:prstGeom prst="line">
            <a:avLst/>
          </a:prstGeom>
          <a:noFill/>
          <a:ln w="9525" cap="flat" cmpd="sng" algn="ctr">
            <a:solidFill>
              <a:srgbClr val="517496">
                <a:lumMod val="60000"/>
                <a:lumOff val="40000"/>
              </a:srgbClr>
            </a:solidFill>
            <a:prstDash val="dash"/>
          </a:ln>
          <a:effectLst/>
        </p:spPr>
      </p:cxnSp>
      <p:cxnSp>
        <p:nvCxnSpPr>
          <p:cNvPr id="36" name="Straight Connector 35">
            <a:extLst>
              <a:ext uri="{FF2B5EF4-FFF2-40B4-BE49-F238E27FC236}">
                <a16:creationId xmlns:a16="http://schemas.microsoft.com/office/drawing/2014/main" id="{CF0B16A5-120B-EAB5-B19B-286D2D986343}"/>
              </a:ext>
            </a:extLst>
          </p:cNvPr>
          <p:cNvCxnSpPr/>
          <p:nvPr/>
        </p:nvCxnSpPr>
        <p:spPr>
          <a:xfrm flipH="1">
            <a:off x="3947500" y="1734343"/>
            <a:ext cx="41275" cy="4824000"/>
          </a:xfrm>
          <a:prstGeom prst="line">
            <a:avLst/>
          </a:prstGeom>
          <a:noFill/>
          <a:ln w="9525" cap="flat" cmpd="sng" algn="ctr">
            <a:solidFill>
              <a:srgbClr val="517496">
                <a:lumMod val="60000"/>
                <a:lumOff val="40000"/>
              </a:srgbClr>
            </a:solidFill>
            <a:prstDash val="dash"/>
          </a:ln>
          <a:effectLst/>
        </p:spPr>
      </p:cxnSp>
      <p:cxnSp>
        <p:nvCxnSpPr>
          <p:cNvPr id="37" name="Straight Connector 36">
            <a:extLst>
              <a:ext uri="{FF2B5EF4-FFF2-40B4-BE49-F238E27FC236}">
                <a16:creationId xmlns:a16="http://schemas.microsoft.com/office/drawing/2014/main" id="{960C7806-6273-606C-307D-D468EC2ADECC}"/>
              </a:ext>
            </a:extLst>
          </p:cNvPr>
          <p:cNvCxnSpPr/>
          <p:nvPr/>
        </p:nvCxnSpPr>
        <p:spPr>
          <a:xfrm flipH="1">
            <a:off x="6108592" y="1734343"/>
            <a:ext cx="41275" cy="4824000"/>
          </a:xfrm>
          <a:prstGeom prst="line">
            <a:avLst/>
          </a:prstGeom>
          <a:noFill/>
          <a:ln w="9525" cap="flat" cmpd="sng" algn="ctr">
            <a:solidFill>
              <a:srgbClr val="517496">
                <a:lumMod val="60000"/>
                <a:lumOff val="40000"/>
              </a:srgbClr>
            </a:solidFill>
            <a:prstDash val="dash"/>
          </a:ln>
          <a:effectLst/>
        </p:spPr>
      </p:cxnSp>
      <p:cxnSp>
        <p:nvCxnSpPr>
          <p:cNvPr id="38" name="Straight Connector 37">
            <a:extLst>
              <a:ext uri="{FF2B5EF4-FFF2-40B4-BE49-F238E27FC236}">
                <a16:creationId xmlns:a16="http://schemas.microsoft.com/office/drawing/2014/main" id="{8C2D426D-4A88-1E0C-E7ED-ED0FC56134FC}"/>
              </a:ext>
            </a:extLst>
          </p:cNvPr>
          <p:cNvCxnSpPr/>
          <p:nvPr/>
        </p:nvCxnSpPr>
        <p:spPr>
          <a:xfrm flipH="1">
            <a:off x="8269685" y="1734343"/>
            <a:ext cx="41275" cy="4824000"/>
          </a:xfrm>
          <a:prstGeom prst="line">
            <a:avLst/>
          </a:prstGeom>
          <a:noFill/>
          <a:ln w="9525" cap="flat" cmpd="sng" algn="ctr">
            <a:solidFill>
              <a:srgbClr val="517496">
                <a:lumMod val="60000"/>
                <a:lumOff val="40000"/>
              </a:srgbClr>
            </a:solidFill>
            <a:prstDash val="dash"/>
          </a:ln>
          <a:effectLst/>
        </p:spPr>
      </p:cxnSp>
      <p:grpSp>
        <p:nvGrpSpPr>
          <p:cNvPr id="39" name="Group 38">
            <a:extLst>
              <a:ext uri="{FF2B5EF4-FFF2-40B4-BE49-F238E27FC236}">
                <a16:creationId xmlns:a16="http://schemas.microsoft.com/office/drawing/2014/main" id="{6A548644-8D4A-711B-674D-C998933239C8}"/>
              </a:ext>
            </a:extLst>
          </p:cNvPr>
          <p:cNvGrpSpPr/>
          <p:nvPr/>
        </p:nvGrpSpPr>
        <p:grpSpPr>
          <a:xfrm>
            <a:off x="2296369" y="1791900"/>
            <a:ext cx="1262063" cy="1260475"/>
            <a:chOff x="802184" y="1494443"/>
            <a:chExt cx="1262063" cy="1260475"/>
          </a:xfrm>
        </p:grpSpPr>
        <p:sp>
          <p:nvSpPr>
            <p:cNvPr id="40" name="Oval 80">
              <a:extLst>
                <a:ext uri="{FF2B5EF4-FFF2-40B4-BE49-F238E27FC236}">
                  <a16:creationId xmlns:a16="http://schemas.microsoft.com/office/drawing/2014/main" id="{C75AD777-92A4-B41C-F8CF-A9491D7547C7}"/>
                </a:ext>
              </a:extLst>
            </p:cNvPr>
            <p:cNvSpPr>
              <a:spLocks noChangeArrowheads="1"/>
            </p:cNvSpPr>
            <p:nvPr/>
          </p:nvSpPr>
          <p:spPr bwMode="auto">
            <a:xfrm>
              <a:off x="802184" y="1494443"/>
              <a:ext cx="1262063" cy="1260475"/>
            </a:xfrm>
            <a:prstGeom prst="ellipse">
              <a:avLst/>
            </a:prstGeom>
            <a:solidFill>
              <a:schemeClr val="accent3"/>
            </a:solidFill>
            <a:ln>
              <a:noFill/>
            </a:ln>
            <a:effectLst>
              <a:outerShdw blurRad="63500" sx="102000" sy="102000" algn="ctr" rotWithShape="0">
                <a:srgbClr val="FFFFFF">
                  <a:alpha val="40000"/>
                </a:srgbClr>
              </a:outerShdw>
            </a:effec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ndParaRPr>
            </a:p>
          </p:txBody>
        </p:sp>
        <p:sp>
          <p:nvSpPr>
            <p:cNvPr id="41" name="Oval 81">
              <a:extLst>
                <a:ext uri="{FF2B5EF4-FFF2-40B4-BE49-F238E27FC236}">
                  <a16:creationId xmlns:a16="http://schemas.microsoft.com/office/drawing/2014/main" id="{83B5696A-756D-AA75-E49C-543BFE43319C}"/>
                </a:ext>
              </a:extLst>
            </p:cNvPr>
            <p:cNvSpPr>
              <a:spLocks noChangeArrowheads="1"/>
            </p:cNvSpPr>
            <p:nvPr/>
          </p:nvSpPr>
          <p:spPr bwMode="auto">
            <a:xfrm>
              <a:off x="1035924" y="1726374"/>
              <a:ext cx="794582" cy="79661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ndParaRPr>
            </a:p>
          </p:txBody>
        </p:sp>
        <p:pic>
          <p:nvPicPr>
            <p:cNvPr id="42" name="Picture 8" descr="C:\Users\RossB\Downloads\1467730622_solar_panel.png">
              <a:extLst>
                <a:ext uri="{FF2B5EF4-FFF2-40B4-BE49-F238E27FC236}">
                  <a16:creationId xmlns:a16="http://schemas.microsoft.com/office/drawing/2014/main" id="{B74AF80F-B4A5-834D-A3BC-8CA2AF6A8A1F}"/>
                </a:ext>
              </a:extLst>
            </p:cNvPr>
            <p:cNvPicPr>
              <a:picLocks noChangeAspect="1" noChangeArrowheads="1"/>
            </p:cNvPicPr>
            <p:nvPr/>
          </p:nvPicPr>
          <p:blipFill>
            <a:blip r:embed="rId7" cstate="print">
              <a:duotone>
                <a:srgbClr val="1E2D4E">
                  <a:shade val="45000"/>
                  <a:satMod val="135000"/>
                </a:srgbClr>
                <a:prstClr val="white"/>
              </a:duotone>
              <a:extLst>
                <a:ext uri="{BEBA8EAE-BF5A-486C-A8C5-ECC9F3942E4B}">
                  <a14:imgProps xmlns:a14="http://schemas.microsoft.com/office/drawing/2010/main">
                    <a14:imgLayer r:embed="rId8">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1159981" y="1815179"/>
              <a:ext cx="522514" cy="52251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3" name="Group 42">
            <a:extLst>
              <a:ext uri="{FF2B5EF4-FFF2-40B4-BE49-F238E27FC236}">
                <a16:creationId xmlns:a16="http://schemas.microsoft.com/office/drawing/2014/main" id="{7F6B2737-126F-DC4E-2960-B16F7530098F}"/>
              </a:ext>
            </a:extLst>
          </p:cNvPr>
          <p:cNvGrpSpPr/>
          <p:nvPr/>
        </p:nvGrpSpPr>
        <p:grpSpPr>
          <a:xfrm>
            <a:off x="6570960" y="1791900"/>
            <a:ext cx="1258888" cy="1260475"/>
            <a:chOff x="5320748" y="1494443"/>
            <a:chExt cx="1258888" cy="1260475"/>
          </a:xfrm>
        </p:grpSpPr>
        <p:sp>
          <p:nvSpPr>
            <p:cNvPr id="44" name="Oval 108">
              <a:extLst>
                <a:ext uri="{FF2B5EF4-FFF2-40B4-BE49-F238E27FC236}">
                  <a16:creationId xmlns:a16="http://schemas.microsoft.com/office/drawing/2014/main" id="{2FE50823-72A4-BC2E-3F96-A6CC02546C3D}"/>
                </a:ext>
              </a:extLst>
            </p:cNvPr>
            <p:cNvSpPr>
              <a:spLocks noChangeArrowheads="1"/>
            </p:cNvSpPr>
            <p:nvPr/>
          </p:nvSpPr>
          <p:spPr bwMode="auto">
            <a:xfrm>
              <a:off x="5320748" y="1494443"/>
              <a:ext cx="1258888" cy="1260475"/>
            </a:xfrm>
            <a:prstGeom prst="ellipse">
              <a:avLst/>
            </a:prstGeom>
            <a:solidFill>
              <a:schemeClr val="accent3"/>
            </a:solidFill>
            <a:ln>
              <a:noFill/>
            </a:ln>
            <a:effectLst>
              <a:outerShdw blurRad="63500" sx="102000" sy="102000" algn="ctr" rotWithShape="0">
                <a:srgbClr val="FFFFFF">
                  <a:alpha val="40000"/>
                </a:srgbClr>
              </a:outerShdw>
            </a:effec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ndParaRPr>
            </a:p>
          </p:txBody>
        </p:sp>
        <p:sp>
          <p:nvSpPr>
            <p:cNvPr id="45" name="Oval 109">
              <a:extLst>
                <a:ext uri="{FF2B5EF4-FFF2-40B4-BE49-F238E27FC236}">
                  <a16:creationId xmlns:a16="http://schemas.microsoft.com/office/drawing/2014/main" id="{E8CCB011-2859-EF14-3E44-1348C8DD4B9D}"/>
                </a:ext>
              </a:extLst>
            </p:cNvPr>
            <p:cNvSpPr>
              <a:spLocks noChangeArrowheads="1"/>
            </p:cNvSpPr>
            <p:nvPr/>
          </p:nvSpPr>
          <p:spPr bwMode="auto">
            <a:xfrm>
              <a:off x="5551886" y="1726374"/>
              <a:ext cx="796612" cy="796612"/>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IN" sz="1800" b="0" i="0" u="none" strike="noStrike" kern="0" cap="none" spc="0" normalizeH="0" baseline="0" noProof="0" dirty="0">
                <a:ln>
                  <a:noFill/>
                </a:ln>
                <a:solidFill>
                  <a:srgbClr val="000000"/>
                </a:solidFill>
                <a:effectLst/>
                <a:uLnTx/>
                <a:uFillTx/>
                <a:latin typeface="Arial"/>
              </a:endParaRPr>
            </a:p>
          </p:txBody>
        </p:sp>
        <p:pic>
          <p:nvPicPr>
            <p:cNvPr id="46" name="Picture 6" descr="C:\Users\RossB\Downloads\1440100164_car_battery.png">
              <a:extLst>
                <a:ext uri="{FF2B5EF4-FFF2-40B4-BE49-F238E27FC236}">
                  <a16:creationId xmlns:a16="http://schemas.microsoft.com/office/drawing/2014/main" id="{202A3243-0C79-407A-FA59-9867D2F3A94E}"/>
                </a:ext>
              </a:extLst>
            </p:cNvPr>
            <p:cNvPicPr>
              <a:picLocks noChangeAspect="1" noChangeArrowheads="1"/>
            </p:cNvPicPr>
            <p:nvPr/>
          </p:nvPicPr>
          <p:blipFill>
            <a:blip r:embed="rId9" cstate="print">
              <a:duotone>
                <a:srgbClr val="1E2D4E">
                  <a:shade val="45000"/>
                  <a:satMod val="135000"/>
                </a:srgbClr>
                <a:prstClr val="white"/>
              </a:duotone>
              <a:extLst>
                <a:ext uri="{BEBA8EAE-BF5A-486C-A8C5-ECC9F3942E4B}">
                  <a14:imgProps xmlns:a14="http://schemas.microsoft.com/office/drawing/2010/main">
                    <a14:imgLayer r:embed="rId10">
                      <a14:imgEffect>
                        <a14:colorTemperature colorTemp="6375"/>
                      </a14:imgEffect>
                      <a14:imgEffect>
                        <a14:saturation sat="195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5687397" y="1858006"/>
              <a:ext cx="509133" cy="506517"/>
            </a:xfrm>
            <a:prstGeom prst="rect">
              <a:avLst/>
            </a:prstGeom>
            <a:noFill/>
            <a:extLst>
              <a:ext uri="{909E8E84-426E-40DD-AFC4-6F175D3DCCD1}">
                <a14:hiddenFill xmlns:a14="http://schemas.microsoft.com/office/drawing/2010/main">
                  <a:solidFill>
                    <a:srgbClr val="FFFFFF"/>
                  </a:solidFill>
                </a14:hiddenFill>
              </a:ext>
            </a:extLst>
          </p:spPr>
        </p:pic>
      </p:grpSp>
      <p:sp>
        <p:nvSpPr>
          <p:cNvPr id="47" name="TextBox 46">
            <a:extLst>
              <a:ext uri="{FF2B5EF4-FFF2-40B4-BE49-F238E27FC236}">
                <a16:creationId xmlns:a16="http://schemas.microsoft.com/office/drawing/2014/main" id="{77627490-4DFD-7929-971A-9EF810E63D34}"/>
              </a:ext>
            </a:extLst>
          </p:cNvPr>
          <p:cNvSpPr txBox="1"/>
          <p:nvPr/>
        </p:nvSpPr>
        <p:spPr>
          <a:xfrm>
            <a:off x="6564710" y="3090059"/>
            <a:ext cx="1708243" cy="484748"/>
          </a:xfrm>
          <a:prstGeom prst="rect">
            <a:avLst/>
          </a:prstGeom>
          <a:noFill/>
          <a:ln>
            <a:noFill/>
          </a:ln>
        </p:spPr>
        <p:txBody>
          <a:bodyPr wrap="square" lIns="0" tIns="0" rIns="0" bIns="0" rtlCol="0" anchor="t" anchorCtr="0">
            <a:spAutoFit/>
          </a:bodyPr>
          <a:lstStyle>
            <a:defPPr>
              <a:defRPr lang="en-US"/>
            </a:defPPr>
            <a:lvl1pPr marL="95250" indent="-95250" fontAlgn="ctr">
              <a:buFont typeface="Arial" pitchFamily="34" charset="0"/>
              <a:buChar char="•"/>
              <a:defRPr sz="1000"/>
            </a:lvl1pPr>
          </a:lstStyle>
          <a:p>
            <a:pPr marL="0" indent="0" algn="ctr">
              <a:spcAft>
                <a:spcPct val="0"/>
              </a:spcAft>
              <a:buSzPct val="90000"/>
              <a:buFont typeface="Arial" pitchFamily="34" charset="0"/>
              <a:buNone/>
            </a:pPr>
            <a:endParaRPr lang="en-US" sz="1050" dirty="0">
              <a:solidFill>
                <a:srgbClr val="000000"/>
              </a:solidFill>
              <a:latin typeface="Arial" panose="020B0604020202020204" pitchFamily="34" charset="0"/>
              <a:cs typeface="Arial" panose="020B0604020202020204" pitchFamily="34" charset="0"/>
            </a:endParaRPr>
          </a:p>
          <a:p>
            <a:pPr marL="0" indent="0" algn="ctr">
              <a:spcAft>
                <a:spcPct val="0"/>
              </a:spcAft>
              <a:buSzPct val="90000"/>
              <a:buFont typeface="Arial" pitchFamily="34" charset="0"/>
              <a:buNone/>
            </a:pPr>
            <a:r>
              <a:rPr lang="en-US" sz="1050" dirty="0">
                <a:solidFill>
                  <a:srgbClr val="000000"/>
                </a:solidFill>
                <a:latin typeface="Arial" panose="020B0604020202020204" pitchFamily="34" charset="0"/>
                <a:cs typeface="Arial" panose="020B0604020202020204" pitchFamily="34" charset="0"/>
              </a:rPr>
              <a:t>Finance, Installation &amp; Maintenance</a:t>
            </a:r>
            <a:endParaRPr lang="en-US" sz="1050" b="1" dirty="0">
              <a:solidFill>
                <a:srgbClr val="000000"/>
              </a:solidFill>
              <a:latin typeface="Arial" panose="020B0604020202020204" pitchFamily="34" charset="0"/>
              <a:cs typeface="Arial" panose="020B0604020202020204" pitchFamily="34" charset="0"/>
            </a:endParaRPr>
          </a:p>
        </p:txBody>
      </p:sp>
      <p:pic>
        <p:nvPicPr>
          <p:cNvPr id="48" name="Picture 116">
            <a:extLst>
              <a:ext uri="{FF2B5EF4-FFF2-40B4-BE49-F238E27FC236}">
                <a16:creationId xmlns:a16="http://schemas.microsoft.com/office/drawing/2014/main" id="{DF79C122-56BB-C9E9-81DC-95515A0FAFE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210555" y="4994464"/>
            <a:ext cx="314364" cy="3143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 name="Picture 120">
            <a:extLst>
              <a:ext uri="{FF2B5EF4-FFF2-40B4-BE49-F238E27FC236}">
                <a16:creationId xmlns:a16="http://schemas.microsoft.com/office/drawing/2014/main" id="{F347DF40-5412-ED64-94D5-E84D38E5E85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335959" y="4990091"/>
            <a:ext cx="269081" cy="1047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 name="Picture 123">
            <a:extLst>
              <a:ext uri="{FF2B5EF4-FFF2-40B4-BE49-F238E27FC236}">
                <a16:creationId xmlns:a16="http://schemas.microsoft.com/office/drawing/2014/main" id="{E057DF22-EBFC-E657-93E2-5CED5F480D1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648181" y="5318310"/>
            <a:ext cx="506580" cy="1082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 name="Picture 126">
            <a:extLst>
              <a:ext uri="{FF2B5EF4-FFF2-40B4-BE49-F238E27FC236}">
                <a16:creationId xmlns:a16="http://schemas.microsoft.com/office/drawing/2014/main" id="{59F3E946-7B00-7324-7450-C3F7BC82CC59}"/>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383777" y="5244964"/>
            <a:ext cx="293271" cy="181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2" name="Picture 129">
            <a:extLst>
              <a:ext uri="{FF2B5EF4-FFF2-40B4-BE49-F238E27FC236}">
                <a16:creationId xmlns:a16="http://schemas.microsoft.com/office/drawing/2014/main" id="{F03D9EA2-F2BA-852A-69C7-0CB9CD901FF5}"/>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742138" y="5003344"/>
            <a:ext cx="438026" cy="135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3" name="TextBox 52">
            <a:extLst>
              <a:ext uri="{FF2B5EF4-FFF2-40B4-BE49-F238E27FC236}">
                <a16:creationId xmlns:a16="http://schemas.microsoft.com/office/drawing/2014/main" id="{EA6215C0-31A9-1A69-91A2-573D54CC73DB}"/>
              </a:ext>
            </a:extLst>
          </p:cNvPr>
          <p:cNvSpPr txBox="1"/>
          <p:nvPr/>
        </p:nvSpPr>
        <p:spPr>
          <a:xfrm>
            <a:off x="2046263" y="4615374"/>
            <a:ext cx="1872208"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a:rPr>
              <a:t>Inverters/PV Monitoring</a:t>
            </a:r>
          </a:p>
        </p:txBody>
      </p:sp>
      <p:sp>
        <p:nvSpPr>
          <p:cNvPr id="54" name="TextBox 53">
            <a:extLst>
              <a:ext uri="{FF2B5EF4-FFF2-40B4-BE49-F238E27FC236}">
                <a16:creationId xmlns:a16="http://schemas.microsoft.com/office/drawing/2014/main" id="{B15AE72D-AC50-2301-834B-BC185855F07C}"/>
              </a:ext>
            </a:extLst>
          </p:cNvPr>
          <p:cNvSpPr txBox="1"/>
          <p:nvPr/>
        </p:nvSpPr>
        <p:spPr>
          <a:xfrm>
            <a:off x="2042071" y="3770328"/>
            <a:ext cx="1872208"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a:rPr>
              <a:t>PV Modules</a:t>
            </a:r>
          </a:p>
        </p:txBody>
      </p:sp>
      <p:pic>
        <p:nvPicPr>
          <p:cNvPr id="55" name="Picture 132" descr="http://cleantechnica.com/files/2015/12/Trina-2.jpg">
            <a:extLst>
              <a:ext uri="{FF2B5EF4-FFF2-40B4-BE49-F238E27FC236}">
                <a16:creationId xmlns:a16="http://schemas.microsoft.com/office/drawing/2014/main" id="{23D33F0D-49F7-435E-BCE2-C1CD7070AB30}"/>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159298" y="3986353"/>
            <a:ext cx="399440" cy="139905"/>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135">
            <a:extLst>
              <a:ext uri="{FF2B5EF4-FFF2-40B4-BE49-F238E27FC236}">
                <a16:creationId xmlns:a16="http://schemas.microsoft.com/office/drawing/2014/main" id="{70BC645B-34DB-EE68-59B8-9C6FC4FF66CE}"/>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90466" y="4232945"/>
            <a:ext cx="551673" cy="84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7" name="Picture 137" descr="http://cleantechnica.com/files/2015/05/jinko-solar-logo.png">
            <a:extLst>
              <a:ext uri="{FF2B5EF4-FFF2-40B4-BE49-F238E27FC236}">
                <a16:creationId xmlns:a16="http://schemas.microsoft.com/office/drawing/2014/main" id="{60713812-D92A-B0E9-BDF6-388297C411AF}"/>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2649287" y="3998436"/>
            <a:ext cx="379689" cy="235850"/>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139" descr="http://c1cleantechnicacom.wpengine.netdna-cdn.com/files/2015/03/JASolar-1.jpg">
            <a:extLst>
              <a:ext uri="{FF2B5EF4-FFF2-40B4-BE49-F238E27FC236}">
                <a16:creationId xmlns:a16="http://schemas.microsoft.com/office/drawing/2014/main" id="{4C7310D4-3940-B234-D4C1-5AE53443F179}"/>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113517" y="4025884"/>
            <a:ext cx="374982" cy="7437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41" descr="http://www.hanwha-qcells.com/fileadmin/_processed_/csm_00_hanwha_qcells_logo_2c7b2296ce.jpg">
            <a:extLst>
              <a:ext uri="{FF2B5EF4-FFF2-40B4-BE49-F238E27FC236}">
                <a16:creationId xmlns:a16="http://schemas.microsoft.com/office/drawing/2014/main" id="{A2C860D2-662C-A4EA-C94E-70FCFEA2D939}"/>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927205" y="4265279"/>
            <a:ext cx="455113" cy="121184"/>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143" descr="https://upload.wikimedia.org/wikipedia/en/0/06/FSLR_logo.png">
            <a:extLst>
              <a:ext uri="{FF2B5EF4-FFF2-40B4-BE49-F238E27FC236}">
                <a16:creationId xmlns:a16="http://schemas.microsoft.com/office/drawing/2014/main" id="{2B6F1B51-C125-6EAD-C438-A650A1FFF19A}"/>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3443248" y="4130369"/>
            <a:ext cx="308163" cy="238345"/>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46" descr="https://upload.wikimedia.org/wikipedia/en/8/80/Yingli_Green_Energy_logo.jpg">
            <a:extLst>
              <a:ext uri="{FF2B5EF4-FFF2-40B4-BE49-F238E27FC236}">
                <a16:creationId xmlns:a16="http://schemas.microsoft.com/office/drawing/2014/main" id="{E5B0D654-68AA-B002-2986-554BF3B613BC}"/>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2092871" y="4346392"/>
            <a:ext cx="364574" cy="230682"/>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148" descr="http://cdn.macrumors.com/article-new/2015/04/silver-sunpower-800x99.png?retina">
            <a:extLst>
              <a:ext uri="{FF2B5EF4-FFF2-40B4-BE49-F238E27FC236}">
                <a16:creationId xmlns:a16="http://schemas.microsoft.com/office/drawing/2014/main" id="{1DCD3247-6073-7461-B3EB-EE2959B5225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2497717" y="4468712"/>
            <a:ext cx="603266" cy="74654"/>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151">
            <a:extLst>
              <a:ext uri="{FF2B5EF4-FFF2-40B4-BE49-F238E27FC236}">
                <a16:creationId xmlns:a16="http://schemas.microsoft.com/office/drawing/2014/main" id="{C3ACB2D5-8211-34AC-2DFE-6C63571AA04D}"/>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3244263" y="4445796"/>
            <a:ext cx="576800" cy="1166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20" name="Picture 162" descr="http://www.solarcity.com/sites/default/files/og-sc-logo.png">
            <a:extLst>
              <a:ext uri="{FF2B5EF4-FFF2-40B4-BE49-F238E27FC236}">
                <a16:creationId xmlns:a16="http://schemas.microsoft.com/office/drawing/2014/main" id="{7FDB0F77-2875-F782-1BBE-AA08F34E3A14}"/>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t="25626" b="26476"/>
          <a:stretch/>
        </p:blipFill>
        <p:spPr bwMode="auto">
          <a:xfrm>
            <a:off x="6542233" y="4021113"/>
            <a:ext cx="523799" cy="131715"/>
          </a:xfrm>
          <a:prstGeom prst="rect">
            <a:avLst/>
          </a:prstGeom>
          <a:noFill/>
          <a:extLst>
            <a:ext uri="{909E8E84-426E-40DD-AFC4-6F175D3DCCD1}">
              <a14:hiddenFill xmlns:a14="http://schemas.microsoft.com/office/drawing/2010/main">
                <a:solidFill>
                  <a:srgbClr val="FFFFFF"/>
                </a:solidFill>
              </a14:hiddenFill>
            </a:ext>
          </a:extLst>
        </p:spPr>
      </p:pic>
      <p:pic>
        <p:nvPicPr>
          <p:cNvPr id="321" name="Picture 166" descr="http://www.insidermonkey.com/blog/wp-content/uploads/2014/10/vivint-solar1_0.jpeg">
            <a:extLst>
              <a:ext uri="{FF2B5EF4-FFF2-40B4-BE49-F238E27FC236}">
                <a16:creationId xmlns:a16="http://schemas.microsoft.com/office/drawing/2014/main" id="{A4956718-7D76-89D7-B410-82EFCE9CE51B}"/>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203439" y="4211901"/>
            <a:ext cx="633775" cy="96056"/>
          </a:xfrm>
          <a:prstGeom prst="rect">
            <a:avLst/>
          </a:prstGeom>
          <a:noFill/>
          <a:extLst>
            <a:ext uri="{909E8E84-426E-40DD-AFC4-6F175D3DCCD1}">
              <a14:hiddenFill xmlns:a14="http://schemas.microsoft.com/office/drawing/2010/main">
                <a:solidFill>
                  <a:srgbClr val="FFFFFF"/>
                </a:solidFill>
              </a14:hiddenFill>
            </a:ext>
          </a:extLst>
        </p:spPr>
      </p:pic>
      <p:pic>
        <p:nvPicPr>
          <p:cNvPr id="322" name="Picture 170" descr="http://solarbuildermag.com/wp-content/uploads/2012/11/nrg_logo_new.jpg">
            <a:extLst>
              <a:ext uri="{FF2B5EF4-FFF2-40B4-BE49-F238E27FC236}">
                <a16:creationId xmlns:a16="http://schemas.microsoft.com/office/drawing/2014/main" id="{90BA4F0C-1252-7A11-5018-D7691B4F91BC}"/>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758346" y="4283910"/>
            <a:ext cx="445093" cy="296729"/>
          </a:xfrm>
          <a:prstGeom prst="rect">
            <a:avLst/>
          </a:prstGeom>
          <a:noFill/>
          <a:extLst>
            <a:ext uri="{909E8E84-426E-40DD-AFC4-6F175D3DCCD1}">
              <a14:hiddenFill xmlns:a14="http://schemas.microsoft.com/office/drawing/2010/main">
                <a:solidFill>
                  <a:srgbClr val="FFFFFF"/>
                </a:solidFill>
              </a14:hiddenFill>
            </a:ext>
          </a:extLst>
        </p:spPr>
      </p:pic>
      <p:pic>
        <p:nvPicPr>
          <p:cNvPr id="323" name="Picture 172" descr="https://www.sunrun.com/sites/default/themes/sunrun/public/assets/images/sunrun-logo.png">
            <a:extLst>
              <a:ext uri="{FF2B5EF4-FFF2-40B4-BE49-F238E27FC236}">
                <a16:creationId xmlns:a16="http://schemas.microsoft.com/office/drawing/2014/main" id="{CACB6202-0C8D-8A87-66CD-359252188255}"/>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210060" y="4400152"/>
            <a:ext cx="434914" cy="86343"/>
          </a:xfrm>
          <a:prstGeom prst="rect">
            <a:avLst/>
          </a:prstGeom>
          <a:noFill/>
          <a:extLst>
            <a:ext uri="{909E8E84-426E-40DD-AFC4-6F175D3DCCD1}">
              <a14:hiddenFill xmlns:a14="http://schemas.microsoft.com/office/drawing/2010/main">
                <a:solidFill>
                  <a:srgbClr val="FFFFFF"/>
                </a:solidFill>
              </a14:hiddenFill>
            </a:ext>
          </a:extLst>
        </p:spPr>
      </p:pic>
      <p:pic>
        <p:nvPicPr>
          <p:cNvPr id="324" name="Picture 174" descr="http://getthereferral.com/wp-content/uploads/2014/12/solar-universe1.png">
            <a:extLst>
              <a:ext uri="{FF2B5EF4-FFF2-40B4-BE49-F238E27FC236}">
                <a16:creationId xmlns:a16="http://schemas.microsoft.com/office/drawing/2014/main" id="{1FF3A135-6943-19CB-B634-32C5A6345C06}"/>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7283572" y="4035641"/>
            <a:ext cx="658653" cy="91553"/>
          </a:xfrm>
          <a:prstGeom prst="rect">
            <a:avLst/>
          </a:prstGeom>
          <a:noFill/>
          <a:extLst>
            <a:ext uri="{909E8E84-426E-40DD-AFC4-6F175D3DCCD1}">
              <a14:hiddenFill xmlns:a14="http://schemas.microsoft.com/office/drawing/2010/main">
                <a:solidFill>
                  <a:srgbClr val="FFFFFF"/>
                </a:solidFill>
              </a14:hiddenFill>
            </a:ext>
          </a:extLst>
        </p:spPr>
      </p:pic>
      <p:pic>
        <p:nvPicPr>
          <p:cNvPr id="325" name="Picture 148" descr="http://cdn.macrumors.com/article-new/2015/04/silver-sunpower-800x99.png?retina">
            <a:extLst>
              <a:ext uri="{FF2B5EF4-FFF2-40B4-BE49-F238E27FC236}">
                <a16:creationId xmlns:a16="http://schemas.microsoft.com/office/drawing/2014/main" id="{FDA17D13-0A37-79A2-D675-E4B102763401}"/>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6608324" y="4910285"/>
            <a:ext cx="603266" cy="74654"/>
          </a:xfrm>
          <a:prstGeom prst="rect">
            <a:avLst/>
          </a:prstGeom>
          <a:noFill/>
          <a:extLst>
            <a:ext uri="{909E8E84-426E-40DD-AFC4-6F175D3DCCD1}">
              <a14:hiddenFill xmlns:a14="http://schemas.microsoft.com/office/drawing/2010/main">
                <a:solidFill>
                  <a:srgbClr val="FFFFFF"/>
                </a:solidFill>
              </a14:hiddenFill>
            </a:ext>
          </a:extLst>
        </p:spPr>
      </p:pic>
      <p:sp>
        <p:nvSpPr>
          <p:cNvPr id="326" name="TextBox 325">
            <a:extLst>
              <a:ext uri="{FF2B5EF4-FFF2-40B4-BE49-F238E27FC236}">
                <a16:creationId xmlns:a16="http://schemas.microsoft.com/office/drawing/2014/main" id="{3E32A2AF-5B37-DDEC-06E8-29888804622C}"/>
              </a:ext>
            </a:extLst>
          </p:cNvPr>
          <p:cNvSpPr txBox="1"/>
          <p:nvPr/>
        </p:nvSpPr>
        <p:spPr>
          <a:xfrm>
            <a:off x="6294735" y="3770328"/>
            <a:ext cx="1872208"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a:rPr>
              <a:t>Residential</a:t>
            </a:r>
          </a:p>
        </p:txBody>
      </p:sp>
      <p:sp>
        <p:nvSpPr>
          <p:cNvPr id="327" name="TextBox 326">
            <a:extLst>
              <a:ext uri="{FF2B5EF4-FFF2-40B4-BE49-F238E27FC236}">
                <a16:creationId xmlns:a16="http://schemas.microsoft.com/office/drawing/2014/main" id="{9F3021C4-1250-7575-8E6B-95F3B94220D4}"/>
              </a:ext>
            </a:extLst>
          </p:cNvPr>
          <p:cNvSpPr txBox="1"/>
          <p:nvPr/>
        </p:nvSpPr>
        <p:spPr>
          <a:xfrm>
            <a:off x="6294735" y="4615374"/>
            <a:ext cx="1872208"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a:rPr>
              <a:t>C&amp;I</a:t>
            </a:r>
          </a:p>
        </p:txBody>
      </p:sp>
      <p:pic>
        <p:nvPicPr>
          <p:cNvPr id="328" name="Picture 176" descr="http://buyersguide.pennwell.com/Shared/User/cy05d022a324b34f67ade2f338540a2fd2.gif">
            <a:extLst>
              <a:ext uri="{FF2B5EF4-FFF2-40B4-BE49-F238E27FC236}">
                <a16:creationId xmlns:a16="http://schemas.microsoft.com/office/drawing/2014/main" id="{43D44F54-C958-8845-2B04-523A56A0379E}"/>
              </a:ext>
            </a:extLst>
          </p:cNvPr>
          <p:cNvPicPr>
            <a:picLocks noChangeAspect="1" noChangeArrowheads="1"/>
          </p:cNvPicPr>
          <p:nvPr/>
        </p:nvPicPr>
        <p:blipFill>
          <a:blip r:embed="rId30" cstate="print">
            <a:extLst>
              <a:ext uri="{28A0092B-C50C-407E-A947-70E740481C1C}">
                <a14:useLocalDpi xmlns:a14="http://schemas.microsoft.com/office/drawing/2010/main" val="0"/>
              </a:ext>
            </a:extLst>
          </a:blip>
          <a:srcRect/>
          <a:stretch>
            <a:fillRect/>
          </a:stretch>
        </p:blipFill>
        <p:spPr bwMode="auto">
          <a:xfrm>
            <a:off x="7563478" y="5047660"/>
            <a:ext cx="410966" cy="234837"/>
          </a:xfrm>
          <a:prstGeom prst="rect">
            <a:avLst/>
          </a:prstGeom>
          <a:noFill/>
          <a:extLst>
            <a:ext uri="{909E8E84-426E-40DD-AFC4-6F175D3DCCD1}">
              <a14:hiddenFill xmlns:a14="http://schemas.microsoft.com/office/drawing/2010/main">
                <a:solidFill>
                  <a:srgbClr val="FFFFFF"/>
                </a:solidFill>
              </a14:hiddenFill>
            </a:ext>
          </a:extLst>
        </p:spPr>
      </p:pic>
      <p:pic>
        <p:nvPicPr>
          <p:cNvPr id="329" name="Picture 181" descr="https://upload.wikimedia.org/wikipedia/en/thumb/8/8c/Rec_solar_logo.PNG/220px-Rec_solar_logo.PNG">
            <a:extLst>
              <a:ext uri="{FF2B5EF4-FFF2-40B4-BE49-F238E27FC236}">
                <a16:creationId xmlns:a16="http://schemas.microsoft.com/office/drawing/2014/main" id="{D737E1BB-2B4C-CC9E-6C15-9DEDB24112BC}"/>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6510759" y="5066450"/>
            <a:ext cx="377246" cy="144039"/>
          </a:xfrm>
          <a:prstGeom prst="rect">
            <a:avLst/>
          </a:prstGeom>
          <a:noFill/>
          <a:extLst>
            <a:ext uri="{909E8E84-426E-40DD-AFC4-6F175D3DCCD1}">
              <a14:hiddenFill xmlns:a14="http://schemas.microsoft.com/office/drawing/2010/main">
                <a:solidFill>
                  <a:srgbClr val="FFFFFF"/>
                </a:solidFill>
              </a14:hiddenFill>
            </a:ext>
          </a:extLst>
        </p:spPr>
      </p:pic>
      <p:pic>
        <p:nvPicPr>
          <p:cNvPr id="330" name="Picture 183" descr="http://energizeny.org/images/uploads/logo_contractor_greenskies.png">
            <a:extLst>
              <a:ext uri="{FF2B5EF4-FFF2-40B4-BE49-F238E27FC236}">
                <a16:creationId xmlns:a16="http://schemas.microsoft.com/office/drawing/2014/main" id="{AF3EB9B7-4BFD-EE21-5CB1-58A10CCFBEF5}"/>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7580286" y="5310560"/>
            <a:ext cx="459859" cy="154052"/>
          </a:xfrm>
          <a:prstGeom prst="rect">
            <a:avLst/>
          </a:prstGeom>
          <a:noFill/>
          <a:extLst>
            <a:ext uri="{909E8E84-426E-40DD-AFC4-6F175D3DCCD1}">
              <a14:hiddenFill xmlns:a14="http://schemas.microsoft.com/office/drawing/2010/main">
                <a:solidFill>
                  <a:srgbClr val="FFFFFF"/>
                </a:solidFill>
              </a14:hiddenFill>
            </a:ext>
          </a:extLst>
        </p:spPr>
      </p:pic>
      <p:pic>
        <p:nvPicPr>
          <p:cNvPr id="331" name="Picture 185" descr="https://upload.wikimedia.org/wikipedia/en/thumb/f/fc/AES_Corporation_(logo).svg/1280px-AES_Corporation_(logo).svg.png">
            <a:extLst>
              <a:ext uri="{FF2B5EF4-FFF2-40B4-BE49-F238E27FC236}">
                <a16:creationId xmlns:a16="http://schemas.microsoft.com/office/drawing/2014/main" id="{B2D6974C-F140-5333-EB43-80C753FB8A30}"/>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7123887" y="5286463"/>
            <a:ext cx="366517" cy="154052"/>
          </a:xfrm>
          <a:prstGeom prst="rect">
            <a:avLst/>
          </a:prstGeom>
          <a:noFill/>
          <a:extLst>
            <a:ext uri="{909E8E84-426E-40DD-AFC4-6F175D3DCCD1}">
              <a14:hiddenFill xmlns:a14="http://schemas.microsoft.com/office/drawing/2010/main">
                <a:solidFill>
                  <a:srgbClr val="FFFFFF"/>
                </a:solidFill>
              </a14:hiddenFill>
            </a:ext>
          </a:extLst>
        </p:spPr>
      </p:pic>
      <p:pic>
        <p:nvPicPr>
          <p:cNvPr id="332" name="Picture 187" descr="http://nexamp.com/sites/default/files/nexamp-logo.png">
            <a:extLst>
              <a:ext uri="{FF2B5EF4-FFF2-40B4-BE49-F238E27FC236}">
                <a16:creationId xmlns:a16="http://schemas.microsoft.com/office/drawing/2014/main" id="{5783B7B7-8E92-CE8D-48D9-5E7EE948A93E}"/>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6548790" y="5323147"/>
            <a:ext cx="445623" cy="92386"/>
          </a:xfrm>
          <a:prstGeom prst="rect">
            <a:avLst/>
          </a:prstGeom>
          <a:noFill/>
          <a:extLst>
            <a:ext uri="{909E8E84-426E-40DD-AFC4-6F175D3DCCD1}">
              <a14:hiddenFill xmlns:a14="http://schemas.microsoft.com/office/drawing/2010/main">
                <a:solidFill>
                  <a:srgbClr val="FFFFFF"/>
                </a:solidFill>
              </a14:hiddenFill>
            </a:ext>
          </a:extLst>
        </p:spPr>
      </p:pic>
      <p:sp>
        <p:nvSpPr>
          <p:cNvPr id="333" name="TextBox 332">
            <a:extLst>
              <a:ext uri="{FF2B5EF4-FFF2-40B4-BE49-F238E27FC236}">
                <a16:creationId xmlns:a16="http://schemas.microsoft.com/office/drawing/2014/main" id="{6FE21C4A-B830-E04D-BE53-58C6F807845B}"/>
              </a:ext>
            </a:extLst>
          </p:cNvPr>
          <p:cNvSpPr txBox="1"/>
          <p:nvPr/>
        </p:nvSpPr>
        <p:spPr>
          <a:xfrm>
            <a:off x="4316611" y="3770328"/>
            <a:ext cx="1872208"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a:rPr>
              <a:t>Residential</a:t>
            </a:r>
          </a:p>
        </p:txBody>
      </p:sp>
      <p:sp>
        <p:nvSpPr>
          <p:cNvPr id="334" name="TextBox 333">
            <a:extLst>
              <a:ext uri="{FF2B5EF4-FFF2-40B4-BE49-F238E27FC236}">
                <a16:creationId xmlns:a16="http://schemas.microsoft.com/office/drawing/2014/main" id="{959A11B8-D663-15A4-9CDD-0892AE5F6793}"/>
              </a:ext>
            </a:extLst>
          </p:cNvPr>
          <p:cNvSpPr txBox="1"/>
          <p:nvPr/>
        </p:nvSpPr>
        <p:spPr>
          <a:xfrm>
            <a:off x="4316611" y="4615374"/>
            <a:ext cx="1872208"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a:rPr>
              <a:t>C&amp;I</a:t>
            </a:r>
          </a:p>
        </p:txBody>
      </p:sp>
      <p:pic>
        <p:nvPicPr>
          <p:cNvPr id="335" name="Picture 193">
            <a:extLst>
              <a:ext uri="{FF2B5EF4-FFF2-40B4-BE49-F238E27FC236}">
                <a16:creationId xmlns:a16="http://schemas.microsoft.com/office/drawing/2014/main" id="{DD93E24E-9C7F-29B9-135B-79B3DDC2A3E6}"/>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4373418" y="4196511"/>
            <a:ext cx="246864" cy="127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36" name="Picture 195" descr="http://c1cleantechnicacom.wpengine.netdna-cdn.com/files/2015/12/sonnenbatterie-logo.png">
            <a:extLst>
              <a:ext uri="{FF2B5EF4-FFF2-40B4-BE49-F238E27FC236}">
                <a16:creationId xmlns:a16="http://schemas.microsoft.com/office/drawing/2014/main" id="{3CD9B19E-D9E0-C61C-E47A-3F4AE8991BC0}"/>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5494172" y="4050923"/>
            <a:ext cx="276582" cy="95421"/>
          </a:xfrm>
          <a:prstGeom prst="rect">
            <a:avLst/>
          </a:prstGeom>
          <a:noFill/>
          <a:extLst>
            <a:ext uri="{909E8E84-426E-40DD-AFC4-6F175D3DCCD1}">
              <a14:hiddenFill xmlns:a14="http://schemas.microsoft.com/office/drawing/2010/main">
                <a:solidFill>
                  <a:srgbClr val="FFFFFF"/>
                </a:solidFill>
              </a14:hiddenFill>
            </a:ext>
          </a:extLst>
        </p:spPr>
      </p:pic>
      <p:pic>
        <p:nvPicPr>
          <p:cNvPr id="337" name="Picture 197" descr="http://www.sunverge.com/wp-content/themes/sunverge/images/sunverge_logo.png">
            <a:extLst>
              <a:ext uri="{FF2B5EF4-FFF2-40B4-BE49-F238E27FC236}">
                <a16:creationId xmlns:a16="http://schemas.microsoft.com/office/drawing/2014/main" id="{941FCE71-29B3-8075-70A5-79393543393C}"/>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5021021" y="4363386"/>
            <a:ext cx="469641" cy="177702"/>
          </a:xfrm>
          <a:prstGeom prst="rect">
            <a:avLst/>
          </a:prstGeom>
          <a:noFill/>
          <a:extLst>
            <a:ext uri="{909E8E84-426E-40DD-AFC4-6F175D3DCCD1}">
              <a14:hiddenFill xmlns:a14="http://schemas.microsoft.com/office/drawing/2010/main">
                <a:solidFill>
                  <a:srgbClr val="FFFFFF"/>
                </a:solidFill>
              </a14:hiddenFill>
            </a:ext>
          </a:extLst>
        </p:spPr>
      </p:pic>
      <p:pic>
        <p:nvPicPr>
          <p:cNvPr id="338" name="Picture 199" descr="http://cleantechsandiego.org/wp-content/uploads/2014/09/CTSD-WEB-SCRUB-PEAKNRG.png">
            <a:extLst>
              <a:ext uri="{FF2B5EF4-FFF2-40B4-BE49-F238E27FC236}">
                <a16:creationId xmlns:a16="http://schemas.microsoft.com/office/drawing/2014/main" id="{AFCA88A4-073B-09D5-3F40-FF55FDE504F0}"/>
              </a:ext>
            </a:extLst>
          </p:cNvPr>
          <p:cNvPicPr>
            <a:picLocks noChangeAspect="1" noChangeArrowheads="1"/>
          </p:cNvPicPr>
          <p:nvPr/>
        </p:nvPicPr>
        <p:blipFill rotWithShape="1">
          <a:blip r:embed="rId38" cstate="print">
            <a:extLst>
              <a:ext uri="{28A0092B-C50C-407E-A947-70E740481C1C}">
                <a14:useLocalDpi xmlns:a14="http://schemas.microsoft.com/office/drawing/2010/main" val="0"/>
              </a:ext>
            </a:extLst>
          </a:blip>
          <a:srcRect l="5809" t="28554" r="-1" b="24072"/>
          <a:stretch/>
        </p:blipFill>
        <p:spPr bwMode="auto">
          <a:xfrm>
            <a:off x="4681154" y="4196138"/>
            <a:ext cx="554698" cy="152177"/>
          </a:xfrm>
          <a:prstGeom prst="rect">
            <a:avLst/>
          </a:prstGeom>
          <a:noFill/>
          <a:extLst>
            <a:ext uri="{909E8E84-426E-40DD-AFC4-6F175D3DCCD1}">
              <a14:hiddenFill xmlns:a14="http://schemas.microsoft.com/office/drawing/2010/main">
                <a:solidFill>
                  <a:srgbClr val="FFFFFF"/>
                </a:solidFill>
              </a14:hiddenFill>
            </a:ext>
          </a:extLst>
        </p:spPr>
      </p:pic>
      <p:pic>
        <p:nvPicPr>
          <p:cNvPr id="339" name="Picture 201" descr="http://www.codaenergy.com/wp-content/uploads/2014/02/CODA_Energy_Logo_Vert_flat_Aug2013.jpg">
            <a:extLst>
              <a:ext uri="{FF2B5EF4-FFF2-40B4-BE49-F238E27FC236}">
                <a16:creationId xmlns:a16="http://schemas.microsoft.com/office/drawing/2014/main" id="{CA31C29E-B4CC-4F45-D7A4-F2EC72987782}"/>
              </a:ext>
            </a:extLst>
          </p:cNvPr>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l="20632" t="13112" r="18599" b="16601"/>
          <a:stretch/>
        </p:blipFill>
        <p:spPr bwMode="auto">
          <a:xfrm>
            <a:off x="4408837" y="4916860"/>
            <a:ext cx="273907" cy="316811"/>
          </a:xfrm>
          <a:prstGeom prst="rect">
            <a:avLst/>
          </a:prstGeom>
          <a:noFill/>
          <a:extLst>
            <a:ext uri="{909E8E84-426E-40DD-AFC4-6F175D3DCCD1}">
              <a14:hiddenFill xmlns:a14="http://schemas.microsoft.com/office/drawing/2010/main">
                <a:solidFill>
                  <a:srgbClr val="FFFFFF"/>
                </a:solidFill>
              </a14:hiddenFill>
            </a:ext>
          </a:extLst>
        </p:spPr>
      </p:pic>
      <p:pic>
        <p:nvPicPr>
          <p:cNvPr id="340" name="Picture 203" descr="https://s.graphiq.com/sites/default/files/1662/media/images/Stem_Inc_in_Millbrae_CA_3962314.png">
            <a:extLst>
              <a:ext uri="{FF2B5EF4-FFF2-40B4-BE49-F238E27FC236}">
                <a16:creationId xmlns:a16="http://schemas.microsoft.com/office/drawing/2014/main" id="{FBB2B329-90FD-E28C-E1BD-8253A6CB9DD1}"/>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4796818" y="4991529"/>
            <a:ext cx="373717" cy="121725"/>
          </a:xfrm>
          <a:prstGeom prst="rect">
            <a:avLst/>
          </a:prstGeom>
          <a:noFill/>
          <a:extLst>
            <a:ext uri="{909E8E84-426E-40DD-AFC4-6F175D3DCCD1}">
              <a14:hiddenFill xmlns:a14="http://schemas.microsoft.com/office/drawing/2010/main">
                <a:solidFill>
                  <a:srgbClr val="FFFFFF"/>
                </a:solidFill>
              </a14:hiddenFill>
            </a:ext>
          </a:extLst>
        </p:spPr>
      </p:pic>
      <p:pic>
        <p:nvPicPr>
          <p:cNvPr id="341" name="Picture 7" descr="http://photos.prnewswire.com/prn/20140616/691314">
            <a:extLst>
              <a:ext uri="{FF2B5EF4-FFF2-40B4-BE49-F238E27FC236}">
                <a16:creationId xmlns:a16="http://schemas.microsoft.com/office/drawing/2014/main" id="{0677D62C-0052-892E-FB8D-29DC790A0B3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35853" y="4982806"/>
            <a:ext cx="439381" cy="180912"/>
          </a:xfrm>
          <a:prstGeom prst="rect">
            <a:avLst/>
          </a:prstGeom>
          <a:noFill/>
          <a:extLst>
            <a:ext uri="{909E8E84-426E-40DD-AFC4-6F175D3DCCD1}">
              <a14:hiddenFill xmlns:a14="http://schemas.microsoft.com/office/drawing/2010/main">
                <a:solidFill>
                  <a:srgbClr val="FFFFFF"/>
                </a:solidFill>
              </a14:hiddenFill>
            </a:ext>
          </a:extLst>
        </p:spPr>
      </p:pic>
      <p:pic>
        <p:nvPicPr>
          <p:cNvPr id="342" name="Picture 205" descr="http://www.power-eng.com/content/pe/en/articles/2015/10/green-charge-networks-announces-entry-into-the-california-iso-market/_jcr_content/leftcolumn/article/thumbnailimage.img.jpg">
            <a:extLst>
              <a:ext uri="{FF2B5EF4-FFF2-40B4-BE49-F238E27FC236}">
                <a16:creationId xmlns:a16="http://schemas.microsoft.com/office/drawing/2014/main" id="{B907B41A-BA4E-5197-9DF9-79E11F04AC71}"/>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554696" y="5251642"/>
            <a:ext cx="742346" cy="215520"/>
          </a:xfrm>
          <a:prstGeom prst="rect">
            <a:avLst/>
          </a:prstGeom>
          <a:noFill/>
          <a:extLst>
            <a:ext uri="{909E8E84-426E-40DD-AFC4-6F175D3DCCD1}">
              <a14:hiddenFill xmlns:a14="http://schemas.microsoft.com/office/drawing/2010/main">
                <a:solidFill>
                  <a:srgbClr val="FFFFFF"/>
                </a:solidFill>
              </a14:hiddenFill>
            </a:ext>
          </a:extLst>
        </p:spPr>
      </p:pic>
      <p:pic>
        <p:nvPicPr>
          <p:cNvPr id="343" name="Picture 209">
            <a:extLst>
              <a:ext uri="{FF2B5EF4-FFF2-40B4-BE49-F238E27FC236}">
                <a16:creationId xmlns:a16="http://schemas.microsoft.com/office/drawing/2014/main" id="{E8247262-C9D9-609D-32F8-19AA99A56325}"/>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5441894" y="5216344"/>
            <a:ext cx="328860" cy="1894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4" name="Picture 195" descr="http://c1cleantechnicacom.wpengine.netdna-cdn.com/files/2015/12/sonnenbatterie-logo.png">
            <a:extLst>
              <a:ext uri="{FF2B5EF4-FFF2-40B4-BE49-F238E27FC236}">
                <a16:creationId xmlns:a16="http://schemas.microsoft.com/office/drawing/2014/main" id="{015FA99C-13B9-6B4A-730E-51805E335264}"/>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4766918" y="4829947"/>
            <a:ext cx="276582" cy="95421"/>
          </a:xfrm>
          <a:prstGeom prst="rect">
            <a:avLst/>
          </a:prstGeom>
          <a:noFill/>
          <a:extLst>
            <a:ext uri="{909E8E84-426E-40DD-AFC4-6F175D3DCCD1}">
              <a14:hiddenFill xmlns:a14="http://schemas.microsoft.com/office/drawing/2010/main">
                <a:solidFill>
                  <a:srgbClr val="FFFFFF"/>
                </a:solidFill>
              </a14:hiddenFill>
            </a:ext>
          </a:extLst>
        </p:spPr>
      </p:pic>
      <p:pic>
        <p:nvPicPr>
          <p:cNvPr id="345" name="Picture 162" descr="http://www.solarcity.com/sites/default/files/og-sc-logo.png">
            <a:extLst>
              <a:ext uri="{FF2B5EF4-FFF2-40B4-BE49-F238E27FC236}">
                <a16:creationId xmlns:a16="http://schemas.microsoft.com/office/drawing/2014/main" id="{51E5F745-7563-AEE6-50D8-A927C7BB6BFA}"/>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t="25626" b="26476"/>
          <a:stretch/>
        </p:blipFill>
        <p:spPr bwMode="auto">
          <a:xfrm>
            <a:off x="6967672" y="5088299"/>
            <a:ext cx="523799" cy="131715"/>
          </a:xfrm>
          <a:prstGeom prst="rect">
            <a:avLst/>
          </a:prstGeom>
          <a:noFill/>
          <a:extLst>
            <a:ext uri="{909E8E84-426E-40DD-AFC4-6F175D3DCCD1}">
              <a14:hiddenFill xmlns:a14="http://schemas.microsoft.com/office/drawing/2010/main">
                <a:solidFill>
                  <a:srgbClr val="FFFFFF"/>
                </a:solidFill>
              </a14:hiddenFill>
            </a:ext>
          </a:extLst>
        </p:spPr>
      </p:pic>
      <p:pic>
        <p:nvPicPr>
          <p:cNvPr id="371" name="Picture 166" descr="http://www.insidermonkey.com/blog/wp-content/uploads/2014/10/vivint-solar1_0.jpeg">
            <a:extLst>
              <a:ext uri="{FF2B5EF4-FFF2-40B4-BE49-F238E27FC236}">
                <a16:creationId xmlns:a16="http://schemas.microsoft.com/office/drawing/2014/main" id="{D2167881-0B5C-849F-19AE-47D1176283A7}"/>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7347455" y="4898408"/>
            <a:ext cx="633775" cy="96056"/>
          </a:xfrm>
          <a:prstGeom prst="rect">
            <a:avLst/>
          </a:prstGeom>
          <a:noFill/>
          <a:extLst>
            <a:ext uri="{909E8E84-426E-40DD-AFC4-6F175D3DCCD1}">
              <a14:hiddenFill xmlns:a14="http://schemas.microsoft.com/office/drawing/2010/main">
                <a:solidFill>
                  <a:srgbClr val="FFFFFF"/>
                </a:solidFill>
              </a14:hiddenFill>
            </a:ext>
          </a:extLst>
        </p:spPr>
      </p:pic>
      <p:pic>
        <p:nvPicPr>
          <p:cNvPr id="375" name="Picture 164" descr="http://www.sungevity.com/assets/img/footer-logo-2x.png?v=1">
            <a:extLst>
              <a:ext uri="{FF2B5EF4-FFF2-40B4-BE49-F238E27FC236}">
                <a16:creationId xmlns:a16="http://schemas.microsoft.com/office/drawing/2014/main" id="{1EDF5253-45BB-D29E-E2A2-2DA8586D397C}"/>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6555367" y="4211902"/>
            <a:ext cx="503053" cy="120295"/>
          </a:xfrm>
          <a:prstGeom prst="rect">
            <a:avLst/>
          </a:prstGeom>
          <a:noFill/>
          <a:extLst>
            <a:ext uri="{909E8E84-426E-40DD-AFC4-6F175D3DCCD1}">
              <a14:hiddenFill xmlns:a14="http://schemas.microsoft.com/office/drawing/2010/main">
                <a:solidFill>
                  <a:srgbClr val="FFFFFF"/>
                </a:solidFill>
              </a14:hiddenFill>
            </a:ext>
          </a:extLst>
        </p:spPr>
      </p:pic>
      <p:pic>
        <p:nvPicPr>
          <p:cNvPr id="382" name="Picture 162" descr="http://www.solarcity.com/sites/default/files/og-sc-logo.png">
            <a:extLst>
              <a:ext uri="{FF2B5EF4-FFF2-40B4-BE49-F238E27FC236}">
                <a16:creationId xmlns:a16="http://schemas.microsoft.com/office/drawing/2014/main" id="{F0B35971-F67E-33C1-DD1E-BE63D51FBDFC}"/>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t="25626" b="26476"/>
          <a:stretch/>
        </p:blipFill>
        <p:spPr bwMode="auto">
          <a:xfrm>
            <a:off x="8604323" y="3982671"/>
            <a:ext cx="523799" cy="131715"/>
          </a:xfrm>
          <a:prstGeom prst="rect">
            <a:avLst/>
          </a:prstGeom>
          <a:noFill/>
          <a:extLst>
            <a:ext uri="{909E8E84-426E-40DD-AFC4-6F175D3DCCD1}">
              <a14:hiddenFill xmlns:a14="http://schemas.microsoft.com/office/drawing/2010/main">
                <a:solidFill>
                  <a:srgbClr val="FFFFFF"/>
                </a:solidFill>
              </a14:hiddenFill>
            </a:ext>
          </a:extLst>
        </p:spPr>
      </p:pic>
      <p:pic>
        <p:nvPicPr>
          <p:cNvPr id="386" name="Picture 166" descr="http://www.insidermonkey.com/blog/wp-content/uploads/2014/10/vivint-solar1_0.jpeg">
            <a:extLst>
              <a:ext uri="{FF2B5EF4-FFF2-40B4-BE49-F238E27FC236}">
                <a16:creationId xmlns:a16="http://schemas.microsoft.com/office/drawing/2014/main" id="{F1233895-6FDE-AF6B-8CD8-4C121286EBAE}"/>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9395961" y="4058360"/>
            <a:ext cx="633775" cy="96056"/>
          </a:xfrm>
          <a:prstGeom prst="rect">
            <a:avLst/>
          </a:prstGeom>
          <a:noFill/>
          <a:extLst>
            <a:ext uri="{909E8E84-426E-40DD-AFC4-6F175D3DCCD1}">
              <a14:hiddenFill xmlns:a14="http://schemas.microsoft.com/office/drawing/2010/main">
                <a:solidFill>
                  <a:srgbClr val="FFFFFF"/>
                </a:solidFill>
              </a14:hiddenFill>
            </a:ext>
          </a:extLst>
        </p:spPr>
      </p:pic>
      <p:pic>
        <p:nvPicPr>
          <p:cNvPr id="427" name="Picture 172" descr="https://www.sunrun.com/sites/default/themes/sunrun/public/assets/images/sunrun-logo.png">
            <a:extLst>
              <a:ext uri="{FF2B5EF4-FFF2-40B4-BE49-F238E27FC236}">
                <a16:creationId xmlns:a16="http://schemas.microsoft.com/office/drawing/2014/main" id="{82BCB824-7B14-5E17-7684-0612F03E0286}"/>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9506642" y="4346391"/>
            <a:ext cx="515329" cy="102308"/>
          </a:xfrm>
          <a:prstGeom prst="rect">
            <a:avLst/>
          </a:prstGeom>
          <a:noFill/>
          <a:extLst>
            <a:ext uri="{909E8E84-426E-40DD-AFC4-6F175D3DCCD1}">
              <a14:hiddenFill xmlns:a14="http://schemas.microsoft.com/office/drawing/2010/main">
                <a:solidFill>
                  <a:srgbClr val="FFFFFF"/>
                </a:solidFill>
              </a14:hiddenFill>
            </a:ext>
          </a:extLst>
        </p:spPr>
      </p:pic>
      <p:pic>
        <p:nvPicPr>
          <p:cNvPr id="428" name="Picture 174" descr="http://getthereferral.com/wp-content/uploads/2014/12/solar-universe1.png">
            <a:extLst>
              <a:ext uri="{FF2B5EF4-FFF2-40B4-BE49-F238E27FC236}">
                <a16:creationId xmlns:a16="http://schemas.microsoft.com/office/drawing/2014/main" id="{E739CB59-4921-97F9-2381-96FB8CD0F52A}"/>
              </a:ext>
            </a:extLst>
          </p:cNvPr>
          <p:cNvPicPr>
            <a:picLocks noChangeAspect="1" noChangeArrowheads="1"/>
          </p:cNvPicPr>
          <p:nvPr/>
        </p:nvPicPr>
        <p:blipFill>
          <a:blip r:embed="rId29" cstate="print">
            <a:extLst>
              <a:ext uri="{28A0092B-C50C-407E-A947-70E740481C1C}">
                <a14:useLocalDpi xmlns:a14="http://schemas.microsoft.com/office/drawing/2010/main" val="0"/>
              </a:ext>
            </a:extLst>
          </a:blip>
          <a:srcRect/>
          <a:stretch>
            <a:fillRect/>
          </a:stretch>
        </p:blipFill>
        <p:spPr bwMode="auto">
          <a:xfrm>
            <a:off x="9125182" y="3856401"/>
            <a:ext cx="658653" cy="91553"/>
          </a:xfrm>
          <a:prstGeom prst="rect">
            <a:avLst/>
          </a:prstGeom>
          <a:noFill/>
          <a:extLst>
            <a:ext uri="{909E8E84-426E-40DD-AFC4-6F175D3DCCD1}">
              <a14:hiddenFill xmlns:a14="http://schemas.microsoft.com/office/drawing/2010/main">
                <a:solidFill>
                  <a:srgbClr val="FFFFFF"/>
                </a:solidFill>
              </a14:hiddenFill>
            </a:ext>
          </a:extLst>
        </p:spPr>
      </p:pic>
      <p:pic>
        <p:nvPicPr>
          <p:cNvPr id="429" name="Picture 214" descr="http://www.solarworld-usa.com/~/media/www/images/news-article/news-article-smallimages/petersendean-solar-installer.jpg?la=en">
            <a:extLst>
              <a:ext uri="{FF2B5EF4-FFF2-40B4-BE49-F238E27FC236}">
                <a16:creationId xmlns:a16="http://schemas.microsoft.com/office/drawing/2014/main" id="{C1F00A64-6089-690F-823C-BD2741086C56}"/>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8709327" y="4286416"/>
            <a:ext cx="653620" cy="119953"/>
          </a:xfrm>
          <a:prstGeom prst="rect">
            <a:avLst/>
          </a:prstGeom>
          <a:noFill/>
          <a:extLst>
            <a:ext uri="{909E8E84-426E-40DD-AFC4-6F175D3DCCD1}">
              <a14:hiddenFill xmlns:a14="http://schemas.microsoft.com/office/drawing/2010/main">
                <a:solidFill>
                  <a:srgbClr val="FFFFFF"/>
                </a:solidFill>
              </a14:hiddenFill>
            </a:ext>
          </a:extLst>
        </p:spPr>
      </p:pic>
      <p:pic>
        <p:nvPicPr>
          <p:cNvPr id="430" name="Picture 217">
            <a:extLst>
              <a:ext uri="{FF2B5EF4-FFF2-40B4-BE49-F238E27FC236}">
                <a16:creationId xmlns:a16="http://schemas.microsoft.com/office/drawing/2014/main" id="{81F30955-792B-36F4-ABBC-21A2840FB384}"/>
              </a:ext>
            </a:extLst>
          </p:cNvPr>
          <p:cNvPicPr>
            <a:picLocks noChangeAspect="1" noChangeArrowheads="1"/>
          </p:cNvPicPr>
          <p:nvPr/>
        </p:nvPicPr>
        <p:blipFill>
          <a:blip r:embed="rId46">
            <a:extLst>
              <a:ext uri="{28A0092B-C50C-407E-A947-70E740481C1C}">
                <a14:useLocalDpi xmlns:a14="http://schemas.microsoft.com/office/drawing/2010/main" val="0"/>
              </a:ext>
            </a:extLst>
          </a:blip>
          <a:srcRect/>
          <a:stretch>
            <a:fillRect/>
          </a:stretch>
        </p:blipFill>
        <p:spPr bwMode="auto">
          <a:xfrm>
            <a:off x="9496513" y="4546231"/>
            <a:ext cx="574642" cy="1883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1" name="Picture 220">
            <a:extLst>
              <a:ext uri="{FF2B5EF4-FFF2-40B4-BE49-F238E27FC236}">
                <a16:creationId xmlns:a16="http://schemas.microsoft.com/office/drawing/2014/main" id="{16E2E28B-02D4-04BA-549A-EDEB462C9F72}"/>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8712087" y="4534481"/>
            <a:ext cx="565034" cy="100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2" name="Picture 222" descr="https://media.licdn.com/media/AAEAAQAAAAAAAAQaAAAAJDMzMmViZGEzLWQ0YWQtNDhjMC04ZDgxLTRkY2ZiMzEwMGU3Yw.png">
            <a:extLst>
              <a:ext uri="{FF2B5EF4-FFF2-40B4-BE49-F238E27FC236}">
                <a16:creationId xmlns:a16="http://schemas.microsoft.com/office/drawing/2014/main" id="{2C4468A8-5EE9-DDF3-56A3-4C5B33E7F89B}"/>
              </a:ext>
            </a:extLst>
          </p:cNvPr>
          <p:cNvPicPr>
            <a:picLocks noChangeAspect="1" noChangeArrowheads="1"/>
          </p:cNvPicPr>
          <p:nvPr/>
        </p:nvPicPr>
        <p:blipFill>
          <a:blip r:embed="rId48" cstate="print">
            <a:extLst>
              <a:ext uri="{28A0092B-C50C-407E-A947-70E740481C1C}">
                <a14:useLocalDpi xmlns:a14="http://schemas.microsoft.com/office/drawing/2010/main" val="0"/>
              </a:ext>
            </a:extLst>
          </a:blip>
          <a:srcRect/>
          <a:stretch>
            <a:fillRect/>
          </a:stretch>
        </p:blipFill>
        <p:spPr bwMode="auto">
          <a:xfrm>
            <a:off x="9604510" y="4848336"/>
            <a:ext cx="369463" cy="125823"/>
          </a:xfrm>
          <a:prstGeom prst="rect">
            <a:avLst/>
          </a:prstGeom>
          <a:noFill/>
          <a:extLst>
            <a:ext uri="{909E8E84-426E-40DD-AFC4-6F175D3DCCD1}">
              <a14:hiddenFill xmlns:a14="http://schemas.microsoft.com/office/drawing/2010/main">
                <a:solidFill>
                  <a:srgbClr val="FFFFFF"/>
                </a:solidFill>
              </a14:hiddenFill>
            </a:ext>
          </a:extLst>
        </p:spPr>
      </p:pic>
      <p:pic>
        <p:nvPicPr>
          <p:cNvPr id="433" name="Picture 225">
            <a:extLst>
              <a:ext uri="{FF2B5EF4-FFF2-40B4-BE49-F238E27FC236}">
                <a16:creationId xmlns:a16="http://schemas.microsoft.com/office/drawing/2014/main" id="{35FD79DC-5113-4F80-65A0-8003AD302B74}"/>
              </a:ext>
            </a:extLst>
          </p:cNvPr>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8578006" y="4686808"/>
            <a:ext cx="349804" cy="1854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4" name="Picture 228" descr="http://www.enfsolar.com/ApolloF/solar/ID/logo/535a2a4ed65ce.jpg">
            <a:extLst>
              <a:ext uri="{FF2B5EF4-FFF2-40B4-BE49-F238E27FC236}">
                <a16:creationId xmlns:a16="http://schemas.microsoft.com/office/drawing/2014/main" id="{908BA2AD-0FC5-5126-761E-CCD0A116F33B}"/>
              </a:ext>
            </a:extLst>
          </p:cNvPr>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9056131" y="4760251"/>
            <a:ext cx="369039" cy="246026"/>
          </a:xfrm>
          <a:prstGeom prst="rect">
            <a:avLst/>
          </a:prstGeom>
          <a:noFill/>
          <a:extLst>
            <a:ext uri="{909E8E84-426E-40DD-AFC4-6F175D3DCCD1}">
              <a14:hiddenFill xmlns:a14="http://schemas.microsoft.com/office/drawing/2010/main">
                <a:solidFill>
                  <a:srgbClr val="FFFFFF"/>
                </a:solidFill>
              </a14:hiddenFill>
            </a:ext>
          </a:extLst>
        </p:spPr>
      </p:pic>
      <p:pic>
        <p:nvPicPr>
          <p:cNvPr id="435" name="Picture 230" descr="https://www.directenergy.com/images/direct_energy_solar_logo.png">
            <a:extLst>
              <a:ext uri="{FF2B5EF4-FFF2-40B4-BE49-F238E27FC236}">
                <a16:creationId xmlns:a16="http://schemas.microsoft.com/office/drawing/2014/main" id="{FBC9CCE2-2F0E-28E3-4BE5-3E2DA470F7F3}"/>
              </a:ext>
            </a:extLst>
          </p:cNvPr>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8677942" y="5172271"/>
            <a:ext cx="633325" cy="137186"/>
          </a:xfrm>
          <a:prstGeom prst="rect">
            <a:avLst/>
          </a:prstGeom>
          <a:noFill/>
          <a:extLst>
            <a:ext uri="{909E8E84-426E-40DD-AFC4-6F175D3DCCD1}">
              <a14:hiddenFill xmlns:a14="http://schemas.microsoft.com/office/drawing/2010/main">
                <a:solidFill>
                  <a:srgbClr val="FFFFFF"/>
                </a:solidFill>
              </a14:hiddenFill>
            </a:ext>
          </a:extLst>
        </p:spPr>
      </p:pic>
      <p:pic>
        <p:nvPicPr>
          <p:cNvPr id="436" name="Picture 232" descr="http://www.horizonsolarpower.com/wp-content/uploads/2016/02/newlogo.png">
            <a:extLst>
              <a:ext uri="{FF2B5EF4-FFF2-40B4-BE49-F238E27FC236}">
                <a16:creationId xmlns:a16="http://schemas.microsoft.com/office/drawing/2014/main" id="{E1713FFF-A98B-8939-708D-7E1822C5B035}"/>
              </a:ext>
            </a:extLst>
          </p:cNvPr>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9514539" y="5192132"/>
            <a:ext cx="440614" cy="119021"/>
          </a:xfrm>
          <a:prstGeom prst="rect">
            <a:avLst/>
          </a:prstGeom>
          <a:noFill/>
          <a:extLst>
            <a:ext uri="{909E8E84-426E-40DD-AFC4-6F175D3DCCD1}">
              <a14:hiddenFill xmlns:a14="http://schemas.microsoft.com/office/drawing/2010/main">
                <a:solidFill>
                  <a:srgbClr val="FFFFFF"/>
                </a:solidFill>
              </a14:hiddenFill>
            </a:ext>
          </a:extLst>
        </p:spPr>
      </p:pic>
      <p:sp>
        <p:nvSpPr>
          <p:cNvPr id="437" name="TextBox 436">
            <a:extLst>
              <a:ext uri="{FF2B5EF4-FFF2-40B4-BE49-F238E27FC236}">
                <a16:creationId xmlns:a16="http://schemas.microsoft.com/office/drawing/2014/main" id="{E4A29164-2121-F294-27B4-DAEFB5D0DA68}"/>
              </a:ext>
            </a:extLst>
          </p:cNvPr>
          <p:cNvSpPr txBox="1"/>
          <p:nvPr/>
        </p:nvSpPr>
        <p:spPr>
          <a:xfrm>
            <a:off x="2092871" y="5887507"/>
            <a:ext cx="1782737" cy="553998"/>
          </a:xfrm>
          <a:prstGeom prst="rect">
            <a:avLst/>
          </a:prstGeom>
          <a:noFill/>
        </p:spPr>
        <p:txBody>
          <a:bodyPr wrap="square" rtlCol="0">
            <a:spAutoFit/>
          </a:bodyPr>
          <a:lstStyle/>
          <a:p>
            <a:pPr algn="ctr"/>
            <a:r>
              <a:rPr lang="en-GB" sz="1000" i="1" dirty="0">
                <a:solidFill>
                  <a:srgbClr val="000000"/>
                </a:solidFill>
                <a:latin typeface="Arial" panose="020B0604020202020204" pitchFamily="34" charset="0"/>
                <a:cs typeface="Arial" panose="020B0604020202020204" pitchFamily="34" charset="0"/>
              </a:rPr>
              <a:t>Partnership with distributors/financers for product marketing and sale </a:t>
            </a:r>
          </a:p>
        </p:txBody>
      </p:sp>
      <p:sp>
        <p:nvSpPr>
          <p:cNvPr id="438" name="TextBox 437">
            <a:extLst>
              <a:ext uri="{FF2B5EF4-FFF2-40B4-BE49-F238E27FC236}">
                <a16:creationId xmlns:a16="http://schemas.microsoft.com/office/drawing/2014/main" id="{C1D0F1F6-49B6-A9AA-29D7-2B32DD1669D8}"/>
              </a:ext>
            </a:extLst>
          </p:cNvPr>
          <p:cNvSpPr txBox="1"/>
          <p:nvPr/>
        </p:nvSpPr>
        <p:spPr>
          <a:xfrm>
            <a:off x="4221018" y="5887507"/>
            <a:ext cx="1782737" cy="553998"/>
          </a:xfrm>
          <a:prstGeom prst="rect">
            <a:avLst/>
          </a:prstGeom>
          <a:noFill/>
        </p:spPr>
        <p:txBody>
          <a:bodyPr wrap="square" rtlCol="0">
            <a:spAutoFit/>
          </a:bodyPr>
          <a:lstStyle/>
          <a:p>
            <a:pPr algn="ctr"/>
            <a:r>
              <a:rPr lang="en-GB" sz="1000" i="1" dirty="0">
                <a:solidFill>
                  <a:srgbClr val="000000"/>
                </a:solidFill>
                <a:latin typeface="Arial" panose="020B0604020202020204" pitchFamily="34" charset="0"/>
                <a:cs typeface="Arial" panose="020B0604020202020204" pitchFamily="34" charset="0"/>
              </a:rPr>
              <a:t>Partnership with distributors/financers for product marketing and sale </a:t>
            </a:r>
          </a:p>
        </p:txBody>
      </p:sp>
      <p:sp>
        <p:nvSpPr>
          <p:cNvPr id="439" name="TextBox 438">
            <a:extLst>
              <a:ext uri="{FF2B5EF4-FFF2-40B4-BE49-F238E27FC236}">
                <a16:creationId xmlns:a16="http://schemas.microsoft.com/office/drawing/2014/main" id="{7B8D6FC4-D991-04EA-48FF-651A7FE5420D}"/>
              </a:ext>
            </a:extLst>
          </p:cNvPr>
          <p:cNvSpPr txBox="1"/>
          <p:nvPr/>
        </p:nvSpPr>
        <p:spPr>
          <a:xfrm>
            <a:off x="6340774" y="5887507"/>
            <a:ext cx="1782737" cy="553998"/>
          </a:xfrm>
          <a:prstGeom prst="rect">
            <a:avLst/>
          </a:prstGeom>
          <a:noFill/>
        </p:spPr>
        <p:txBody>
          <a:bodyPr wrap="square" rtlCol="0">
            <a:spAutoFit/>
          </a:bodyPr>
          <a:lstStyle/>
          <a:p>
            <a:pPr algn="ctr"/>
            <a:r>
              <a:rPr lang="en-GB" sz="1000" i="1" dirty="0">
                <a:solidFill>
                  <a:srgbClr val="000000"/>
                </a:solidFill>
                <a:latin typeface="Arial" panose="020B0604020202020204" pitchFamily="34" charset="0"/>
                <a:cs typeface="Arial" panose="020B0604020202020204" pitchFamily="34" charset="0"/>
              </a:rPr>
              <a:t>Direct to market via PPA/lease and loan agreements and partnership</a:t>
            </a:r>
          </a:p>
        </p:txBody>
      </p:sp>
      <p:sp>
        <p:nvSpPr>
          <p:cNvPr id="440" name="TextBox 439">
            <a:extLst>
              <a:ext uri="{FF2B5EF4-FFF2-40B4-BE49-F238E27FC236}">
                <a16:creationId xmlns:a16="http://schemas.microsoft.com/office/drawing/2014/main" id="{5D549A4D-68F7-B530-FDBF-C421BDC13F8F}"/>
              </a:ext>
            </a:extLst>
          </p:cNvPr>
          <p:cNvSpPr txBox="1"/>
          <p:nvPr/>
        </p:nvSpPr>
        <p:spPr>
          <a:xfrm>
            <a:off x="8443973" y="5887507"/>
            <a:ext cx="1782737" cy="553998"/>
          </a:xfrm>
          <a:prstGeom prst="rect">
            <a:avLst/>
          </a:prstGeom>
          <a:noFill/>
        </p:spPr>
        <p:txBody>
          <a:bodyPr wrap="square" rtlCol="0">
            <a:spAutoFit/>
          </a:bodyPr>
          <a:lstStyle/>
          <a:p>
            <a:pPr algn="ctr"/>
            <a:r>
              <a:rPr lang="en-GB" sz="1000" i="1" dirty="0">
                <a:solidFill>
                  <a:srgbClr val="000000"/>
                </a:solidFill>
                <a:latin typeface="Arial" panose="020B0604020202020204" pitchFamily="34" charset="0"/>
                <a:cs typeface="Arial" panose="020B0604020202020204" pitchFamily="34" charset="0"/>
              </a:rPr>
              <a:t>Direct to market via direct sales and partnership with distributors</a:t>
            </a:r>
          </a:p>
        </p:txBody>
      </p:sp>
      <p:sp>
        <p:nvSpPr>
          <p:cNvPr id="441" name="Pentagon 235">
            <a:extLst>
              <a:ext uri="{FF2B5EF4-FFF2-40B4-BE49-F238E27FC236}">
                <a16:creationId xmlns:a16="http://schemas.microsoft.com/office/drawing/2014/main" id="{EFFEC27A-1B8C-2095-57DE-B53519D67470}"/>
              </a:ext>
            </a:extLst>
          </p:cNvPr>
          <p:cNvSpPr/>
          <p:nvPr/>
        </p:nvSpPr>
        <p:spPr bwMode="auto">
          <a:xfrm>
            <a:off x="1888122" y="5499171"/>
            <a:ext cx="8532695" cy="242481"/>
          </a:xfrm>
          <a:prstGeom prst="homePlate">
            <a:avLst>
              <a:gd name="adj" fmla="val 0"/>
            </a:avLst>
          </a:prstGeom>
          <a:solidFill>
            <a:srgbClr val="517496"/>
          </a:solidFill>
          <a:ln>
            <a:noFill/>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IN" sz="1800" dirty="0">
              <a:solidFill>
                <a:srgbClr val="000000"/>
              </a:solidFill>
              <a:latin typeface="Arial"/>
            </a:endParaRPr>
          </a:p>
        </p:txBody>
      </p:sp>
      <p:sp>
        <p:nvSpPr>
          <p:cNvPr id="442" name="TextBox 441">
            <a:extLst>
              <a:ext uri="{FF2B5EF4-FFF2-40B4-BE49-F238E27FC236}">
                <a16:creationId xmlns:a16="http://schemas.microsoft.com/office/drawing/2014/main" id="{7DFB0089-93E3-EBE7-5023-660256FB2F1E}"/>
              </a:ext>
            </a:extLst>
          </p:cNvPr>
          <p:cNvSpPr txBox="1"/>
          <p:nvPr/>
        </p:nvSpPr>
        <p:spPr>
          <a:xfrm>
            <a:off x="4975221" y="5528324"/>
            <a:ext cx="2327626"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FFFFFF"/>
                </a:solidFill>
                <a:latin typeface="Arial"/>
              </a:rPr>
              <a:t>Primary Route-to-Market</a:t>
            </a:r>
          </a:p>
        </p:txBody>
      </p:sp>
      <p:pic>
        <p:nvPicPr>
          <p:cNvPr id="443" name="Picture 26" descr="http://www.burgnetwork.com/images/business/3972.jpg">
            <a:extLst>
              <a:ext uri="{FF2B5EF4-FFF2-40B4-BE49-F238E27FC236}">
                <a16:creationId xmlns:a16="http://schemas.microsoft.com/office/drawing/2014/main" id="{9DA0C252-923B-CF9B-35A7-EF6D12A297B0}"/>
              </a:ext>
            </a:extLst>
          </p:cNvPr>
          <p:cNvPicPr>
            <a:picLocks noChangeAspect="1" noChangeArrowheads="1"/>
          </p:cNvPicPr>
          <p:nvPr/>
        </p:nvPicPr>
        <p:blipFill rotWithShape="1">
          <a:blip r:embed="rId53" cstate="print">
            <a:extLst>
              <a:ext uri="{28A0092B-C50C-407E-A947-70E740481C1C}">
                <a14:useLocalDpi xmlns:a14="http://schemas.microsoft.com/office/drawing/2010/main" val="0"/>
              </a:ext>
            </a:extLst>
          </a:blip>
          <a:srcRect t="11706" b="28179"/>
          <a:stretch/>
        </p:blipFill>
        <p:spPr bwMode="auto">
          <a:xfrm>
            <a:off x="7659065" y="4468572"/>
            <a:ext cx="406882" cy="122299"/>
          </a:xfrm>
          <a:prstGeom prst="rect">
            <a:avLst/>
          </a:prstGeom>
          <a:noFill/>
          <a:extLst>
            <a:ext uri="{909E8E84-426E-40DD-AFC4-6F175D3DCCD1}">
              <a14:hiddenFill xmlns:a14="http://schemas.microsoft.com/office/drawing/2010/main">
                <a:solidFill>
                  <a:srgbClr val="FFFFFF"/>
                </a:solidFill>
              </a14:hiddenFill>
            </a:ext>
          </a:extLst>
        </p:spPr>
      </p:pic>
      <p:pic>
        <p:nvPicPr>
          <p:cNvPr id="445" name="Picture 26" descr="Image result for LG Chem logo">
            <a:extLst>
              <a:ext uri="{FF2B5EF4-FFF2-40B4-BE49-F238E27FC236}">
                <a16:creationId xmlns:a16="http://schemas.microsoft.com/office/drawing/2014/main" id="{1416682C-B67F-2E89-B080-1EA2A1885832}"/>
              </a:ext>
            </a:extLst>
          </p:cNvPr>
          <p:cNvPicPr>
            <a:picLocks noChangeAspect="1" noChangeArrowheads="1"/>
          </p:cNvPicPr>
          <p:nvPr/>
        </p:nvPicPr>
        <p:blipFill>
          <a:blip r:embed="rId54" cstate="print">
            <a:extLst>
              <a:ext uri="{28A0092B-C50C-407E-A947-70E740481C1C}">
                <a14:useLocalDpi xmlns:a14="http://schemas.microsoft.com/office/drawing/2010/main" val="0"/>
              </a:ext>
            </a:extLst>
          </a:blip>
          <a:srcRect/>
          <a:stretch>
            <a:fillRect/>
          </a:stretch>
        </p:blipFill>
        <p:spPr bwMode="auto">
          <a:xfrm>
            <a:off x="4895256" y="4025300"/>
            <a:ext cx="422326" cy="90074"/>
          </a:xfrm>
          <a:prstGeom prst="rect">
            <a:avLst/>
          </a:prstGeom>
          <a:noFill/>
          <a:extLst>
            <a:ext uri="{909E8E84-426E-40DD-AFC4-6F175D3DCCD1}">
              <a14:hiddenFill xmlns:a14="http://schemas.microsoft.com/office/drawing/2010/main">
                <a:solidFill>
                  <a:srgbClr val="FFFFFF"/>
                </a:solidFill>
              </a14:hiddenFill>
            </a:ext>
          </a:extLst>
        </p:spPr>
      </p:pic>
      <p:pic>
        <p:nvPicPr>
          <p:cNvPr id="446" name="Picture 209">
            <a:extLst>
              <a:ext uri="{FF2B5EF4-FFF2-40B4-BE49-F238E27FC236}">
                <a16:creationId xmlns:a16="http://schemas.microsoft.com/office/drawing/2014/main" id="{64DB1AB7-BD23-C993-6896-B409DACE3ABD}"/>
              </a:ext>
            </a:extLst>
          </p:cNvPr>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5635728" y="4409773"/>
            <a:ext cx="227519" cy="131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8" name="Picture 29" descr="Image result for Samsung logo">
            <a:extLst>
              <a:ext uri="{FF2B5EF4-FFF2-40B4-BE49-F238E27FC236}">
                <a16:creationId xmlns:a16="http://schemas.microsoft.com/office/drawing/2014/main" id="{F97629F9-88DF-0BE8-21B3-718F2E36CD65}"/>
              </a:ext>
            </a:extLst>
          </p:cNvPr>
          <p:cNvPicPr>
            <a:picLocks noChangeAspect="1" noChangeArrowheads="1"/>
          </p:cNvPicPr>
          <p:nvPr/>
        </p:nvPicPr>
        <p:blipFill rotWithShape="1">
          <a:blip r:embed="rId56" cstate="print">
            <a:extLst>
              <a:ext uri="{28A0092B-C50C-407E-A947-70E740481C1C}">
                <a14:useLocalDpi xmlns:a14="http://schemas.microsoft.com/office/drawing/2010/main" val="0"/>
              </a:ext>
            </a:extLst>
          </a:blip>
          <a:srcRect t="31503" b="31306"/>
          <a:stretch/>
        </p:blipFill>
        <p:spPr bwMode="auto">
          <a:xfrm>
            <a:off x="4448118" y="4458840"/>
            <a:ext cx="339782" cy="66343"/>
          </a:xfrm>
          <a:prstGeom prst="rect">
            <a:avLst/>
          </a:prstGeom>
          <a:noFill/>
          <a:extLst>
            <a:ext uri="{909E8E84-426E-40DD-AFC4-6F175D3DCCD1}">
              <a14:hiddenFill xmlns:a14="http://schemas.microsoft.com/office/drawing/2010/main">
                <a:solidFill>
                  <a:srgbClr val="FFFFFF"/>
                </a:solidFill>
              </a14:hiddenFill>
            </a:ext>
          </a:extLst>
        </p:spPr>
      </p:pic>
      <p:pic>
        <p:nvPicPr>
          <p:cNvPr id="449" name="Picture 31" descr="Image result for Aquion energy logo">
            <a:extLst>
              <a:ext uri="{FF2B5EF4-FFF2-40B4-BE49-F238E27FC236}">
                <a16:creationId xmlns:a16="http://schemas.microsoft.com/office/drawing/2014/main" id="{9682863B-DE88-D48E-1D5E-948DFFE54207}"/>
              </a:ext>
            </a:extLst>
          </p:cNvPr>
          <p:cNvPicPr>
            <a:picLocks noChangeAspect="1" noChangeArrowheads="1"/>
          </p:cNvPicPr>
          <p:nvPr/>
        </p:nvPicPr>
        <p:blipFill rotWithShape="1">
          <a:blip r:embed="rId57" cstate="print">
            <a:extLst>
              <a:ext uri="{28A0092B-C50C-407E-A947-70E740481C1C}">
                <a14:useLocalDpi xmlns:a14="http://schemas.microsoft.com/office/drawing/2010/main" val="0"/>
              </a:ext>
            </a:extLst>
          </a:blip>
          <a:srcRect l="8568" t="17366" r="8145" b="15549"/>
          <a:stretch/>
        </p:blipFill>
        <p:spPr bwMode="auto">
          <a:xfrm>
            <a:off x="5259963" y="4241916"/>
            <a:ext cx="325954" cy="106707"/>
          </a:xfrm>
          <a:prstGeom prst="rect">
            <a:avLst/>
          </a:prstGeom>
          <a:noFill/>
          <a:extLst>
            <a:ext uri="{909E8E84-426E-40DD-AFC4-6F175D3DCCD1}">
              <a14:hiddenFill xmlns:a14="http://schemas.microsoft.com/office/drawing/2010/main">
                <a:solidFill>
                  <a:srgbClr val="FFFFFF"/>
                </a:solidFill>
              </a14:hiddenFill>
            </a:ext>
          </a:extLst>
        </p:spPr>
      </p:pic>
      <p:cxnSp>
        <p:nvCxnSpPr>
          <p:cNvPr id="450" name="Straight Connector 449">
            <a:extLst>
              <a:ext uri="{FF2B5EF4-FFF2-40B4-BE49-F238E27FC236}">
                <a16:creationId xmlns:a16="http://schemas.microsoft.com/office/drawing/2014/main" id="{351A4142-C210-9E7B-56F1-3C6FE7206980}"/>
              </a:ext>
            </a:extLst>
          </p:cNvPr>
          <p:cNvCxnSpPr/>
          <p:nvPr/>
        </p:nvCxnSpPr>
        <p:spPr>
          <a:xfrm flipH="1">
            <a:off x="10383317" y="1734343"/>
            <a:ext cx="41275" cy="4824000"/>
          </a:xfrm>
          <a:prstGeom prst="line">
            <a:avLst/>
          </a:prstGeom>
          <a:noFill/>
          <a:ln w="9525" cap="flat" cmpd="sng" algn="ctr">
            <a:solidFill>
              <a:srgbClr val="517496">
                <a:lumMod val="60000"/>
                <a:lumOff val="40000"/>
              </a:srgbClr>
            </a:solidFill>
            <a:prstDash val="dash"/>
          </a:ln>
          <a:effectLst/>
        </p:spPr>
      </p:cxnSp>
      <p:pic>
        <p:nvPicPr>
          <p:cNvPr id="451" name="Picture 4" descr="Image result">
            <a:extLst>
              <a:ext uri="{FF2B5EF4-FFF2-40B4-BE49-F238E27FC236}">
                <a16:creationId xmlns:a16="http://schemas.microsoft.com/office/drawing/2014/main" id="{319D082C-0024-7430-9ED0-FF7810A70173}"/>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11336890" y="317429"/>
            <a:ext cx="372843" cy="252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308433551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2228FA3E-AE8D-27B3-8380-77DB1AFA8EC6}"/>
              </a:ext>
            </a:extLst>
          </p:cNvPr>
          <p:cNvSpPr>
            <a:spLocks/>
          </p:cNvSpPr>
          <p:nvPr/>
        </p:nvSpPr>
        <p:spPr>
          <a:xfrm flipH="1">
            <a:off x="281932" y="684076"/>
            <a:ext cx="11628139" cy="685621"/>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199" marR="0" lvl="0" indent="0" algn="l" defTabSz="857014"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A44D6D8D-7249-BD64-6662-57B4C8485E47}"/>
              </a:ext>
            </a:extLst>
          </p:cNvPr>
          <p:cNvSpPr/>
          <p:nvPr/>
        </p:nvSpPr>
        <p:spPr>
          <a:xfrm>
            <a:off x="1120357" y="935133"/>
            <a:ext cx="10653500" cy="221599"/>
          </a:xfrm>
          <a:prstGeom prst="rect">
            <a:avLst/>
          </a:prstGeom>
        </p:spPr>
        <p:txBody>
          <a:bodyPr wrap="square" lIns="0" tIns="0" rIns="0" bIns="0" anchor="ctr">
            <a:spAutoFit/>
          </a:bodyPr>
          <a:lstStyle/>
          <a:p>
            <a:pPr marL="0" marR="0" lvl="0" indent="0" algn="l" defTabSz="1094544" rtl="0" eaLnBrk="1" fontAlgn="auto" latinLnBrk="0" hangingPunct="1">
              <a:lnSpc>
                <a:spcPct val="90000"/>
              </a:lnSpc>
              <a:spcBef>
                <a:spcPct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a:ea typeface="+mn-ea"/>
                <a:cs typeface="+mn-cs"/>
              </a:rPr>
              <a:t>Tesla clear market leader thanks to relationship with Tesla owned SolarCity</a:t>
            </a:r>
          </a:p>
        </p:txBody>
      </p:sp>
      <p:sp>
        <p:nvSpPr>
          <p:cNvPr id="2" name="Title 1"/>
          <p:cNvSpPr>
            <a:spLocks noGrp="1"/>
          </p:cNvSpPr>
          <p:nvPr>
            <p:ph type="title"/>
          </p:nvPr>
        </p:nvSpPr>
        <p:spPr>
          <a:xfrm>
            <a:off x="284383" y="272295"/>
            <a:ext cx="11623236" cy="369236"/>
          </a:xfrm>
        </p:spPr>
        <p:txBody>
          <a:bodyPr/>
          <a:lstStyle/>
          <a:p>
            <a:r>
              <a:rPr lang="en-US" dirty="0">
                <a:solidFill>
                  <a:srgbClr val="172D55"/>
                </a:solidFill>
              </a:rPr>
              <a:t>residential </a:t>
            </a:r>
            <a:r>
              <a:rPr lang="en-US" dirty="0" err="1">
                <a:solidFill>
                  <a:srgbClr val="172D55"/>
                </a:solidFill>
              </a:rPr>
              <a:t>bess</a:t>
            </a:r>
            <a:r>
              <a:rPr lang="en-US" dirty="0">
                <a:solidFill>
                  <a:srgbClr val="172D55"/>
                </a:solidFill>
              </a:rPr>
              <a:t> market shares</a:t>
            </a:r>
            <a:endParaRPr lang="en-GB" dirty="0"/>
          </a:p>
        </p:txBody>
      </p:sp>
      <p:grpSp>
        <p:nvGrpSpPr>
          <p:cNvPr id="18" name="Group 17">
            <a:extLst>
              <a:ext uri="{FF2B5EF4-FFF2-40B4-BE49-F238E27FC236}">
                <a16:creationId xmlns:a16="http://schemas.microsoft.com/office/drawing/2014/main" id="{7F0408A9-6E91-0DFB-440A-C9EA1DEBC1C9}"/>
              </a:ext>
            </a:extLst>
          </p:cNvPr>
          <p:cNvGrpSpPr/>
          <p:nvPr/>
        </p:nvGrpSpPr>
        <p:grpSpPr>
          <a:xfrm>
            <a:off x="281931" y="743886"/>
            <a:ext cx="702214" cy="566002"/>
            <a:chOff x="779460" y="743186"/>
            <a:chExt cx="702397" cy="566149"/>
          </a:xfrm>
        </p:grpSpPr>
        <p:sp>
          <p:nvSpPr>
            <p:cNvPr id="9" name="Rectangle 8">
              <a:extLst>
                <a:ext uri="{FF2B5EF4-FFF2-40B4-BE49-F238E27FC236}">
                  <a16:creationId xmlns:a16="http://schemas.microsoft.com/office/drawing/2014/main" id="{23DEE729-02BB-9367-9E03-0683E8D57358}"/>
                </a:ext>
              </a:extLst>
            </p:cNvPr>
            <p:cNvSpPr/>
            <p:nvPr/>
          </p:nvSpPr>
          <p:spPr>
            <a:xfrm>
              <a:off x="779460" y="1004830"/>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Oval 9">
              <a:extLst>
                <a:ext uri="{FF2B5EF4-FFF2-40B4-BE49-F238E27FC236}">
                  <a16:creationId xmlns:a16="http://schemas.microsoft.com/office/drawing/2014/main" id="{52795A46-49F6-6B5C-E6D8-DAE7B1E6484F}"/>
                </a:ext>
              </a:extLst>
            </p:cNvPr>
            <p:cNvSpPr/>
            <p:nvPr/>
          </p:nvSpPr>
          <p:spPr>
            <a:xfrm>
              <a:off x="915708" y="743186"/>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3" name="Group 2">
              <a:extLst>
                <a:ext uri="{FF2B5EF4-FFF2-40B4-BE49-F238E27FC236}">
                  <a16:creationId xmlns:a16="http://schemas.microsoft.com/office/drawing/2014/main" id="{C73E1CF0-F5F5-43FF-FBD4-DBE7862DAA5D}"/>
                </a:ext>
              </a:extLst>
            </p:cNvPr>
            <p:cNvGrpSpPr/>
            <p:nvPr/>
          </p:nvGrpSpPr>
          <p:grpSpPr>
            <a:xfrm>
              <a:off x="1015152" y="830461"/>
              <a:ext cx="356737" cy="385459"/>
              <a:chOff x="-8902701" y="1020763"/>
              <a:chExt cx="4456113" cy="4814888"/>
            </a:xfrm>
            <a:solidFill>
              <a:schemeClr val="bg1"/>
            </a:solidFill>
          </p:grpSpPr>
          <p:sp>
            <p:nvSpPr>
              <p:cNvPr id="5" name="Freeform 19">
                <a:extLst>
                  <a:ext uri="{FF2B5EF4-FFF2-40B4-BE49-F238E27FC236}">
                    <a16:creationId xmlns:a16="http://schemas.microsoft.com/office/drawing/2014/main" id="{9309B6D1-14B6-5FEA-884B-FCA1F5A37941}"/>
                  </a:ext>
                </a:extLst>
              </p:cNvPr>
              <p:cNvSpPr>
                <a:spLocks/>
              </p:cNvSpPr>
              <p:nvPr/>
            </p:nvSpPr>
            <p:spPr bwMode="auto">
              <a:xfrm>
                <a:off x="-8902701" y="1147763"/>
                <a:ext cx="2230438" cy="4200525"/>
              </a:xfrm>
              <a:custGeom>
                <a:avLst/>
                <a:gdLst>
                  <a:gd name="T0" fmla="*/ 1405 w 1405"/>
                  <a:gd name="T1" fmla="*/ 0 h 2646"/>
                  <a:gd name="T2" fmla="*/ 1205 w 1405"/>
                  <a:gd name="T3" fmla="*/ 233 h 2646"/>
                  <a:gd name="T4" fmla="*/ 1024 w 1405"/>
                  <a:gd name="T5" fmla="*/ 279 h 2646"/>
                  <a:gd name="T6" fmla="*/ 854 w 1405"/>
                  <a:gd name="T7" fmla="*/ 351 h 2646"/>
                  <a:gd name="T8" fmla="*/ 699 w 1405"/>
                  <a:gd name="T9" fmla="*/ 448 h 2646"/>
                  <a:gd name="T10" fmla="*/ 562 w 1405"/>
                  <a:gd name="T11" fmla="*/ 567 h 2646"/>
                  <a:gd name="T12" fmla="*/ 444 w 1405"/>
                  <a:gd name="T13" fmla="*/ 706 h 2646"/>
                  <a:gd name="T14" fmla="*/ 347 w 1405"/>
                  <a:gd name="T15" fmla="*/ 860 h 2646"/>
                  <a:gd name="T16" fmla="*/ 276 w 1405"/>
                  <a:gd name="T17" fmla="*/ 1030 h 2646"/>
                  <a:gd name="T18" fmla="*/ 230 w 1405"/>
                  <a:gd name="T19" fmla="*/ 1212 h 2646"/>
                  <a:gd name="T20" fmla="*/ 216 w 1405"/>
                  <a:gd name="T21" fmla="*/ 1405 h 2646"/>
                  <a:gd name="T22" fmla="*/ 230 w 1405"/>
                  <a:gd name="T23" fmla="*/ 1592 h 2646"/>
                  <a:gd name="T24" fmla="*/ 274 w 1405"/>
                  <a:gd name="T25" fmla="*/ 1772 h 2646"/>
                  <a:gd name="T26" fmla="*/ 343 w 1405"/>
                  <a:gd name="T27" fmla="*/ 1939 h 2646"/>
                  <a:gd name="T28" fmla="*/ 436 w 1405"/>
                  <a:gd name="T29" fmla="*/ 2092 h 2646"/>
                  <a:gd name="T30" fmla="*/ 550 w 1405"/>
                  <a:gd name="T31" fmla="*/ 2230 h 2646"/>
                  <a:gd name="T32" fmla="*/ 683 w 1405"/>
                  <a:gd name="T33" fmla="*/ 2349 h 2646"/>
                  <a:gd name="T34" fmla="*/ 833 w 1405"/>
                  <a:gd name="T35" fmla="*/ 2446 h 2646"/>
                  <a:gd name="T36" fmla="*/ 674 w 1405"/>
                  <a:gd name="T37" fmla="*/ 2604 h 2646"/>
                  <a:gd name="T38" fmla="*/ 537 w 1405"/>
                  <a:gd name="T39" fmla="*/ 2510 h 2646"/>
                  <a:gd name="T40" fmla="*/ 411 w 1405"/>
                  <a:gd name="T41" fmla="*/ 2398 h 2646"/>
                  <a:gd name="T42" fmla="*/ 277 w 1405"/>
                  <a:gd name="T43" fmla="*/ 2244 h 2646"/>
                  <a:gd name="T44" fmla="*/ 170 w 1405"/>
                  <a:gd name="T45" fmla="*/ 2077 h 2646"/>
                  <a:gd name="T46" fmla="*/ 88 w 1405"/>
                  <a:gd name="T47" fmla="*/ 1896 h 2646"/>
                  <a:gd name="T48" fmla="*/ 31 w 1405"/>
                  <a:gd name="T49" fmla="*/ 1705 h 2646"/>
                  <a:gd name="T50" fmla="*/ 3 w 1405"/>
                  <a:gd name="T51" fmla="*/ 1506 h 2646"/>
                  <a:gd name="T52" fmla="*/ 3 w 1405"/>
                  <a:gd name="T53" fmla="*/ 1303 h 2646"/>
                  <a:gd name="T54" fmla="*/ 31 w 1405"/>
                  <a:gd name="T55" fmla="*/ 1104 h 2646"/>
                  <a:gd name="T56" fmla="*/ 88 w 1405"/>
                  <a:gd name="T57" fmla="*/ 913 h 2646"/>
                  <a:gd name="T58" fmla="*/ 170 w 1405"/>
                  <a:gd name="T59" fmla="*/ 732 h 2646"/>
                  <a:gd name="T60" fmla="*/ 277 w 1405"/>
                  <a:gd name="T61" fmla="*/ 564 h 2646"/>
                  <a:gd name="T62" fmla="*/ 411 w 1405"/>
                  <a:gd name="T63" fmla="*/ 411 h 2646"/>
                  <a:gd name="T64" fmla="*/ 564 w 1405"/>
                  <a:gd name="T65" fmla="*/ 279 h 2646"/>
                  <a:gd name="T66" fmla="*/ 732 w 1405"/>
                  <a:gd name="T67" fmla="*/ 171 h 2646"/>
                  <a:gd name="T68" fmla="*/ 913 w 1405"/>
                  <a:gd name="T69" fmla="*/ 88 h 2646"/>
                  <a:gd name="T70" fmla="*/ 1102 w 1405"/>
                  <a:gd name="T71" fmla="*/ 33 h 2646"/>
                  <a:gd name="T72" fmla="*/ 1302 w 1405"/>
                  <a:gd name="T73" fmla="*/ 4 h 2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05" h="2646">
                    <a:moveTo>
                      <a:pt x="1404" y="0"/>
                    </a:moveTo>
                    <a:lnTo>
                      <a:pt x="1405" y="0"/>
                    </a:lnTo>
                    <a:lnTo>
                      <a:pt x="1300" y="221"/>
                    </a:lnTo>
                    <a:lnTo>
                      <a:pt x="1205" y="233"/>
                    </a:lnTo>
                    <a:lnTo>
                      <a:pt x="1113" y="253"/>
                    </a:lnTo>
                    <a:lnTo>
                      <a:pt x="1024" y="279"/>
                    </a:lnTo>
                    <a:lnTo>
                      <a:pt x="937" y="311"/>
                    </a:lnTo>
                    <a:lnTo>
                      <a:pt x="854" y="351"/>
                    </a:lnTo>
                    <a:lnTo>
                      <a:pt x="775" y="397"/>
                    </a:lnTo>
                    <a:lnTo>
                      <a:pt x="699" y="448"/>
                    </a:lnTo>
                    <a:lnTo>
                      <a:pt x="628" y="505"/>
                    </a:lnTo>
                    <a:lnTo>
                      <a:pt x="562" y="567"/>
                    </a:lnTo>
                    <a:lnTo>
                      <a:pt x="500" y="634"/>
                    </a:lnTo>
                    <a:lnTo>
                      <a:pt x="444" y="706"/>
                    </a:lnTo>
                    <a:lnTo>
                      <a:pt x="393" y="782"/>
                    </a:lnTo>
                    <a:lnTo>
                      <a:pt x="347" y="860"/>
                    </a:lnTo>
                    <a:lnTo>
                      <a:pt x="309" y="944"/>
                    </a:lnTo>
                    <a:lnTo>
                      <a:pt x="276" y="1030"/>
                    </a:lnTo>
                    <a:lnTo>
                      <a:pt x="250" y="1121"/>
                    </a:lnTo>
                    <a:lnTo>
                      <a:pt x="230" y="1212"/>
                    </a:lnTo>
                    <a:lnTo>
                      <a:pt x="220" y="1308"/>
                    </a:lnTo>
                    <a:lnTo>
                      <a:pt x="216" y="1405"/>
                    </a:lnTo>
                    <a:lnTo>
                      <a:pt x="220" y="1499"/>
                    </a:lnTo>
                    <a:lnTo>
                      <a:pt x="230" y="1592"/>
                    </a:lnTo>
                    <a:lnTo>
                      <a:pt x="249" y="1684"/>
                    </a:lnTo>
                    <a:lnTo>
                      <a:pt x="274" y="1772"/>
                    </a:lnTo>
                    <a:lnTo>
                      <a:pt x="305" y="1857"/>
                    </a:lnTo>
                    <a:lnTo>
                      <a:pt x="343" y="1939"/>
                    </a:lnTo>
                    <a:lnTo>
                      <a:pt x="386" y="2018"/>
                    </a:lnTo>
                    <a:lnTo>
                      <a:pt x="436" y="2092"/>
                    </a:lnTo>
                    <a:lnTo>
                      <a:pt x="490" y="2163"/>
                    </a:lnTo>
                    <a:lnTo>
                      <a:pt x="550" y="2230"/>
                    </a:lnTo>
                    <a:lnTo>
                      <a:pt x="614" y="2291"/>
                    </a:lnTo>
                    <a:lnTo>
                      <a:pt x="683" y="2349"/>
                    </a:lnTo>
                    <a:lnTo>
                      <a:pt x="757" y="2400"/>
                    </a:lnTo>
                    <a:lnTo>
                      <a:pt x="833" y="2446"/>
                    </a:lnTo>
                    <a:lnTo>
                      <a:pt x="746" y="2646"/>
                    </a:lnTo>
                    <a:lnTo>
                      <a:pt x="674" y="2604"/>
                    </a:lnTo>
                    <a:lnTo>
                      <a:pt x="605" y="2560"/>
                    </a:lnTo>
                    <a:lnTo>
                      <a:pt x="537" y="2510"/>
                    </a:lnTo>
                    <a:lnTo>
                      <a:pt x="473" y="2455"/>
                    </a:lnTo>
                    <a:lnTo>
                      <a:pt x="411" y="2398"/>
                    </a:lnTo>
                    <a:lnTo>
                      <a:pt x="342" y="2323"/>
                    </a:lnTo>
                    <a:lnTo>
                      <a:pt x="277" y="2244"/>
                    </a:lnTo>
                    <a:lnTo>
                      <a:pt x="221" y="2162"/>
                    </a:lnTo>
                    <a:lnTo>
                      <a:pt x="170" y="2077"/>
                    </a:lnTo>
                    <a:lnTo>
                      <a:pt x="126" y="1988"/>
                    </a:lnTo>
                    <a:lnTo>
                      <a:pt x="88" y="1896"/>
                    </a:lnTo>
                    <a:lnTo>
                      <a:pt x="56" y="1802"/>
                    </a:lnTo>
                    <a:lnTo>
                      <a:pt x="31" y="1705"/>
                    </a:lnTo>
                    <a:lnTo>
                      <a:pt x="14" y="1607"/>
                    </a:lnTo>
                    <a:lnTo>
                      <a:pt x="3" y="1506"/>
                    </a:lnTo>
                    <a:lnTo>
                      <a:pt x="0" y="1405"/>
                    </a:lnTo>
                    <a:lnTo>
                      <a:pt x="3" y="1303"/>
                    </a:lnTo>
                    <a:lnTo>
                      <a:pt x="14" y="1202"/>
                    </a:lnTo>
                    <a:lnTo>
                      <a:pt x="31" y="1104"/>
                    </a:lnTo>
                    <a:lnTo>
                      <a:pt x="56" y="1007"/>
                    </a:lnTo>
                    <a:lnTo>
                      <a:pt x="88" y="913"/>
                    </a:lnTo>
                    <a:lnTo>
                      <a:pt x="126" y="821"/>
                    </a:lnTo>
                    <a:lnTo>
                      <a:pt x="170" y="732"/>
                    </a:lnTo>
                    <a:lnTo>
                      <a:pt x="221" y="647"/>
                    </a:lnTo>
                    <a:lnTo>
                      <a:pt x="277" y="564"/>
                    </a:lnTo>
                    <a:lnTo>
                      <a:pt x="342" y="486"/>
                    </a:lnTo>
                    <a:lnTo>
                      <a:pt x="411" y="411"/>
                    </a:lnTo>
                    <a:lnTo>
                      <a:pt x="486" y="342"/>
                    </a:lnTo>
                    <a:lnTo>
                      <a:pt x="564" y="279"/>
                    </a:lnTo>
                    <a:lnTo>
                      <a:pt x="645" y="221"/>
                    </a:lnTo>
                    <a:lnTo>
                      <a:pt x="732" y="171"/>
                    </a:lnTo>
                    <a:lnTo>
                      <a:pt x="821" y="127"/>
                    </a:lnTo>
                    <a:lnTo>
                      <a:pt x="913" y="88"/>
                    </a:lnTo>
                    <a:lnTo>
                      <a:pt x="1007" y="57"/>
                    </a:lnTo>
                    <a:lnTo>
                      <a:pt x="1102" y="33"/>
                    </a:lnTo>
                    <a:lnTo>
                      <a:pt x="1202" y="14"/>
                    </a:lnTo>
                    <a:lnTo>
                      <a:pt x="1302" y="4"/>
                    </a:lnTo>
                    <a:lnTo>
                      <a:pt x="1404"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2" name="Freeform 20">
                <a:extLst>
                  <a:ext uri="{FF2B5EF4-FFF2-40B4-BE49-F238E27FC236}">
                    <a16:creationId xmlns:a16="http://schemas.microsoft.com/office/drawing/2014/main" id="{E4B137F8-9762-AA05-FFE4-6100F3D33179}"/>
                  </a:ext>
                </a:extLst>
              </p:cNvPr>
              <p:cNvSpPr>
                <a:spLocks/>
              </p:cNvSpPr>
              <p:nvPr/>
            </p:nvSpPr>
            <p:spPr bwMode="auto">
              <a:xfrm>
                <a:off x="-7348538" y="1466850"/>
                <a:ext cx="2901950" cy="4140200"/>
              </a:xfrm>
              <a:custGeom>
                <a:avLst/>
                <a:gdLst>
                  <a:gd name="T0" fmla="*/ 1221 w 1828"/>
                  <a:gd name="T1" fmla="*/ 46 h 2608"/>
                  <a:gd name="T2" fmla="*/ 1354 w 1828"/>
                  <a:gd name="T3" fmla="*/ 151 h 2608"/>
                  <a:gd name="T4" fmla="*/ 1487 w 1828"/>
                  <a:gd name="T5" fmla="*/ 285 h 2608"/>
                  <a:gd name="T6" fmla="*/ 1607 w 1828"/>
                  <a:gd name="T7" fmla="*/ 446 h 2608"/>
                  <a:gd name="T8" fmla="*/ 1703 w 1828"/>
                  <a:gd name="T9" fmla="*/ 620 h 2608"/>
                  <a:gd name="T10" fmla="*/ 1772 w 1828"/>
                  <a:gd name="T11" fmla="*/ 806 h 2608"/>
                  <a:gd name="T12" fmla="*/ 1814 w 1828"/>
                  <a:gd name="T13" fmla="*/ 1001 h 2608"/>
                  <a:gd name="T14" fmla="*/ 1828 w 1828"/>
                  <a:gd name="T15" fmla="*/ 1204 h 2608"/>
                  <a:gd name="T16" fmla="*/ 1814 w 1828"/>
                  <a:gd name="T17" fmla="*/ 1406 h 2608"/>
                  <a:gd name="T18" fmla="*/ 1772 w 1828"/>
                  <a:gd name="T19" fmla="*/ 1601 h 2608"/>
                  <a:gd name="T20" fmla="*/ 1703 w 1828"/>
                  <a:gd name="T21" fmla="*/ 1787 h 2608"/>
                  <a:gd name="T22" fmla="*/ 1607 w 1828"/>
                  <a:gd name="T23" fmla="*/ 1961 h 2608"/>
                  <a:gd name="T24" fmla="*/ 1487 w 1828"/>
                  <a:gd name="T25" fmla="*/ 2122 h 2608"/>
                  <a:gd name="T26" fmla="*/ 1343 w 1828"/>
                  <a:gd name="T27" fmla="*/ 2266 h 2608"/>
                  <a:gd name="T28" fmla="*/ 1183 w 1828"/>
                  <a:gd name="T29" fmla="*/ 2386 h 2608"/>
                  <a:gd name="T30" fmla="*/ 1007 w 1828"/>
                  <a:gd name="T31" fmla="*/ 2482 h 2608"/>
                  <a:gd name="T32" fmla="*/ 821 w 1828"/>
                  <a:gd name="T33" fmla="*/ 2551 h 2608"/>
                  <a:gd name="T34" fmla="*/ 626 w 1828"/>
                  <a:gd name="T35" fmla="*/ 2593 h 2608"/>
                  <a:gd name="T36" fmla="*/ 425 w 1828"/>
                  <a:gd name="T37" fmla="*/ 2608 h 2608"/>
                  <a:gd name="T38" fmla="*/ 209 w 1828"/>
                  <a:gd name="T39" fmla="*/ 2591 h 2608"/>
                  <a:gd name="T40" fmla="*/ 0 w 1828"/>
                  <a:gd name="T41" fmla="*/ 2542 h 2608"/>
                  <a:gd name="T42" fmla="*/ 235 w 1828"/>
                  <a:gd name="T43" fmla="*/ 2376 h 2608"/>
                  <a:gd name="T44" fmla="*/ 425 w 1828"/>
                  <a:gd name="T45" fmla="*/ 2392 h 2608"/>
                  <a:gd name="T46" fmla="*/ 617 w 1828"/>
                  <a:gd name="T47" fmla="*/ 2376 h 2608"/>
                  <a:gd name="T48" fmla="*/ 799 w 1828"/>
                  <a:gd name="T49" fmla="*/ 2331 h 2608"/>
                  <a:gd name="T50" fmla="*/ 971 w 1828"/>
                  <a:gd name="T51" fmla="*/ 2259 h 2608"/>
                  <a:gd name="T52" fmla="*/ 1127 w 1828"/>
                  <a:gd name="T53" fmla="*/ 2162 h 2608"/>
                  <a:gd name="T54" fmla="*/ 1264 w 1828"/>
                  <a:gd name="T55" fmla="*/ 2043 h 2608"/>
                  <a:gd name="T56" fmla="*/ 1383 w 1828"/>
                  <a:gd name="T57" fmla="*/ 1904 h 2608"/>
                  <a:gd name="T58" fmla="*/ 1480 w 1828"/>
                  <a:gd name="T59" fmla="*/ 1749 h 2608"/>
                  <a:gd name="T60" fmla="*/ 1552 w 1828"/>
                  <a:gd name="T61" fmla="*/ 1578 h 2608"/>
                  <a:gd name="T62" fmla="*/ 1597 w 1828"/>
                  <a:gd name="T63" fmla="*/ 1396 h 2608"/>
                  <a:gd name="T64" fmla="*/ 1612 w 1828"/>
                  <a:gd name="T65" fmla="*/ 1204 h 2608"/>
                  <a:gd name="T66" fmla="*/ 1597 w 1828"/>
                  <a:gd name="T67" fmla="*/ 1011 h 2608"/>
                  <a:gd name="T68" fmla="*/ 1552 w 1828"/>
                  <a:gd name="T69" fmla="*/ 828 h 2608"/>
                  <a:gd name="T70" fmla="*/ 1480 w 1828"/>
                  <a:gd name="T71" fmla="*/ 658 h 2608"/>
                  <a:gd name="T72" fmla="*/ 1383 w 1828"/>
                  <a:gd name="T73" fmla="*/ 502 h 2608"/>
                  <a:gd name="T74" fmla="*/ 1264 w 1828"/>
                  <a:gd name="T75" fmla="*/ 365 h 2608"/>
                  <a:gd name="T76" fmla="*/ 1127 w 1828"/>
                  <a:gd name="T77" fmla="*/ 245 h 2608"/>
                  <a:gd name="T78" fmla="*/ 1149 w 1828"/>
                  <a:gd name="T79" fmla="*/ 0 h 2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28" h="2608">
                    <a:moveTo>
                      <a:pt x="1149" y="0"/>
                    </a:moveTo>
                    <a:lnTo>
                      <a:pt x="1221" y="46"/>
                    </a:lnTo>
                    <a:lnTo>
                      <a:pt x="1289" y="96"/>
                    </a:lnTo>
                    <a:lnTo>
                      <a:pt x="1354" y="151"/>
                    </a:lnTo>
                    <a:lnTo>
                      <a:pt x="1417" y="210"/>
                    </a:lnTo>
                    <a:lnTo>
                      <a:pt x="1487" y="285"/>
                    </a:lnTo>
                    <a:lnTo>
                      <a:pt x="1551" y="363"/>
                    </a:lnTo>
                    <a:lnTo>
                      <a:pt x="1607" y="446"/>
                    </a:lnTo>
                    <a:lnTo>
                      <a:pt x="1658" y="531"/>
                    </a:lnTo>
                    <a:lnTo>
                      <a:pt x="1703" y="620"/>
                    </a:lnTo>
                    <a:lnTo>
                      <a:pt x="1741" y="712"/>
                    </a:lnTo>
                    <a:lnTo>
                      <a:pt x="1772" y="806"/>
                    </a:lnTo>
                    <a:lnTo>
                      <a:pt x="1797" y="903"/>
                    </a:lnTo>
                    <a:lnTo>
                      <a:pt x="1814" y="1001"/>
                    </a:lnTo>
                    <a:lnTo>
                      <a:pt x="1826" y="1102"/>
                    </a:lnTo>
                    <a:lnTo>
                      <a:pt x="1828" y="1204"/>
                    </a:lnTo>
                    <a:lnTo>
                      <a:pt x="1826" y="1305"/>
                    </a:lnTo>
                    <a:lnTo>
                      <a:pt x="1814" y="1406"/>
                    </a:lnTo>
                    <a:lnTo>
                      <a:pt x="1797" y="1504"/>
                    </a:lnTo>
                    <a:lnTo>
                      <a:pt x="1772" y="1601"/>
                    </a:lnTo>
                    <a:lnTo>
                      <a:pt x="1741" y="1695"/>
                    </a:lnTo>
                    <a:lnTo>
                      <a:pt x="1703" y="1787"/>
                    </a:lnTo>
                    <a:lnTo>
                      <a:pt x="1658" y="1876"/>
                    </a:lnTo>
                    <a:lnTo>
                      <a:pt x="1607" y="1961"/>
                    </a:lnTo>
                    <a:lnTo>
                      <a:pt x="1551" y="2043"/>
                    </a:lnTo>
                    <a:lnTo>
                      <a:pt x="1487" y="2122"/>
                    </a:lnTo>
                    <a:lnTo>
                      <a:pt x="1417" y="2197"/>
                    </a:lnTo>
                    <a:lnTo>
                      <a:pt x="1343" y="2266"/>
                    </a:lnTo>
                    <a:lnTo>
                      <a:pt x="1264" y="2329"/>
                    </a:lnTo>
                    <a:lnTo>
                      <a:pt x="1183" y="2386"/>
                    </a:lnTo>
                    <a:lnTo>
                      <a:pt x="1096" y="2437"/>
                    </a:lnTo>
                    <a:lnTo>
                      <a:pt x="1007" y="2482"/>
                    </a:lnTo>
                    <a:lnTo>
                      <a:pt x="916" y="2520"/>
                    </a:lnTo>
                    <a:lnTo>
                      <a:pt x="821" y="2551"/>
                    </a:lnTo>
                    <a:lnTo>
                      <a:pt x="726" y="2576"/>
                    </a:lnTo>
                    <a:lnTo>
                      <a:pt x="626" y="2593"/>
                    </a:lnTo>
                    <a:lnTo>
                      <a:pt x="527" y="2604"/>
                    </a:lnTo>
                    <a:lnTo>
                      <a:pt x="425" y="2608"/>
                    </a:lnTo>
                    <a:lnTo>
                      <a:pt x="316" y="2604"/>
                    </a:lnTo>
                    <a:lnTo>
                      <a:pt x="209" y="2591"/>
                    </a:lnTo>
                    <a:lnTo>
                      <a:pt x="103" y="2571"/>
                    </a:lnTo>
                    <a:lnTo>
                      <a:pt x="0" y="2542"/>
                    </a:lnTo>
                    <a:lnTo>
                      <a:pt x="144" y="2358"/>
                    </a:lnTo>
                    <a:lnTo>
                      <a:pt x="235" y="2376"/>
                    </a:lnTo>
                    <a:lnTo>
                      <a:pt x="329" y="2388"/>
                    </a:lnTo>
                    <a:lnTo>
                      <a:pt x="425" y="2392"/>
                    </a:lnTo>
                    <a:lnTo>
                      <a:pt x="522" y="2388"/>
                    </a:lnTo>
                    <a:lnTo>
                      <a:pt x="617" y="2376"/>
                    </a:lnTo>
                    <a:lnTo>
                      <a:pt x="710" y="2358"/>
                    </a:lnTo>
                    <a:lnTo>
                      <a:pt x="799" y="2331"/>
                    </a:lnTo>
                    <a:lnTo>
                      <a:pt x="887" y="2299"/>
                    </a:lnTo>
                    <a:lnTo>
                      <a:pt x="971" y="2259"/>
                    </a:lnTo>
                    <a:lnTo>
                      <a:pt x="1051" y="2214"/>
                    </a:lnTo>
                    <a:lnTo>
                      <a:pt x="1127" y="2162"/>
                    </a:lnTo>
                    <a:lnTo>
                      <a:pt x="1197" y="2105"/>
                    </a:lnTo>
                    <a:lnTo>
                      <a:pt x="1264" y="2043"/>
                    </a:lnTo>
                    <a:lnTo>
                      <a:pt x="1327" y="1977"/>
                    </a:lnTo>
                    <a:lnTo>
                      <a:pt x="1383" y="1904"/>
                    </a:lnTo>
                    <a:lnTo>
                      <a:pt x="1434" y="1829"/>
                    </a:lnTo>
                    <a:lnTo>
                      <a:pt x="1480" y="1749"/>
                    </a:lnTo>
                    <a:lnTo>
                      <a:pt x="1519" y="1665"/>
                    </a:lnTo>
                    <a:lnTo>
                      <a:pt x="1552" y="1578"/>
                    </a:lnTo>
                    <a:lnTo>
                      <a:pt x="1578" y="1488"/>
                    </a:lnTo>
                    <a:lnTo>
                      <a:pt x="1597" y="1396"/>
                    </a:lnTo>
                    <a:lnTo>
                      <a:pt x="1608" y="1301"/>
                    </a:lnTo>
                    <a:lnTo>
                      <a:pt x="1612" y="1204"/>
                    </a:lnTo>
                    <a:lnTo>
                      <a:pt x="1608" y="1106"/>
                    </a:lnTo>
                    <a:lnTo>
                      <a:pt x="1597" y="1011"/>
                    </a:lnTo>
                    <a:lnTo>
                      <a:pt x="1578" y="918"/>
                    </a:lnTo>
                    <a:lnTo>
                      <a:pt x="1552" y="828"/>
                    </a:lnTo>
                    <a:lnTo>
                      <a:pt x="1519" y="742"/>
                    </a:lnTo>
                    <a:lnTo>
                      <a:pt x="1480" y="658"/>
                    </a:lnTo>
                    <a:lnTo>
                      <a:pt x="1434" y="578"/>
                    </a:lnTo>
                    <a:lnTo>
                      <a:pt x="1383" y="502"/>
                    </a:lnTo>
                    <a:lnTo>
                      <a:pt x="1327" y="431"/>
                    </a:lnTo>
                    <a:lnTo>
                      <a:pt x="1264" y="365"/>
                    </a:lnTo>
                    <a:lnTo>
                      <a:pt x="1197" y="302"/>
                    </a:lnTo>
                    <a:lnTo>
                      <a:pt x="1127" y="245"/>
                    </a:lnTo>
                    <a:lnTo>
                      <a:pt x="1051" y="194"/>
                    </a:lnTo>
                    <a:lnTo>
                      <a:pt x="1149"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Freeform 21">
                <a:extLst>
                  <a:ext uri="{FF2B5EF4-FFF2-40B4-BE49-F238E27FC236}">
                    <a16:creationId xmlns:a16="http://schemas.microsoft.com/office/drawing/2014/main" id="{98FD07A9-9627-A2D6-8210-5A2B6EA43382}"/>
                  </a:ext>
                </a:extLst>
              </p:cNvPr>
              <p:cNvSpPr>
                <a:spLocks/>
              </p:cNvSpPr>
              <p:nvPr/>
            </p:nvSpPr>
            <p:spPr bwMode="auto">
              <a:xfrm>
                <a:off x="-7781926" y="1020763"/>
                <a:ext cx="2484438" cy="4814888"/>
              </a:xfrm>
              <a:custGeom>
                <a:avLst/>
                <a:gdLst>
                  <a:gd name="T0" fmla="*/ 834 w 1565"/>
                  <a:gd name="T1" fmla="*/ 0 h 3033"/>
                  <a:gd name="T2" fmla="*/ 1468 w 1565"/>
                  <a:gd name="T3" fmla="*/ 1 h 3033"/>
                  <a:gd name="T4" fmla="*/ 944 w 1565"/>
                  <a:gd name="T5" fmla="*/ 1031 h 3033"/>
                  <a:gd name="T6" fmla="*/ 1565 w 1565"/>
                  <a:gd name="T7" fmla="*/ 1028 h 3033"/>
                  <a:gd name="T8" fmla="*/ 0 w 1565"/>
                  <a:gd name="T9" fmla="*/ 3033 h 3033"/>
                  <a:gd name="T10" fmla="*/ 674 w 1565"/>
                  <a:gd name="T11" fmla="*/ 1491 h 3033"/>
                  <a:gd name="T12" fmla="*/ 119 w 1565"/>
                  <a:gd name="T13" fmla="*/ 1495 h 3033"/>
                  <a:gd name="T14" fmla="*/ 834 w 1565"/>
                  <a:gd name="T15" fmla="*/ 0 h 30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65" h="3033">
                    <a:moveTo>
                      <a:pt x="834" y="0"/>
                    </a:moveTo>
                    <a:lnTo>
                      <a:pt x="1468" y="1"/>
                    </a:lnTo>
                    <a:lnTo>
                      <a:pt x="944" y="1031"/>
                    </a:lnTo>
                    <a:lnTo>
                      <a:pt x="1565" y="1028"/>
                    </a:lnTo>
                    <a:lnTo>
                      <a:pt x="0" y="3033"/>
                    </a:lnTo>
                    <a:lnTo>
                      <a:pt x="674" y="1491"/>
                    </a:lnTo>
                    <a:lnTo>
                      <a:pt x="119" y="1495"/>
                    </a:lnTo>
                    <a:lnTo>
                      <a:pt x="834" y="0"/>
                    </a:lnTo>
                    <a:close/>
                  </a:path>
                </a:pathLst>
              </a:custGeom>
              <a:grpFill/>
              <a:ln w="0">
                <a:noFill/>
                <a:prstDash val="solid"/>
                <a:round/>
                <a:headEnd/>
                <a:tailEnd/>
              </a:ln>
            </p:spPr>
            <p:txBody>
              <a:bodyPr vert="horz" wrap="square" lIns="85703" tIns="42852" rIns="85703" bIns="42852" numCol="1" anchor="t" anchorCtr="0" compatLnSpc="1">
                <a:prstTxWarp prst="textNoShape">
                  <a:avLst/>
                </a:prstTxWarp>
              </a:bodyP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grpSp>
      </p:grpSp>
      <p:graphicFrame>
        <p:nvGraphicFramePr>
          <p:cNvPr id="4" name="Chart 3">
            <a:extLst>
              <a:ext uri="{FF2B5EF4-FFF2-40B4-BE49-F238E27FC236}">
                <a16:creationId xmlns:a16="http://schemas.microsoft.com/office/drawing/2014/main" id="{0623DA7F-1260-EC98-C6B9-5E4BA1AD6D08}"/>
              </a:ext>
            </a:extLst>
          </p:cNvPr>
          <p:cNvGraphicFramePr/>
          <p:nvPr/>
        </p:nvGraphicFramePr>
        <p:xfrm>
          <a:off x="1183633" y="1309889"/>
          <a:ext cx="10074692" cy="5547219"/>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F2F75D4F-24D3-B118-83CD-04770972B335}"/>
              </a:ext>
            </a:extLst>
          </p:cNvPr>
          <p:cNvSpPr txBox="1"/>
          <p:nvPr/>
        </p:nvSpPr>
        <p:spPr>
          <a:xfrm>
            <a:off x="10679629" y="6473517"/>
            <a:ext cx="1229504" cy="153888"/>
          </a:xfrm>
          <a:prstGeom prst="rect">
            <a:avLst/>
          </a:prstGeom>
          <a:noFill/>
        </p:spPr>
        <p:txBody>
          <a:bodyPr wrap="square" lIns="0" tIns="0" rIns="0" bIns="0" rtlCol="0" anchor="b">
            <a:spAutoFit/>
          </a:bodyPr>
          <a:lstStyle/>
          <a:p>
            <a:pPr marL="0" marR="0" lvl="0" indent="0" algn="r" defTabSz="8358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7426B"/>
                </a:solidFill>
                <a:effectLst/>
                <a:uLnTx/>
                <a:uFillTx/>
                <a:latin typeface="Calibri"/>
                <a:ea typeface="+mn-ea"/>
                <a:cs typeface="Calibri" panose="020F0502020204030204" pitchFamily="34" charset="0"/>
              </a:rPr>
              <a:t>Source: Frost &amp; Sullivan</a:t>
            </a:r>
          </a:p>
        </p:txBody>
      </p:sp>
      <p:pic>
        <p:nvPicPr>
          <p:cNvPr id="11" name="Picture 4" descr="Image result">
            <a:extLst>
              <a:ext uri="{FF2B5EF4-FFF2-40B4-BE49-F238E27FC236}">
                <a16:creationId xmlns:a16="http://schemas.microsoft.com/office/drawing/2014/main" id="{FBEA726A-FB5C-1B54-E458-E547F3A081A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36890" y="317429"/>
            <a:ext cx="372843" cy="252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56763072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3216" y="2417"/>
          <a:ext cx="1629" cy="1489"/>
        </p:xfrm>
        <a:graphic>
          <a:graphicData uri="http://schemas.openxmlformats.org/presentationml/2006/ole">
            <mc:AlternateContent xmlns:mc="http://schemas.openxmlformats.org/markup-compatibility/2006">
              <mc:Choice xmlns:v="urn:schemas-microsoft-com:vml" Requires="v">
                <p:oleObj spid="_x0000_s12290" name="think-cell Slide" r:id="rId4" imgW="378" imgH="379" progId="TCLayout.ActiveDocument.1">
                  <p:embed/>
                </p:oleObj>
              </mc:Choice>
              <mc:Fallback>
                <p:oleObj name="think-cell Slide" r:id="rId4" imgW="378" imgH="379" progId="TCLayout.ActiveDocument.1">
                  <p:embed/>
                  <p:pic>
                    <p:nvPicPr>
                      <p:cNvPr id="3" name="Object 2" hidden="1"/>
                      <p:cNvPicPr/>
                      <p:nvPr/>
                    </p:nvPicPr>
                    <p:blipFill>
                      <a:blip r:embed="rId5"/>
                      <a:stretch>
                        <a:fillRect/>
                      </a:stretch>
                    </p:blipFill>
                    <p:spPr>
                      <a:xfrm>
                        <a:off x="3216" y="2417"/>
                        <a:ext cx="1629" cy="1489"/>
                      </a:xfrm>
                      <a:prstGeom prst="rect">
                        <a:avLst/>
                      </a:prstGeom>
                    </p:spPr>
                  </p:pic>
                </p:oleObj>
              </mc:Fallback>
            </mc:AlternateContent>
          </a:graphicData>
        </a:graphic>
      </p:graphicFrame>
      <p:sp>
        <p:nvSpPr>
          <p:cNvPr id="8" name="Title 7"/>
          <p:cNvSpPr>
            <a:spLocks noGrp="1"/>
          </p:cNvSpPr>
          <p:nvPr>
            <p:ph type="title"/>
          </p:nvPr>
        </p:nvSpPr>
        <p:spPr/>
        <p:txBody>
          <a:bodyPr/>
          <a:lstStyle/>
          <a:p>
            <a:r>
              <a:rPr lang="en-US" dirty="0"/>
              <a:t>Key partnerships </a:t>
            </a:r>
            <a:endParaRPr lang="en-IN" dirty="0"/>
          </a:p>
        </p:txBody>
      </p:sp>
      <p:sp>
        <p:nvSpPr>
          <p:cNvPr id="4" name="TextBox 3">
            <a:extLst>
              <a:ext uri="{FF2B5EF4-FFF2-40B4-BE49-F238E27FC236}">
                <a16:creationId xmlns:a16="http://schemas.microsoft.com/office/drawing/2014/main" id="{F6513E49-BD0E-62FC-74D1-B2B56E4F3159}"/>
              </a:ext>
            </a:extLst>
          </p:cNvPr>
          <p:cNvSpPr txBox="1"/>
          <p:nvPr/>
        </p:nvSpPr>
        <p:spPr>
          <a:xfrm>
            <a:off x="10679629" y="6473517"/>
            <a:ext cx="1229504" cy="153888"/>
          </a:xfrm>
          <a:prstGeom prst="rect">
            <a:avLst/>
          </a:prstGeom>
          <a:noFill/>
        </p:spPr>
        <p:txBody>
          <a:bodyPr wrap="square" lIns="0" tIns="0" rIns="0" bIns="0" rtlCol="0" anchor="b">
            <a:spAutoFit/>
          </a:bodyPr>
          <a:lstStyle/>
          <a:p>
            <a:pPr marL="0" marR="0" lvl="0" indent="0" algn="r" defTabSz="835867"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17426B"/>
                </a:solidFill>
                <a:effectLst/>
                <a:uLnTx/>
                <a:uFillTx/>
                <a:latin typeface="Calibri"/>
                <a:ea typeface="+mn-ea"/>
                <a:cs typeface="Calibri" panose="020F0502020204030204" pitchFamily="34" charset="0"/>
              </a:rPr>
              <a:t>Source: Frost &amp; Sullivan</a:t>
            </a:r>
          </a:p>
        </p:txBody>
      </p:sp>
      <p:sp>
        <p:nvSpPr>
          <p:cNvPr id="6" name="Rectangle: Rounded Corners 5">
            <a:extLst>
              <a:ext uri="{FF2B5EF4-FFF2-40B4-BE49-F238E27FC236}">
                <a16:creationId xmlns:a16="http://schemas.microsoft.com/office/drawing/2014/main" id="{6079703F-2FC7-C10D-569E-EED21C83804A}"/>
              </a:ext>
            </a:extLst>
          </p:cNvPr>
          <p:cNvSpPr>
            <a:spLocks/>
          </p:cNvSpPr>
          <p:nvPr/>
        </p:nvSpPr>
        <p:spPr>
          <a:xfrm flipH="1">
            <a:off x="280416" y="771846"/>
            <a:ext cx="11631168" cy="64293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224" marR="0" lvl="0" indent="0" algn="l" defTabSz="857228"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F1899E1E-77B5-3392-6E68-3DABE6AC04BC}"/>
              </a:ext>
            </a:extLst>
          </p:cNvPr>
          <p:cNvSpPr/>
          <p:nvPr/>
        </p:nvSpPr>
        <p:spPr>
          <a:xfrm>
            <a:off x="1119061" y="847096"/>
            <a:ext cx="10656276" cy="492443"/>
          </a:xfrm>
          <a:prstGeom prst="rect">
            <a:avLst/>
          </a:prstGeom>
        </p:spPr>
        <p:txBody>
          <a:bodyPr wrap="square" lIns="0" tIns="0" rIns="0" bIns="0" anchor="ctr">
            <a:spAutoFit/>
          </a:bodyPr>
          <a:lstStyle/>
          <a:p>
            <a:pPr marL="0" marR="0" lvl="0" indent="0" algn="l" defTabSz="83586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Calibri"/>
                <a:ea typeface="+mn-ea"/>
                <a:cs typeface="+mn-cs"/>
              </a:rPr>
              <a:t>Partnerships and co-operation between industry participants vital to overall success as companies aim to drive </a:t>
            </a:r>
            <a:r>
              <a:rPr kumimoji="0" lang="en-US" sz="1600" b="1" i="0" u="none" strike="noStrike" kern="1200" cap="none" spc="0" normalizeH="0" baseline="0" noProof="0" dirty="0" err="1">
                <a:ln>
                  <a:noFill/>
                </a:ln>
                <a:solidFill>
                  <a:prstClr val="white"/>
                </a:solidFill>
                <a:effectLst/>
                <a:uLnTx/>
                <a:uFillTx/>
                <a:latin typeface="Calibri"/>
                <a:ea typeface="+mn-ea"/>
                <a:cs typeface="+mn-cs"/>
              </a:rPr>
              <a:t>solar+storage</a:t>
            </a:r>
            <a:r>
              <a:rPr kumimoji="0" lang="en-US" sz="1600" b="1" i="0" u="none" strike="noStrike" kern="1200" cap="none" spc="0" normalizeH="0" baseline="0" noProof="0" dirty="0">
                <a:ln>
                  <a:noFill/>
                </a:ln>
                <a:solidFill>
                  <a:prstClr val="white"/>
                </a:solidFill>
                <a:effectLst/>
                <a:uLnTx/>
                <a:uFillTx/>
                <a:latin typeface="Calibri"/>
                <a:ea typeface="+mn-ea"/>
                <a:cs typeface="+mn-cs"/>
              </a:rPr>
              <a:t> propositions more</a:t>
            </a:r>
          </a:p>
        </p:txBody>
      </p:sp>
      <p:sp>
        <p:nvSpPr>
          <p:cNvPr id="9" name="Oval 8">
            <a:extLst>
              <a:ext uri="{FF2B5EF4-FFF2-40B4-BE49-F238E27FC236}">
                <a16:creationId xmlns:a16="http://schemas.microsoft.com/office/drawing/2014/main" id="{4282E26F-4FD5-09A1-2C54-2E508067D322}"/>
              </a:ext>
            </a:extLst>
          </p:cNvPr>
          <p:cNvSpPr/>
          <p:nvPr/>
        </p:nvSpPr>
        <p:spPr>
          <a:xfrm>
            <a:off x="416665" y="810242"/>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white"/>
              </a:solidFill>
              <a:effectLst/>
              <a:uLnTx/>
              <a:uFillTx/>
              <a:latin typeface="Calibri"/>
              <a:ea typeface="+mn-ea"/>
              <a:cs typeface="+mn-cs"/>
            </a:endParaRPr>
          </a:p>
        </p:txBody>
      </p:sp>
      <p:sp>
        <p:nvSpPr>
          <p:cNvPr id="10" name="Rectangle 9">
            <a:extLst>
              <a:ext uri="{FF2B5EF4-FFF2-40B4-BE49-F238E27FC236}">
                <a16:creationId xmlns:a16="http://schemas.microsoft.com/office/drawing/2014/main" id="{4DB9CFB4-4FB9-4C4A-676C-F66F985BEDA2}"/>
              </a:ext>
            </a:extLst>
          </p:cNvPr>
          <p:cNvSpPr/>
          <p:nvPr/>
        </p:nvSpPr>
        <p:spPr>
          <a:xfrm>
            <a:off x="280417" y="1071885"/>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88" b="0" i="0" u="none" strike="noStrike" kern="1200" cap="none" spc="0" normalizeH="0" baseline="0" noProof="0" dirty="0">
              <a:ln>
                <a:noFill/>
              </a:ln>
              <a:solidFill>
                <a:prstClr val="white"/>
              </a:solidFill>
              <a:effectLst/>
              <a:uLnTx/>
              <a:uFillTx/>
              <a:latin typeface="Calibri"/>
              <a:ea typeface="+mn-ea"/>
              <a:cs typeface="+mn-cs"/>
            </a:endParaRPr>
          </a:p>
        </p:txBody>
      </p:sp>
      <p:sp>
        <p:nvSpPr>
          <p:cNvPr id="346" name="Freeform 108"/>
          <p:cNvSpPr>
            <a:spLocks noEditPoints="1"/>
          </p:cNvSpPr>
          <p:nvPr/>
        </p:nvSpPr>
        <p:spPr bwMode="auto">
          <a:xfrm flipV="1">
            <a:off x="531029" y="962044"/>
            <a:ext cx="337418" cy="262542"/>
          </a:xfrm>
          <a:custGeom>
            <a:avLst/>
            <a:gdLst>
              <a:gd name="T0" fmla="*/ 0 w 489"/>
              <a:gd name="T1" fmla="*/ 244 h 450"/>
              <a:gd name="T2" fmla="*/ 0 w 489"/>
              <a:gd name="T3" fmla="*/ 65 h 450"/>
              <a:gd name="T4" fmla="*/ 65 w 489"/>
              <a:gd name="T5" fmla="*/ 0 h 450"/>
              <a:gd name="T6" fmla="*/ 217 w 489"/>
              <a:gd name="T7" fmla="*/ 0 h 450"/>
              <a:gd name="T8" fmla="*/ 282 w 489"/>
              <a:gd name="T9" fmla="*/ 66 h 450"/>
              <a:gd name="T10" fmla="*/ 282 w 489"/>
              <a:gd name="T11" fmla="*/ 351 h 450"/>
              <a:gd name="T12" fmla="*/ 297 w 489"/>
              <a:gd name="T13" fmla="*/ 366 h 450"/>
              <a:gd name="T14" fmla="*/ 366 w 489"/>
              <a:gd name="T15" fmla="*/ 366 h 450"/>
              <a:gd name="T16" fmla="*/ 396 w 489"/>
              <a:gd name="T17" fmla="*/ 338 h 450"/>
              <a:gd name="T18" fmla="*/ 368 w 489"/>
              <a:gd name="T19" fmla="*/ 303 h 450"/>
              <a:gd name="T20" fmla="*/ 306 w 489"/>
              <a:gd name="T21" fmla="*/ 228 h 450"/>
              <a:gd name="T22" fmla="*/ 373 w 489"/>
              <a:gd name="T23" fmla="*/ 168 h 450"/>
              <a:gd name="T24" fmla="*/ 403 w 489"/>
              <a:gd name="T25" fmla="*/ 158 h 450"/>
              <a:gd name="T26" fmla="*/ 430 w 489"/>
              <a:gd name="T27" fmla="*/ 144 h 450"/>
              <a:gd name="T28" fmla="*/ 450 w 489"/>
              <a:gd name="T29" fmla="*/ 156 h 450"/>
              <a:gd name="T30" fmla="*/ 458 w 489"/>
              <a:gd name="T31" fmla="*/ 162 h 450"/>
              <a:gd name="T32" fmla="*/ 478 w 489"/>
              <a:gd name="T33" fmla="*/ 162 h 450"/>
              <a:gd name="T34" fmla="*/ 489 w 489"/>
              <a:gd name="T35" fmla="*/ 171 h 450"/>
              <a:gd name="T36" fmla="*/ 478 w 489"/>
              <a:gd name="T37" fmla="*/ 180 h 450"/>
              <a:gd name="T38" fmla="*/ 460 w 489"/>
              <a:gd name="T39" fmla="*/ 180 h 450"/>
              <a:gd name="T40" fmla="*/ 450 w 489"/>
              <a:gd name="T41" fmla="*/ 190 h 450"/>
              <a:gd name="T42" fmla="*/ 460 w 489"/>
              <a:gd name="T43" fmla="*/ 198 h 450"/>
              <a:gd name="T44" fmla="*/ 477 w 489"/>
              <a:gd name="T45" fmla="*/ 198 h 450"/>
              <a:gd name="T46" fmla="*/ 488 w 489"/>
              <a:gd name="T47" fmla="*/ 207 h 450"/>
              <a:gd name="T48" fmla="*/ 477 w 489"/>
              <a:gd name="T49" fmla="*/ 216 h 450"/>
              <a:gd name="T50" fmla="*/ 461 w 489"/>
              <a:gd name="T51" fmla="*/ 216 h 450"/>
              <a:gd name="T52" fmla="*/ 448 w 489"/>
              <a:gd name="T53" fmla="*/ 223 h 450"/>
              <a:gd name="T54" fmla="*/ 410 w 489"/>
              <a:gd name="T55" fmla="*/ 225 h 450"/>
              <a:gd name="T56" fmla="*/ 397 w 489"/>
              <a:gd name="T57" fmla="*/ 214 h 450"/>
              <a:gd name="T58" fmla="*/ 364 w 489"/>
              <a:gd name="T59" fmla="*/ 205 h 450"/>
              <a:gd name="T60" fmla="*/ 342 w 489"/>
              <a:gd name="T61" fmla="*/ 245 h 450"/>
              <a:gd name="T62" fmla="*/ 367 w 489"/>
              <a:gd name="T63" fmla="*/ 268 h 450"/>
              <a:gd name="T64" fmla="*/ 430 w 489"/>
              <a:gd name="T65" fmla="*/ 318 h 450"/>
              <a:gd name="T66" fmla="*/ 365 w 489"/>
              <a:gd name="T67" fmla="*/ 402 h 450"/>
              <a:gd name="T68" fmla="*/ 295 w 489"/>
              <a:gd name="T69" fmla="*/ 402 h 450"/>
              <a:gd name="T70" fmla="*/ 282 w 489"/>
              <a:gd name="T71" fmla="*/ 414 h 450"/>
              <a:gd name="T72" fmla="*/ 282 w 489"/>
              <a:gd name="T73" fmla="*/ 430 h 450"/>
              <a:gd name="T74" fmla="*/ 262 w 489"/>
              <a:gd name="T75" fmla="*/ 450 h 450"/>
              <a:gd name="T76" fmla="*/ 21 w 489"/>
              <a:gd name="T77" fmla="*/ 450 h 450"/>
              <a:gd name="T78" fmla="*/ 0 w 489"/>
              <a:gd name="T79" fmla="*/ 427 h 450"/>
              <a:gd name="T80" fmla="*/ 0 w 489"/>
              <a:gd name="T81" fmla="*/ 244 h 450"/>
              <a:gd name="T82" fmla="*/ 120 w 489"/>
              <a:gd name="T83" fmla="*/ 296 h 450"/>
              <a:gd name="T84" fmla="*/ 120 w 489"/>
              <a:gd name="T85" fmla="*/ 328 h 450"/>
              <a:gd name="T86" fmla="*/ 129 w 489"/>
              <a:gd name="T87" fmla="*/ 347 h 450"/>
              <a:gd name="T88" fmla="*/ 161 w 489"/>
              <a:gd name="T89" fmla="*/ 339 h 450"/>
              <a:gd name="T90" fmla="*/ 220 w 489"/>
              <a:gd name="T91" fmla="*/ 224 h 450"/>
              <a:gd name="T92" fmla="*/ 208 w 489"/>
              <a:gd name="T93" fmla="*/ 204 h 450"/>
              <a:gd name="T94" fmla="*/ 176 w 489"/>
              <a:gd name="T95" fmla="*/ 204 h 450"/>
              <a:gd name="T96" fmla="*/ 156 w 489"/>
              <a:gd name="T97" fmla="*/ 184 h 450"/>
              <a:gd name="T98" fmla="*/ 156 w 489"/>
              <a:gd name="T99" fmla="*/ 121 h 450"/>
              <a:gd name="T100" fmla="*/ 146 w 489"/>
              <a:gd name="T101" fmla="*/ 103 h 450"/>
              <a:gd name="T102" fmla="*/ 114 w 489"/>
              <a:gd name="T103" fmla="*/ 112 h 450"/>
              <a:gd name="T104" fmla="*/ 57 w 489"/>
              <a:gd name="T105" fmla="*/ 225 h 450"/>
              <a:gd name="T106" fmla="*/ 69 w 489"/>
              <a:gd name="T107" fmla="*/ 246 h 450"/>
              <a:gd name="T108" fmla="*/ 99 w 489"/>
              <a:gd name="T109" fmla="*/ 246 h 450"/>
              <a:gd name="T110" fmla="*/ 120 w 489"/>
              <a:gd name="T111" fmla="*/ 266 h 450"/>
              <a:gd name="T112" fmla="*/ 120 w 489"/>
              <a:gd name="T113" fmla="*/ 29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89" h="450">
                <a:moveTo>
                  <a:pt x="0" y="244"/>
                </a:moveTo>
                <a:cubicBezTo>
                  <a:pt x="0" y="184"/>
                  <a:pt x="0" y="125"/>
                  <a:pt x="0" y="65"/>
                </a:cubicBezTo>
                <a:cubicBezTo>
                  <a:pt x="0" y="25"/>
                  <a:pt x="25" y="0"/>
                  <a:pt x="65" y="0"/>
                </a:cubicBezTo>
                <a:cubicBezTo>
                  <a:pt x="116" y="0"/>
                  <a:pt x="166" y="0"/>
                  <a:pt x="217" y="0"/>
                </a:cubicBezTo>
                <a:cubicBezTo>
                  <a:pt x="257" y="0"/>
                  <a:pt x="282" y="25"/>
                  <a:pt x="282" y="66"/>
                </a:cubicBezTo>
                <a:cubicBezTo>
                  <a:pt x="282" y="161"/>
                  <a:pt x="282" y="256"/>
                  <a:pt x="282" y="351"/>
                </a:cubicBezTo>
                <a:cubicBezTo>
                  <a:pt x="282" y="363"/>
                  <a:pt x="285" y="367"/>
                  <a:pt x="297" y="366"/>
                </a:cubicBezTo>
                <a:cubicBezTo>
                  <a:pt x="320" y="365"/>
                  <a:pt x="343" y="366"/>
                  <a:pt x="366" y="366"/>
                </a:cubicBezTo>
                <a:cubicBezTo>
                  <a:pt x="385" y="366"/>
                  <a:pt x="395" y="356"/>
                  <a:pt x="396" y="338"/>
                </a:cubicBezTo>
                <a:cubicBezTo>
                  <a:pt x="397" y="315"/>
                  <a:pt x="388" y="305"/>
                  <a:pt x="368" y="303"/>
                </a:cubicBezTo>
                <a:cubicBezTo>
                  <a:pt x="326" y="300"/>
                  <a:pt x="304" y="273"/>
                  <a:pt x="306" y="228"/>
                </a:cubicBezTo>
                <a:cubicBezTo>
                  <a:pt x="308" y="192"/>
                  <a:pt x="335" y="168"/>
                  <a:pt x="373" y="168"/>
                </a:cubicBezTo>
                <a:cubicBezTo>
                  <a:pt x="385" y="168"/>
                  <a:pt x="394" y="167"/>
                  <a:pt x="403" y="158"/>
                </a:cubicBezTo>
                <a:cubicBezTo>
                  <a:pt x="410" y="150"/>
                  <a:pt x="419" y="145"/>
                  <a:pt x="430" y="144"/>
                </a:cubicBezTo>
                <a:cubicBezTo>
                  <a:pt x="440" y="143"/>
                  <a:pt x="449" y="144"/>
                  <a:pt x="450" y="156"/>
                </a:cubicBezTo>
                <a:cubicBezTo>
                  <a:pt x="450" y="163"/>
                  <a:pt x="454" y="162"/>
                  <a:pt x="458" y="162"/>
                </a:cubicBezTo>
                <a:cubicBezTo>
                  <a:pt x="465" y="162"/>
                  <a:pt x="471" y="162"/>
                  <a:pt x="478" y="162"/>
                </a:cubicBezTo>
                <a:cubicBezTo>
                  <a:pt x="484" y="162"/>
                  <a:pt x="489" y="165"/>
                  <a:pt x="489" y="171"/>
                </a:cubicBezTo>
                <a:cubicBezTo>
                  <a:pt x="488" y="177"/>
                  <a:pt x="484" y="180"/>
                  <a:pt x="478" y="180"/>
                </a:cubicBezTo>
                <a:cubicBezTo>
                  <a:pt x="472" y="180"/>
                  <a:pt x="466" y="180"/>
                  <a:pt x="460" y="180"/>
                </a:cubicBezTo>
                <a:cubicBezTo>
                  <a:pt x="453" y="179"/>
                  <a:pt x="450" y="181"/>
                  <a:pt x="450" y="190"/>
                </a:cubicBezTo>
                <a:cubicBezTo>
                  <a:pt x="450" y="198"/>
                  <a:pt x="454" y="198"/>
                  <a:pt x="460" y="198"/>
                </a:cubicBezTo>
                <a:cubicBezTo>
                  <a:pt x="466" y="198"/>
                  <a:pt x="471" y="198"/>
                  <a:pt x="477" y="198"/>
                </a:cubicBezTo>
                <a:cubicBezTo>
                  <a:pt x="483" y="198"/>
                  <a:pt x="488" y="200"/>
                  <a:pt x="488" y="207"/>
                </a:cubicBezTo>
                <a:cubicBezTo>
                  <a:pt x="489" y="214"/>
                  <a:pt x="484" y="216"/>
                  <a:pt x="477" y="216"/>
                </a:cubicBezTo>
                <a:cubicBezTo>
                  <a:pt x="472" y="216"/>
                  <a:pt x="466" y="216"/>
                  <a:pt x="461" y="216"/>
                </a:cubicBezTo>
                <a:cubicBezTo>
                  <a:pt x="455" y="216"/>
                  <a:pt x="451" y="216"/>
                  <a:pt x="448" y="223"/>
                </a:cubicBezTo>
                <a:cubicBezTo>
                  <a:pt x="446" y="230"/>
                  <a:pt x="420" y="231"/>
                  <a:pt x="410" y="225"/>
                </a:cubicBezTo>
                <a:cubicBezTo>
                  <a:pt x="405" y="222"/>
                  <a:pt x="401" y="219"/>
                  <a:pt x="397" y="214"/>
                </a:cubicBezTo>
                <a:cubicBezTo>
                  <a:pt x="390" y="204"/>
                  <a:pt x="375" y="201"/>
                  <a:pt x="364" y="205"/>
                </a:cubicBezTo>
                <a:cubicBezTo>
                  <a:pt x="351" y="211"/>
                  <a:pt x="340" y="231"/>
                  <a:pt x="342" y="245"/>
                </a:cubicBezTo>
                <a:cubicBezTo>
                  <a:pt x="344" y="259"/>
                  <a:pt x="353" y="267"/>
                  <a:pt x="367" y="268"/>
                </a:cubicBezTo>
                <a:cubicBezTo>
                  <a:pt x="404" y="273"/>
                  <a:pt x="423" y="288"/>
                  <a:pt x="430" y="318"/>
                </a:cubicBezTo>
                <a:cubicBezTo>
                  <a:pt x="441" y="364"/>
                  <a:pt x="412" y="402"/>
                  <a:pt x="365" y="402"/>
                </a:cubicBezTo>
                <a:cubicBezTo>
                  <a:pt x="342" y="402"/>
                  <a:pt x="318" y="402"/>
                  <a:pt x="295" y="402"/>
                </a:cubicBezTo>
                <a:cubicBezTo>
                  <a:pt x="285" y="402"/>
                  <a:pt x="280" y="404"/>
                  <a:pt x="282" y="414"/>
                </a:cubicBezTo>
                <a:cubicBezTo>
                  <a:pt x="283" y="419"/>
                  <a:pt x="282" y="425"/>
                  <a:pt x="282" y="430"/>
                </a:cubicBezTo>
                <a:cubicBezTo>
                  <a:pt x="281" y="443"/>
                  <a:pt x="275" y="450"/>
                  <a:pt x="262" y="450"/>
                </a:cubicBezTo>
                <a:cubicBezTo>
                  <a:pt x="182" y="450"/>
                  <a:pt x="101" y="450"/>
                  <a:pt x="21" y="450"/>
                </a:cubicBezTo>
                <a:cubicBezTo>
                  <a:pt x="6" y="450"/>
                  <a:pt x="0" y="443"/>
                  <a:pt x="0" y="427"/>
                </a:cubicBezTo>
                <a:cubicBezTo>
                  <a:pt x="0" y="366"/>
                  <a:pt x="0" y="305"/>
                  <a:pt x="0" y="244"/>
                </a:cubicBezTo>
                <a:close/>
                <a:moveTo>
                  <a:pt x="120" y="296"/>
                </a:moveTo>
                <a:cubicBezTo>
                  <a:pt x="120" y="307"/>
                  <a:pt x="120" y="317"/>
                  <a:pt x="120" y="328"/>
                </a:cubicBezTo>
                <a:cubicBezTo>
                  <a:pt x="120" y="336"/>
                  <a:pt x="119" y="346"/>
                  <a:pt x="129" y="347"/>
                </a:cubicBezTo>
                <a:cubicBezTo>
                  <a:pt x="140" y="348"/>
                  <a:pt x="154" y="353"/>
                  <a:pt x="161" y="339"/>
                </a:cubicBezTo>
                <a:cubicBezTo>
                  <a:pt x="181" y="301"/>
                  <a:pt x="200" y="262"/>
                  <a:pt x="220" y="224"/>
                </a:cubicBezTo>
                <a:cubicBezTo>
                  <a:pt x="226" y="212"/>
                  <a:pt x="221" y="205"/>
                  <a:pt x="208" y="204"/>
                </a:cubicBezTo>
                <a:cubicBezTo>
                  <a:pt x="197" y="204"/>
                  <a:pt x="187" y="204"/>
                  <a:pt x="176" y="204"/>
                </a:cubicBezTo>
                <a:cubicBezTo>
                  <a:pt x="158" y="204"/>
                  <a:pt x="156" y="202"/>
                  <a:pt x="156" y="184"/>
                </a:cubicBezTo>
                <a:cubicBezTo>
                  <a:pt x="156" y="163"/>
                  <a:pt x="156" y="142"/>
                  <a:pt x="156" y="121"/>
                </a:cubicBezTo>
                <a:cubicBezTo>
                  <a:pt x="156" y="113"/>
                  <a:pt x="156" y="104"/>
                  <a:pt x="146" y="103"/>
                </a:cubicBezTo>
                <a:cubicBezTo>
                  <a:pt x="135" y="102"/>
                  <a:pt x="122" y="97"/>
                  <a:pt x="114" y="112"/>
                </a:cubicBezTo>
                <a:cubicBezTo>
                  <a:pt x="95" y="150"/>
                  <a:pt x="76" y="187"/>
                  <a:pt x="57" y="225"/>
                </a:cubicBezTo>
                <a:cubicBezTo>
                  <a:pt x="50" y="238"/>
                  <a:pt x="55" y="245"/>
                  <a:pt x="69" y="246"/>
                </a:cubicBezTo>
                <a:cubicBezTo>
                  <a:pt x="79" y="246"/>
                  <a:pt x="89" y="246"/>
                  <a:pt x="99" y="246"/>
                </a:cubicBezTo>
                <a:cubicBezTo>
                  <a:pt x="118" y="246"/>
                  <a:pt x="120" y="248"/>
                  <a:pt x="120" y="266"/>
                </a:cubicBezTo>
                <a:cubicBezTo>
                  <a:pt x="120" y="276"/>
                  <a:pt x="120" y="286"/>
                  <a:pt x="120" y="296"/>
                </a:cubicBezTo>
                <a:close/>
              </a:path>
            </a:pathLst>
          </a:custGeom>
          <a:solidFill>
            <a:schemeClr val="bg1"/>
          </a:solidFill>
          <a:ln>
            <a:noFill/>
          </a:ln>
        </p:spPr>
        <p:txBody>
          <a:bodyPr vert="horz" wrap="square" lIns="90025" tIns="45026" rIns="90025" bIns="45026" numCol="1" anchor="t" anchorCtr="0" compatLnSpc="1">
            <a:prstTxWarp prst="textNoShape">
              <a:avLst/>
            </a:prstTxWarp>
          </a:bodyPr>
          <a:lstStyle/>
          <a:p>
            <a:pPr marL="0" marR="0" lvl="0" indent="0" algn="l" defTabSz="1080155" rtl="0" eaLnBrk="1" fontAlgn="auto" latinLnBrk="0" hangingPunct="1">
              <a:lnSpc>
                <a:spcPct val="100000"/>
              </a:lnSpc>
              <a:spcBef>
                <a:spcPts val="0"/>
              </a:spcBef>
              <a:spcAft>
                <a:spcPts val="0"/>
              </a:spcAft>
              <a:buClrTx/>
              <a:buSzTx/>
              <a:buFontTx/>
              <a:buNone/>
              <a:tabLst/>
              <a:defRPr/>
            </a:pPr>
            <a:endParaRPr kumimoji="0" lang="en-US" sz="2133" b="0" i="0" u="none" strike="noStrike" kern="1200" cap="none" spc="0" normalizeH="0" baseline="0" noProof="0" dirty="0">
              <a:ln>
                <a:noFill/>
              </a:ln>
              <a:solidFill>
                <a:srgbClr val="000000"/>
              </a:solidFill>
              <a:effectLst/>
              <a:uLnTx/>
              <a:uFillTx/>
              <a:latin typeface="Calibri"/>
              <a:ea typeface="+mn-ea"/>
              <a:cs typeface="+mn-cs"/>
            </a:endParaRPr>
          </a:p>
        </p:txBody>
      </p:sp>
      <p:sp>
        <p:nvSpPr>
          <p:cNvPr id="451" name="Rectangle 450">
            <a:extLst>
              <a:ext uri="{FF2B5EF4-FFF2-40B4-BE49-F238E27FC236}">
                <a16:creationId xmlns:a16="http://schemas.microsoft.com/office/drawing/2014/main" id="{CC32DB18-8463-4D2E-20BF-24E6828DBE6F}"/>
              </a:ext>
            </a:extLst>
          </p:cNvPr>
          <p:cNvSpPr/>
          <p:nvPr/>
        </p:nvSpPr>
        <p:spPr>
          <a:xfrm>
            <a:off x="2724397" y="1605760"/>
            <a:ext cx="7488832" cy="351532"/>
          </a:xfrm>
          <a:prstGeom prst="rect">
            <a:avLst/>
          </a:prstGeom>
          <a:noFill/>
          <a:ln w="19050" cap="flat" cmpd="sng" algn="ctr">
            <a:solidFill>
              <a:srgbClr val="ACBED1">
                <a:lumMod val="75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pic>
        <p:nvPicPr>
          <p:cNvPr id="452" name="Picture 162" descr="http://www.solarcity.com/sites/default/files/og-sc-logo.png">
            <a:extLst>
              <a:ext uri="{FF2B5EF4-FFF2-40B4-BE49-F238E27FC236}">
                <a16:creationId xmlns:a16="http://schemas.microsoft.com/office/drawing/2014/main" id="{4F839DD9-D7AF-2EA3-3828-812F624B7A52}"/>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25626" b="26476"/>
          <a:stretch/>
        </p:blipFill>
        <p:spPr bwMode="auto">
          <a:xfrm>
            <a:off x="2940422" y="1677770"/>
            <a:ext cx="962539" cy="242041"/>
          </a:xfrm>
          <a:prstGeom prst="rect">
            <a:avLst/>
          </a:prstGeom>
          <a:noFill/>
          <a:extLst>
            <a:ext uri="{909E8E84-426E-40DD-AFC4-6F175D3DCCD1}">
              <a14:hiddenFill xmlns:a14="http://schemas.microsoft.com/office/drawing/2010/main">
                <a:solidFill>
                  <a:srgbClr val="FFFFFF"/>
                </a:solidFill>
              </a14:hiddenFill>
            </a:ext>
          </a:extLst>
        </p:spPr>
      </p:pic>
      <p:pic>
        <p:nvPicPr>
          <p:cNvPr id="453" name="Picture 166" descr="http://www.insidermonkey.com/blog/wp-content/uploads/2014/10/vivint-solar1_0.jpeg">
            <a:extLst>
              <a:ext uri="{FF2B5EF4-FFF2-40B4-BE49-F238E27FC236}">
                <a16:creationId xmlns:a16="http://schemas.microsoft.com/office/drawing/2014/main" id="{0473C738-3296-2679-A30B-B6ADFE05477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17621" y="1696742"/>
            <a:ext cx="1290836" cy="195641"/>
          </a:xfrm>
          <a:prstGeom prst="rect">
            <a:avLst/>
          </a:prstGeom>
          <a:noFill/>
          <a:extLst>
            <a:ext uri="{909E8E84-426E-40DD-AFC4-6F175D3DCCD1}">
              <a14:hiddenFill xmlns:a14="http://schemas.microsoft.com/office/drawing/2010/main">
                <a:solidFill>
                  <a:srgbClr val="FFFFFF"/>
                </a:solidFill>
              </a14:hiddenFill>
            </a:ext>
          </a:extLst>
        </p:spPr>
      </p:pic>
      <p:pic>
        <p:nvPicPr>
          <p:cNvPr id="454" name="Picture 172" descr="https://www.sunrun.com/sites/default/themes/sunrun/public/assets/images/sunrun-logo.png">
            <a:extLst>
              <a:ext uri="{FF2B5EF4-FFF2-40B4-BE49-F238E27FC236}">
                <a16:creationId xmlns:a16="http://schemas.microsoft.com/office/drawing/2014/main" id="{4A9299F7-80F9-1D24-0926-9C5191A06DB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508574" y="1692603"/>
            <a:ext cx="992263" cy="196993"/>
          </a:xfrm>
          <a:prstGeom prst="rect">
            <a:avLst/>
          </a:prstGeom>
          <a:noFill/>
          <a:extLst>
            <a:ext uri="{909E8E84-426E-40DD-AFC4-6F175D3DCCD1}">
              <a14:hiddenFill xmlns:a14="http://schemas.microsoft.com/office/drawing/2010/main">
                <a:solidFill>
                  <a:srgbClr val="FFFFFF"/>
                </a:solidFill>
              </a14:hiddenFill>
            </a:ext>
          </a:extLst>
        </p:spPr>
      </p:pic>
      <p:pic>
        <p:nvPicPr>
          <p:cNvPr id="455" name="Picture 164" descr="http://www.sungevity.com/assets/img/footer-logo-2x.png?v=1">
            <a:extLst>
              <a:ext uri="{FF2B5EF4-FFF2-40B4-BE49-F238E27FC236}">
                <a16:creationId xmlns:a16="http://schemas.microsoft.com/office/drawing/2014/main" id="{F3BF7AA9-0C9A-DBEC-56D2-7AB1EDC1F5F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366073" y="1650459"/>
            <a:ext cx="1131664" cy="270614"/>
          </a:xfrm>
          <a:prstGeom prst="rect">
            <a:avLst/>
          </a:prstGeom>
          <a:noFill/>
          <a:extLst>
            <a:ext uri="{909E8E84-426E-40DD-AFC4-6F175D3DCCD1}">
              <a14:hiddenFill xmlns:a14="http://schemas.microsoft.com/office/drawing/2010/main">
                <a:solidFill>
                  <a:srgbClr val="FFFFFF"/>
                </a:solidFill>
              </a14:hiddenFill>
            </a:ext>
          </a:extLst>
        </p:spPr>
      </p:pic>
      <p:pic>
        <p:nvPicPr>
          <p:cNvPr id="456" name="Picture 26" descr="http://www.burgnetwork.com/images/business/3972.jpg">
            <a:extLst>
              <a:ext uri="{FF2B5EF4-FFF2-40B4-BE49-F238E27FC236}">
                <a16:creationId xmlns:a16="http://schemas.microsoft.com/office/drawing/2014/main" id="{77231466-BAA7-EDE9-A483-9F43F431835F}"/>
              </a:ext>
            </a:extLst>
          </p:cNvPr>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11706" b="28179"/>
          <a:stretch/>
        </p:blipFill>
        <p:spPr bwMode="auto">
          <a:xfrm>
            <a:off x="8945253" y="1644978"/>
            <a:ext cx="907936" cy="272903"/>
          </a:xfrm>
          <a:prstGeom prst="rect">
            <a:avLst/>
          </a:prstGeom>
          <a:noFill/>
          <a:extLst>
            <a:ext uri="{909E8E84-426E-40DD-AFC4-6F175D3DCCD1}">
              <a14:hiddenFill xmlns:a14="http://schemas.microsoft.com/office/drawing/2010/main">
                <a:solidFill>
                  <a:srgbClr val="FFFFFF"/>
                </a:solidFill>
              </a14:hiddenFill>
            </a:ext>
          </a:extLst>
        </p:spPr>
      </p:pic>
      <p:pic>
        <p:nvPicPr>
          <p:cNvPr id="457" name="Picture 120">
            <a:extLst>
              <a:ext uri="{FF2B5EF4-FFF2-40B4-BE49-F238E27FC236}">
                <a16:creationId xmlns:a16="http://schemas.microsoft.com/office/drawing/2014/main" id="{FACFC550-3442-F295-06A4-FF367DA2473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781181" y="3857465"/>
            <a:ext cx="335876" cy="13078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8" name="Picture 123">
            <a:extLst>
              <a:ext uri="{FF2B5EF4-FFF2-40B4-BE49-F238E27FC236}">
                <a16:creationId xmlns:a16="http://schemas.microsoft.com/office/drawing/2014/main" id="{37FF4782-2A2F-D77C-74BA-6819679EA94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989244" y="3615927"/>
            <a:ext cx="844754" cy="180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59" name="Picture 126">
            <a:extLst>
              <a:ext uri="{FF2B5EF4-FFF2-40B4-BE49-F238E27FC236}">
                <a16:creationId xmlns:a16="http://schemas.microsoft.com/office/drawing/2014/main" id="{88E16E6B-AB2B-E21F-7FF3-3B4C6F1B8159}"/>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349134" y="3806177"/>
            <a:ext cx="366071" cy="226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0" name="Picture 132" descr="http://cleantechnica.com/files/2015/12/Trina-2.jpg">
            <a:extLst>
              <a:ext uri="{FF2B5EF4-FFF2-40B4-BE49-F238E27FC236}">
                <a16:creationId xmlns:a16="http://schemas.microsoft.com/office/drawing/2014/main" id="{0764021C-B847-39E9-868C-EDE979B00A1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518473" y="2531596"/>
            <a:ext cx="646084" cy="226293"/>
          </a:xfrm>
          <a:prstGeom prst="rect">
            <a:avLst/>
          </a:prstGeom>
          <a:noFill/>
          <a:extLst>
            <a:ext uri="{909E8E84-426E-40DD-AFC4-6F175D3DCCD1}">
              <a14:hiddenFill xmlns:a14="http://schemas.microsoft.com/office/drawing/2010/main">
                <a:solidFill>
                  <a:srgbClr val="FFFFFF"/>
                </a:solidFill>
              </a14:hiddenFill>
            </a:ext>
          </a:extLst>
        </p:spPr>
      </p:pic>
      <p:pic>
        <p:nvPicPr>
          <p:cNvPr id="461" name="Picture 135">
            <a:extLst>
              <a:ext uri="{FF2B5EF4-FFF2-40B4-BE49-F238E27FC236}">
                <a16:creationId xmlns:a16="http://schemas.microsoft.com/office/drawing/2014/main" id="{9C0C52CA-AF19-F843-C399-727AF846D34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448437" y="2872370"/>
            <a:ext cx="660020" cy="101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62" name="Picture 137" descr="http://cleantechnica.com/files/2015/05/jinko-solar-logo.png">
            <a:extLst>
              <a:ext uri="{FF2B5EF4-FFF2-40B4-BE49-F238E27FC236}">
                <a16:creationId xmlns:a16="http://schemas.microsoft.com/office/drawing/2014/main" id="{44FFE273-3953-44E3-B648-E3A02D361D76}"/>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858597" y="2757889"/>
            <a:ext cx="529780" cy="329081"/>
          </a:xfrm>
          <a:prstGeom prst="rect">
            <a:avLst/>
          </a:prstGeom>
          <a:noFill/>
          <a:extLst>
            <a:ext uri="{909E8E84-426E-40DD-AFC4-6F175D3DCCD1}">
              <a14:hiddenFill xmlns:a14="http://schemas.microsoft.com/office/drawing/2010/main">
                <a:solidFill>
                  <a:srgbClr val="FFFFFF"/>
                </a:solidFill>
              </a14:hiddenFill>
            </a:ext>
          </a:extLst>
        </p:spPr>
      </p:pic>
      <p:pic>
        <p:nvPicPr>
          <p:cNvPr id="463" name="Picture 146" descr="https://upload.wikimedia.org/wikipedia/en/8/80/Yingli_Green_Energy_logo.jpg">
            <a:extLst>
              <a:ext uri="{FF2B5EF4-FFF2-40B4-BE49-F238E27FC236}">
                <a16:creationId xmlns:a16="http://schemas.microsoft.com/office/drawing/2014/main" id="{4C08C4B1-E290-E907-98A1-3AFB8387CAFF}"/>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3430853" y="2816814"/>
            <a:ext cx="589689" cy="373122"/>
          </a:xfrm>
          <a:prstGeom prst="rect">
            <a:avLst/>
          </a:prstGeom>
          <a:noFill/>
          <a:extLst>
            <a:ext uri="{909E8E84-426E-40DD-AFC4-6F175D3DCCD1}">
              <a14:hiddenFill xmlns:a14="http://schemas.microsoft.com/office/drawing/2010/main">
                <a:solidFill>
                  <a:srgbClr val="FFFFFF"/>
                </a:solidFill>
              </a14:hiddenFill>
            </a:ext>
          </a:extLst>
        </p:spPr>
      </p:pic>
      <p:pic>
        <p:nvPicPr>
          <p:cNvPr id="464" name="Picture 7" descr="http://photos.prnewswire.com/prn/20140616/691314">
            <a:extLst>
              <a:ext uri="{FF2B5EF4-FFF2-40B4-BE49-F238E27FC236}">
                <a16:creationId xmlns:a16="http://schemas.microsoft.com/office/drawing/2014/main" id="{CBF541DB-18DE-ABF0-08EB-03ACC1924340}"/>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3050972" y="4844915"/>
            <a:ext cx="759761" cy="312826"/>
          </a:xfrm>
          <a:prstGeom prst="rect">
            <a:avLst/>
          </a:prstGeom>
          <a:noFill/>
          <a:extLst>
            <a:ext uri="{909E8E84-426E-40DD-AFC4-6F175D3DCCD1}">
              <a14:hiddenFill xmlns:a14="http://schemas.microsoft.com/office/drawing/2010/main">
                <a:solidFill>
                  <a:srgbClr val="FFFFFF"/>
                </a:solidFill>
              </a14:hiddenFill>
            </a:ext>
          </a:extLst>
        </p:spPr>
      </p:pic>
      <p:pic>
        <p:nvPicPr>
          <p:cNvPr id="465" name="Picture 195" descr="http://c1cleantechnicacom.wpengine.netdna-cdn.com/files/2015/12/sonnenbatterie-logo.png">
            <a:extLst>
              <a:ext uri="{FF2B5EF4-FFF2-40B4-BE49-F238E27FC236}">
                <a16:creationId xmlns:a16="http://schemas.microsoft.com/office/drawing/2014/main" id="{DB78BD26-F164-9BD3-1B78-5D2317741A10}"/>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505845" y="4877377"/>
            <a:ext cx="854745" cy="294887"/>
          </a:xfrm>
          <a:prstGeom prst="rect">
            <a:avLst/>
          </a:prstGeom>
          <a:noFill/>
          <a:extLst>
            <a:ext uri="{909E8E84-426E-40DD-AFC4-6F175D3DCCD1}">
              <a14:hiddenFill xmlns:a14="http://schemas.microsoft.com/office/drawing/2010/main">
                <a:solidFill>
                  <a:srgbClr val="FFFFFF"/>
                </a:solidFill>
              </a14:hiddenFill>
            </a:ext>
          </a:extLst>
        </p:spPr>
      </p:pic>
      <p:grpSp>
        <p:nvGrpSpPr>
          <p:cNvPr id="466" name="Group 465">
            <a:extLst>
              <a:ext uri="{FF2B5EF4-FFF2-40B4-BE49-F238E27FC236}">
                <a16:creationId xmlns:a16="http://schemas.microsoft.com/office/drawing/2014/main" id="{8FEC5F22-DC8D-D497-C760-F1A12EB4F14D}"/>
              </a:ext>
            </a:extLst>
          </p:cNvPr>
          <p:cNvGrpSpPr/>
          <p:nvPr/>
        </p:nvGrpSpPr>
        <p:grpSpPr>
          <a:xfrm>
            <a:off x="2724397" y="1605760"/>
            <a:ext cx="7488832" cy="4176466"/>
            <a:chOff x="1187624" y="1484782"/>
            <a:chExt cx="7488832" cy="4666737"/>
          </a:xfrm>
        </p:grpSpPr>
        <p:cxnSp>
          <p:nvCxnSpPr>
            <p:cNvPr id="467" name="Straight Connector 466">
              <a:extLst>
                <a:ext uri="{FF2B5EF4-FFF2-40B4-BE49-F238E27FC236}">
                  <a16:creationId xmlns:a16="http://schemas.microsoft.com/office/drawing/2014/main" id="{2F75949D-3FE2-3FFB-3534-37073EE2A4CD}"/>
                </a:ext>
              </a:extLst>
            </p:cNvPr>
            <p:cNvCxnSpPr/>
            <p:nvPr/>
          </p:nvCxnSpPr>
          <p:spPr>
            <a:xfrm>
              <a:off x="2685390" y="1484782"/>
              <a:ext cx="0" cy="4666737"/>
            </a:xfrm>
            <a:prstGeom prst="line">
              <a:avLst/>
            </a:prstGeom>
            <a:noFill/>
            <a:ln w="9525" cap="flat" cmpd="sng" algn="ctr">
              <a:solidFill>
                <a:srgbClr val="ACBED1"/>
              </a:solidFill>
              <a:prstDash val="dash"/>
            </a:ln>
            <a:effectLst/>
          </p:spPr>
        </p:cxnSp>
        <p:cxnSp>
          <p:nvCxnSpPr>
            <p:cNvPr id="468" name="Straight Connector 467">
              <a:extLst>
                <a:ext uri="{FF2B5EF4-FFF2-40B4-BE49-F238E27FC236}">
                  <a16:creationId xmlns:a16="http://schemas.microsoft.com/office/drawing/2014/main" id="{4EA4404B-7276-E7E5-6D59-257B38D799E0}"/>
                </a:ext>
              </a:extLst>
            </p:cNvPr>
            <p:cNvCxnSpPr/>
            <p:nvPr/>
          </p:nvCxnSpPr>
          <p:spPr>
            <a:xfrm>
              <a:off x="4183156" y="1484782"/>
              <a:ext cx="0" cy="4666737"/>
            </a:xfrm>
            <a:prstGeom prst="line">
              <a:avLst/>
            </a:prstGeom>
            <a:noFill/>
            <a:ln w="9525" cap="flat" cmpd="sng" algn="ctr">
              <a:solidFill>
                <a:srgbClr val="ACBED1"/>
              </a:solidFill>
              <a:prstDash val="dash"/>
            </a:ln>
            <a:effectLst/>
          </p:spPr>
        </p:cxnSp>
        <p:cxnSp>
          <p:nvCxnSpPr>
            <p:cNvPr id="469" name="Straight Connector 468">
              <a:extLst>
                <a:ext uri="{FF2B5EF4-FFF2-40B4-BE49-F238E27FC236}">
                  <a16:creationId xmlns:a16="http://schemas.microsoft.com/office/drawing/2014/main" id="{561F39DA-E0A8-7BEC-124D-20050330D4A8}"/>
                </a:ext>
              </a:extLst>
            </p:cNvPr>
            <p:cNvCxnSpPr/>
            <p:nvPr/>
          </p:nvCxnSpPr>
          <p:spPr>
            <a:xfrm>
              <a:off x="5680922" y="1484782"/>
              <a:ext cx="0" cy="4666737"/>
            </a:xfrm>
            <a:prstGeom prst="line">
              <a:avLst/>
            </a:prstGeom>
            <a:noFill/>
            <a:ln w="9525" cap="flat" cmpd="sng" algn="ctr">
              <a:solidFill>
                <a:srgbClr val="ACBED1"/>
              </a:solidFill>
              <a:prstDash val="dash"/>
            </a:ln>
            <a:effectLst/>
          </p:spPr>
        </p:cxnSp>
        <p:cxnSp>
          <p:nvCxnSpPr>
            <p:cNvPr id="470" name="Straight Connector 469">
              <a:extLst>
                <a:ext uri="{FF2B5EF4-FFF2-40B4-BE49-F238E27FC236}">
                  <a16:creationId xmlns:a16="http://schemas.microsoft.com/office/drawing/2014/main" id="{CE91C2B2-728D-C3E9-73E4-E5FE9121D555}"/>
                </a:ext>
              </a:extLst>
            </p:cNvPr>
            <p:cNvCxnSpPr/>
            <p:nvPr/>
          </p:nvCxnSpPr>
          <p:spPr>
            <a:xfrm>
              <a:off x="7178688" y="1484782"/>
              <a:ext cx="0" cy="4666737"/>
            </a:xfrm>
            <a:prstGeom prst="line">
              <a:avLst/>
            </a:prstGeom>
            <a:noFill/>
            <a:ln w="9525" cap="flat" cmpd="sng" algn="ctr">
              <a:solidFill>
                <a:srgbClr val="ACBED1"/>
              </a:solidFill>
              <a:prstDash val="dash"/>
            </a:ln>
            <a:effectLst/>
          </p:spPr>
        </p:cxnSp>
        <p:cxnSp>
          <p:nvCxnSpPr>
            <p:cNvPr id="471" name="Straight Connector 470">
              <a:extLst>
                <a:ext uri="{FF2B5EF4-FFF2-40B4-BE49-F238E27FC236}">
                  <a16:creationId xmlns:a16="http://schemas.microsoft.com/office/drawing/2014/main" id="{43576A81-BFC4-EFA8-D1A1-86BC784F14E0}"/>
                </a:ext>
              </a:extLst>
            </p:cNvPr>
            <p:cNvCxnSpPr/>
            <p:nvPr/>
          </p:nvCxnSpPr>
          <p:spPr>
            <a:xfrm>
              <a:off x="1187624" y="1484782"/>
              <a:ext cx="0" cy="4666737"/>
            </a:xfrm>
            <a:prstGeom prst="line">
              <a:avLst/>
            </a:prstGeom>
            <a:noFill/>
            <a:ln w="9525" cap="flat" cmpd="sng" algn="ctr">
              <a:solidFill>
                <a:srgbClr val="ACBED1"/>
              </a:solidFill>
              <a:prstDash val="dash"/>
            </a:ln>
            <a:effectLst/>
          </p:spPr>
        </p:cxnSp>
        <p:cxnSp>
          <p:nvCxnSpPr>
            <p:cNvPr id="472" name="Straight Connector 471">
              <a:extLst>
                <a:ext uri="{FF2B5EF4-FFF2-40B4-BE49-F238E27FC236}">
                  <a16:creationId xmlns:a16="http://schemas.microsoft.com/office/drawing/2014/main" id="{72D3EFB2-ECB0-CDE7-BF11-D48F39ACD8BE}"/>
                </a:ext>
              </a:extLst>
            </p:cNvPr>
            <p:cNvCxnSpPr/>
            <p:nvPr/>
          </p:nvCxnSpPr>
          <p:spPr>
            <a:xfrm>
              <a:off x="8676456" y="1484782"/>
              <a:ext cx="0" cy="4666737"/>
            </a:xfrm>
            <a:prstGeom prst="line">
              <a:avLst/>
            </a:prstGeom>
            <a:noFill/>
            <a:ln w="9525" cap="flat" cmpd="sng" algn="ctr">
              <a:solidFill>
                <a:srgbClr val="ACBED1"/>
              </a:solidFill>
              <a:prstDash val="dash"/>
            </a:ln>
            <a:effectLst/>
          </p:spPr>
        </p:cxnSp>
      </p:grpSp>
      <p:sp>
        <p:nvSpPr>
          <p:cNvPr id="473" name="TextBox 472">
            <a:extLst>
              <a:ext uri="{FF2B5EF4-FFF2-40B4-BE49-F238E27FC236}">
                <a16:creationId xmlns:a16="http://schemas.microsoft.com/office/drawing/2014/main" id="{80DF0089-A546-D3DC-CA3B-87747AEAA5D9}"/>
              </a:ext>
            </a:extLst>
          </p:cNvPr>
          <p:cNvSpPr txBox="1"/>
          <p:nvPr/>
        </p:nvSpPr>
        <p:spPr>
          <a:xfrm>
            <a:off x="1722894" y="4768453"/>
            <a:ext cx="994897" cy="369332"/>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panose="020B0604020202020204" pitchFamily="34" charset="0"/>
                <a:cs typeface="Arial" panose="020B0604020202020204" pitchFamily="34" charset="0"/>
              </a:rPr>
              <a:t>Battery Suppliers</a:t>
            </a:r>
          </a:p>
        </p:txBody>
      </p:sp>
      <p:sp>
        <p:nvSpPr>
          <p:cNvPr id="474" name="TextBox 473">
            <a:extLst>
              <a:ext uri="{FF2B5EF4-FFF2-40B4-BE49-F238E27FC236}">
                <a16:creationId xmlns:a16="http://schemas.microsoft.com/office/drawing/2014/main" id="{EC9B6679-B67B-B2BA-FA64-0344460B3BDA}"/>
              </a:ext>
            </a:extLst>
          </p:cNvPr>
          <p:cNvSpPr txBox="1"/>
          <p:nvPr/>
        </p:nvSpPr>
        <p:spPr>
          <a:xfrm>
            <a:off x="1644277" y="3365310"/>
            <a:ext cx="1080120" cy="923330"/>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panose="020B0604020202020204" pitchFamily="34" charset="0"/>
                <a:cs typeface="Arial" panose="020B0604020202020204" pitchFamily="34" charset="0"/>
              </a:rPr>
              <a:t>Inverters, Power Electronics &amp; Monitoring Software</a:t>
            </a:r>
          </a:p>
        </p:txBody>
      </p:sp>
      <p:sp>
        <p:nvSpPr>
          <p:cNvPr id="475" name="TextBox 474">
            <a:extLst>
              <a:ext uri="{FF2B5EF4-FFF2-40B4-BE49-F238E27FC236}">
                <a16:creationId xmlns:a16="http://schemas.microsoft.com/office/drawing/2014/main" id="{4135062E-5EE2-7015-562B-8873C447071A}"/>
              </a:ext>
            </a:extLst>
          </p:cNvPr>
          <p:cNvSpPr txBox="1"/>
          <p:nvPr/>
        </p:nvSpPr>
        <p:spPr>
          <a:xfrm>
            <a:off x="1284237" y="2561813"/>
            <a:ext cx="1872208" cy="184666"/>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panose="020B0604020202020204" pitchFamily="34" charset="0"/>
                <a:cs typeface="Arial" panose="020B0604020202020204" pitchFamily="34" charset="0"/>
              </a:rPr>
              <a:t>PV Modules</a:t>
            </a:r>
          </a:p>
        </p:txBody>
      </p:sp>
      <p:sp>
        <p:nvSpPr>
          <p:cNvPr id="476" name="Isosceles Triangle 475">
            <a:extLst>
              <a:ext uri="{FF2B5EF4-FFF2-40B4-BE49-F238E27FC236}">
                <a16:creationId xmlns:a16="http://schemas.microsoft.com/office/drawing/2014/main" id="{B4F7877B-0834-AC75-754F-62B0D70386D4}"/>
              </a:ext>
            </a:extLst>
          </p:cNvPr>
          <p:cNvSpPr/>
          <p:nvPr/>
        </p:nvSpPr>
        <p:spPr>
          <a:xfrm flipV="1">
            <a:off x="2724397" y="5791517"/>
            <a:ext cx="1497766" cy="710789"/>
          </a:xfrm>
          <a:prstGeom prst="triangle">
            <a:avLst/>
          </a:prstGeom>
          <a:solidFill>
            <a:srgbClr val="06325C">
              <a:lumMod val="90000"/>
              <a:lumOff val="1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77" name="Isosceles Triangle 476">
            <a:extLst>
              <a:ext uri="{FF2B5EF4-FFF2-40B4-BE49-F238E27FC236}">
                <a16:creationId xmlns:a16="http://schemas.microsoft.com/office/drawing/2014/main" id="{9A92F12F-5EAB-64B1-1D47-06C213D541B5}"/>
              </a:ext>
            </a:extLst>
          </p:cNvPr>
          <p:cNvSpPr/>
          <p:nvPr/>
        </p:nvSpPr>
        <p:spPr>
          <a:xfrm flipV="1">
            <a:off x="4222164" y="5791517"/>
            <a:ext cx="1497766" cy="710789"/>
          </a:xfrm>
          <a:prstGeom prst="triangle">
            <a:avLst/>
          </a:prstGeom>
          <a:solidFill>
            <a:srgbClr val="06325C">
              <a:lumMod val="25000"/>
              <a:lumOff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78" name="Isosceles Triangle 477">
            <a:extLst>
              <a:ext uri="{FF2B5EF4-FFF2-40B4-BE49-F238E27FC236}">
                <a16:creationId xmlns:a16="http://schemas.microsoft.com/office/drawing/2014/main" id="{CC08B3FC-D9C2-9F52-89EA-832221424B05}"/>
              </a:ext>
            </a:extLst>
          </p:cNvPr>
          <p:cNvSpPr/>
          <p:nvPr/>
        </p:nvSpPr>
        <p:spPr>
          <a:xfrm flipV="1">
            <a:off x="5719930" y="5791517"/>
            <a:ext cx="1497766" cy="710789"/>
          </a:xfrm>
          <a:prstGeom prst="triangle">
            <a:avLst/>
          </a:prstGeom>
          <a:solidFill>
            <a:srgbClr val="06325C">
              <a:lumMod val="10000"/>
              <a:lumOff val="9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79" name="Isosceles Triangle 478">
            <a:extLst>
              <a:ext uri="{FF2B5EF4-FFF2-40B4-BE49-F238E27FC236}">
                <a16:creationId xmlns:a16="http://schemas.microsoft.com/office/drawing/2014/main" id="{D6856662-FDE8-1515-CCDF-137DC823F191}"/>
              </a:ext>
            </a:extLst>
          </p:cNvPr>
          <p:cNvSpPr/>
          <p:nvPr/>
        </p:nvSpPr>
        <p:spPr>
          <a:xfrm flipV="1">
            <a:off x="7217697" y="5791517"/>
            <a:ext cx="1497766" cy="710789"/>
          </a:xfrm>
          <a:prstGeom prst="triangle">
            <a:avLst/>
          </a:prstGeom>
          <a:solidFill>
            <a:srgbClr val="ACBED1">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80" name="Isosceles Triangle 479">
            <a:extLst>
              <a:ext uri="{FF2B5EF4-FFF2-40B4-BE49-F238E27FC236}">
                <a16:creationId xmlns:a16="http://schemas.microsoft.com/office/drawing/2014/main" id="{2FF803E1-7B44-924C-FDE6-B8FA9B89EE69}"/>
              </a:ext>
            </a:extLst>
          </p:cNvPr>
          <p:cNvSpPr/>
          <p:nvPr/>
        </p:nvSpPr>
        <p:spPr>
          <a:xfrm flipV="1">
            <a:off x="8715463" y="5791517"/>
            <a:ext cx="1497766" cy="710789"/>
          </a:xfrm>
          <a:prstGeom prst="triangle">
            <a:avLst/>
          </a:prstGeom>
          <a:solidFill>
            <a:srgbClr val="ACBED1">
              <a:lumMod val="40000"/>
              <a:lumOff val="60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a:ea typeface="+mn-ea"/>
              <a:cs typeface="+mn-cs"/>
            </a:endParaRPr>
          </a:p>
        </p:txBody>
      </p:sp>
      <p:sp>
        <p:nvSpPr>
          <p:cNvPr id="481" name="TextBox 480">
            <a:extLst>
              <a:ext uri="{FF2B5EF4-FFF2-40B4-BE49-F238E27FC236}">
                <a16:creationId xmlns:a16="http://schemas.microsoft.com/office/drawing/2014/main" id="{D40D8693-E712-31B0-C860-27D73534389A}"/>
              </a:ext>
            </a:extLst>
          </p:cNvPr>
          <p:cNvSpPr txBox="1"/>
          <p:nvPr/>
        </p:nvSpPr>
        <p:spPr>
          <a:xfrm>
            <a:off x="2963282" y="5779367"/>
            <a:ext cx="1082715" cy="492443"/>
          </a:xfrm>
          <a:prstGeom prst="rect">
            <a:avLst/>
          </a:prstGeom>
          <a:noFill/>
        </p:spPr>
        <p:txBody>
          <a:bodyPr wrap="square" rtlCol="0">
            <a:spAutoFit/>
          </a:bodyPr>
          <a:lstStyle/>
          <a:p>
            <a:pPr algn="ctr"/>
            <a:r>
              <a:rPr lang="en-GB" sz="2600" b="1" dirty="0">
                <a:solidFill>
                  <a:srgbClr val="FFFFFF"/>
                </a:solidFill>
                <a:latin typeface="Arial"/>
              </a:rPr>
              <a:t>37%</a:t>
            </a:r>
          </a:p>
        </p:txBody>
      </p:sp>
      <p:sp>
        <p:nvSpPr>
          <p:cNvPr id="482" name="TextBox 481">
            <a:extLst>
              <a:ext uri="{FF2B5EF4-FFF2-40B4-BE49-F238E27FC236}">
                <a16:creationId xmlns:a16="http://schemas.microsoft.com/office/drawing/2014/main" id="{820B5F71-3F6E-EE72-9925-D54C122C999C}"/>
              </a:ext>
            </a:extLst>
          </p:cNvPr>
          <p:cNvSpPr txBox="1"/>
          <p:nvPr/>
        </p:nvSpPr>
        <p:spPr>
          <a:xfrm>
            <a:off x="4461943" y="5840921"/>
            <a:ext cx="1082715" cy="400110"/>
          </a:xfrm>
          <a:prstGeom prst="rect">
            <a:avLst/>
          </a:prstGeom>
          <a:noFill/>
        </p:spPr>
        <p:txBody>
          <a:bodyPr wrap="square" rtlCol="0">
            <a:spAutoFit/>
          </a:bodyPr>
          <a:lstStyle/>
          <a:p>
            <a:pPr algn="ctr"/>
            <a:r>
              <a:rPr lang="en-GB" sz="2000" b="1" dirty="0">
                <a:solidFill>
                  <a:srgbClr val="ACBED1">
                    <a:lumMod val="50000"/>
                  </a:srgbClr>
                </a:solidFill>
                <a:latin typeface="Arial"/>
              </a:rPr>
              <a:t>18%</a:t>
            </a:r>
          </a:p>
        </p:txBody>
      </p:sp>
      <p:sp>
        <p:nvSpPr>
          <p:cNvPr id="483" name="TextBox 482">
            <a:extLst>
              <a:ext uri="{FF2B5EF4-FFF2-40B4-BE49-F238E27FC236}">
                <a16:creationId xmlns:a16="http://schemas.microsoft.com/office/drawing/2014/main" id="{2D986A25-0DF0-293C-7833-16B8FDC7717A}"/>
              </a:ext>
            </a:extLst>
          </p:cNvPr>
          <p:cNvSpPr txBox="1"/>
          <p:nvPr/>
        </p:nvSpPr>
        <p:spPr>
          <a:xfrm>
            <a:off x="5960603" y="5871699"/>
            <a:ext cx="1082715" cy="338554"/>
          </a:xfrm>
          <a:prstGeom prst="rect">
            <a:avLst/>
          </a:prstGeom>
          <a:noFill/>
        </p:spPr>
        <p:txBody>
          <a:bodyPr wrap="square" rtlCol="0">
            <a:spAutoFit/>
          </a:bodyPr>
          <a:lstStyle/>
          <a:p>
            <a:pPr algn="ctr"/>
            <a:r>
              <a:rPr lang="en-GB" sz="1600" b="1" dirty="0">
                <a:solidFill>
                  <a:srgbClr val="ACBED1">
                    <a:lumMod val="50000"/>
                  </a:srgbClr>
                </a:solidFill>
                <a:latin typeface="Arial"/>
              </a:rPr>
              <a:t>12%</a:t>
            </a:r>
          </a:p>
        </p:txBody>
      </p:sp>
      <p:sp>
        <p:nvSpPr>
          <p:cNvPr id="484" name="TextBox 483">
            <a:extLst>
              <a:ext uri="{FF2B5EF4-FFF2-40B4-BE49-F238E27FC236}">
                <a16:creationId xmlns:a16="http://schemas.microsoft.com/office/drawing/2014/main" id="{410A65A2-32BB-B949-5DB6-1BD6BCC79733}"/>
              </a:ext>
            </a:extLst>
          </p:cNvPr>
          <p:cNvSpPr txBox="1"/>
          <p:nvPr/>
        </p:nvSpPr>
        <p:spPr>
          <a:xfrm>
            <a:off x="7459264" y="5887089"/>
            <a:ext cx="1082715" cy="307777"/>
          </a:xfrm>
          <a:prstGeom prst="rect">
            <a:avLst/>
          </a:prstGeom>
          <a:noFill/>
        </p:spPr>
        <p:txBody>
          <a:bodyPr wrap="square" rtlCol="0">
            <a:spAutoFit/>
          </a:bodyPr>
          <a:lstStyle/>
          <a:p>
            <a:pPr algn="ctr"/>
            <a:r>
              <a:rPr lang="en-GB" sz="1400" b="1" dirty="0">
                <a:solidFill>
                  <a:srgbClr val="ACBED1">
                    <a:lumMod val="50000"/>
                  </a:srgbClr>
                </a:solidFill>
                <a:latin typeface="Arial"/>
              </a:rPr>
              <a:t>10%</a:t>
            </a:r>
          </a:p>
        </p:txBody>
      </p:sp>
      <p:sp>
        <p:nvSpPr>
          <p:cNvPr id="485" name="TextBox 484">
            <a:extLst>
              <a:ext uri="{FF2B5EF4-FFF2-40B4-BE49-F238E27FC236}">
                <a16:creationId xmlns:a16="http://schemas.microsoft.com/office/drawing/2014/main" id="{51F2A97D-6065-A17C-CD4B-F177F5BF0F3F}"/>
              </a:ext>
            </a:extLst>
          </p:cNvPr>
          <p:cNvSpPr txBox="1"/>
          <p:nvPr/>
        </p:nvSpPr>
        <p:spPr>
          <a:xfrm>
            <a:off x="8957924" y="5887089"/>
            <a:ext cx="1082715" cy="307777"/>
          </a:xfrm>
          <a:prstGeom prst="rect">
            <a:avLst/>
          </a:prstGeom>
          <a:noFill/>
        </p:spPr>
        <p:txBody>
          <a:bodyPr wrap="square" rtlCol="0">
            <a:spAutoFit/>
          </a:bodyPr>
          <a:lstStyle/>
          <a:p>
            <a:pPr algn="ctr"/>
            <a:r>
              <a:rPr lang="en-GB" sz="1400" b="1" dirty="0">
                <a:solidFill>
                  <a:srgbClr val="ACBED1">
                    <a:lumMod val="50000"/>
                  </a:srgbClr>
                </a:solidFill>
                <a:latin typeface="Arial"/>
              </a:rPr>
              <a:t>10%</a:t>
            </a:r>
          </a:p>
        </p:txBody>
      </p:sp>
      <p:pic>
        <p:nvPicPr>
          <p:cNvPr id="486" name="Picture 162" descr="http://www.solarcity.com/sites/default/files/og-sc-logo.png">
            <a:extLst>
              <a:ext uri="{FF2B5EF4-FFF2-40B4-BE49-F238E27FC236}">
                <a16:creationId xmlns:a16="http://schemas.microsoft.com/office/drawing/2014/main" id="{BA7FD0EE-9095-2FD7-29FB-38A484897B3D}"/>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t="25626" b="26476"/>
          <a:stretch/>
        </p:blipFill>
        <p:spPr bwMode="auto">
          <a:xfrm>
            <a:off x="2763866" y="2587576"/>
            <a:ext cx="677296" cy="170313"/>
          </a:xfrm>
          <a:prstGeom prst="rect">
            <a:avLst/>
          </a:prstGeom>
          <a:noFill/>
          <a:extLst>
            <a:ext uri="{909E8E84-426E-40DD-AFC4-6F175D3DCCD1}">
              <a14:hiddenFill xmlns:a14="http://schemas.microsoft.com/office/drawing/2010/main">
                <a:solidFill>
                  <a:srgbClr val="FFFFFF"/>
                </a:solidFill>
              </a14:hiddenFill>
            </a:ext>
          </a:extLst>
        </p:spPr>
      </p:pic>
      <p:pic>
        <p:nvPicPr>
          <p:cNvPr id="487" name="Picture 13">
            <a:extLst>
              <a:ext uri="{FF2B5EF4-FFF2-40B4-BE49-F238E27FC236}">
                <a16:creationId xmlns:a16="http://schemas.microsoft.com/office/drawing/2014/main" id="{0C7353CF-1CF2-D2FA-19F5-C241DF5BDA3D}"/>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2941569" y="2959386"/>
            <a:ext cx="430900" cy="15854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88" name="TextBox 487">
            <a:extLst>
              <a:ext uri="{FF2B5EF4-FFF2-40B4-BE49-F238E27FC236}">
                <a16:creationId xmlns:a16="http://schemas.microsoft.com/office/drawing/2014/main" id="{2CBC0D1F-4954-23D0-11E6-B8F8F3A61AD1}"/>
              </a:ext>
            </a:extLst>
          </p:cNvPr>
          <p:cNvSpPr txBox="1"/>
          <p:nvPr/>
        </p:nvSpPr>
        <p:spPr>
          <a:xfrm>
            <a:off x="1663327" y="1587960"/>
            <a:ext cx="1080120" cy="369332"/>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panose="020B0604020202020204" pitchFamily="34" charset="0"/>
                <a:cs typeface="Arial" panose="020B0604020202020204" pitchFamily="34" charset="0"/>
              </a:rPr>
              <a:t>Primary Suppliers</a:t>
            </a:r>
          </a:p>
        </p:txBody>
      </p:sp>
      <p:pic>
        <p:nvPicPr>
          <p:cNvPr id="489" name="Picture 132" descr="http://cleantechnica.com/files/2015/12/Trina-2.jpg">
            <a:extLst>
              <a:ext uri="{FF2B5EF4-FFF2-40B4-BE49-F238E27FC236}">
                <a16:creationId xmlns:a16="http://schemas.microsoft.com/office/drawing/2014/main" id="{0967B6E1-DF24-668D-BEEF-A01D788C7CF0}"/>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817621" y="2531596"/>
            <a:ext cx="646084" cy="226293"/>
          </a:xfrm>
          <a:prstGeom prst="rect">
            <a:avLst/>
          </a:prstGeom>
          <a:noFill/>
          <a:extLst>
            <a:ext uri="{909E8E84-426E-40DD-AFC4-6F175D3DCCD1}">
              <a14:hiddenFill xmlns:a14="http://schemas.microsoft.com/office/drawing/2010/main">
                <a:solidFill>
                  <a:srgbClr val="FFFFFF"/>
                </a:solidFill>
              </a14:hiddenFill>
            </a:ext>
          </a:extLst>
        </p:spPr>
      </p:pic>
      <p:pic>
        <p:nvPicPr>
          <p:cNvPr id="490" name="Picture 146" descr="https://upload.wikimedia.org/wikipedia/en/8/80/Yingli_Green_Energy_logo.jpg">
            <a:extLst>
              <a:ext uri="{FF2B5EF4-FFF2-40B4-BE49-F238E27FC236}">
                <a16:creationId xmlns:a16="http://schemas.microsoft.com/office/drawing/2014/main" id="{17651FB2-B440-1B5C-4CCC-D135EA5D7889}"/>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532394" y="2491956"/>
            <a:ext cx="534087" cy="337940"/>
          </a:xfrm>
          <a:prstGeom prst="rect">
            <a:avLst/>
          </a:prstGeom>
          <a:noFill/>
          <a:extLst>
            <a:ext uri="{909E8E84-426E-40DD-AFC4-6F175D3DCCD1}">
              <a14:hiddenFill xmlns:a14="http://schemas.microsoft.com/office/drawing/2010/main">
                <a:solidFill>
                  <a:srgbClr val="FFFFFF"/>
                </a:solidFill>
              </a14:hiddenFill>
            </a:ext>
          </a:extLst>
        </p:spPr>
      </p:pic>
      <p:pic>
        <p:nvPicPr>
          <p:cNvPr id="491" name="Picture 116">
            <a:extLst>
              <a:ext uri="{FF2B5EF4-FFF2-40B4-BE49-F238E27FC236}">
                <a16:creationId xmlns:a16="http://schemas.microsoft.com/office/drawing/2014/main" id="{3539C471-E97A-B515-A2B4-D9FD1543960A}"/>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191139" y="4729428"/>
            <a:ext cx="543801" cy="5438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2" name="Picture 116">
            <a:extLst>
              <a:ext uri="{FF2B5EF4-FFF2-40B4-BE49-F238E27FC236}">
                <a16:creationId xmlns:a16="http://schemas.microsoft.com/office/drawing/2014/main" id="{50B6BA70-FFF0-048F-8CE6-3A04144D6139}"/>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6159342" y="3844679"/>
            <a:ext cx="532507" cy="532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3" name="Picture 13">
            <a:extLst>
              <a:ext uri="{FF2B5EF4-FFF2-40B4-BE49-F238E27FC236}">
                <a16:creationId xmlns:a16="http://schemas.microsoft.com/office/drawing/2014/main" id="{360F5538-977E-0909-2A12-ED1057E75497}"/>
              </a:ext>
            </a:extLst>
          </p:cNvPr>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4661547" y="2522738"/>
            <a:ext cx="639114" cy="235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4" name="Picture 135">
            <a:extLst>
              <a:ext uri="{FF2B5EF4-FFF2-40B4-BE49-F238E27FC236}">
                <a16:creationId xmlns:a16="http://schemas.microsoft.com/office/drawing/2014/main" id="{94B40CEE-E647-8CB9-47E9-8EB8B6564FF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560713" y="2848996"/>
            <a:ext cx="811956" cy="1249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5" name="Picture 116">
            <a:extLst>
              <a:ext uri="{FF2B5EF4-FFF2-40B4-BE49-F238E27FC236}">
                <a16:creationId xmlns:a16="http://schemas.microsoft.com/office/drawing/2014/main" id="{366F187E-3632-BFB3-9243-D9BC87F3DD2C}"/>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3102515" y="3842748"/>
            <a:ext cx="532507" cy="532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96" name="Picture 132" descr="http://cleantechnica.com/files/2015/12/Trina-2.jpg">
            <a:extLst>
              <a:ext uri="{FF2B5EF4-FFF2-40B4-BE49-F238E27FC236}">
                <a16:creationId xmlns:a16="http://schemas.microsoft.com/office/drawing/2014/main" id="{468A6663-1863-357C-9845-8E0827D56E7F}"/>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878902" y="2278074"/>
            <a:ext cx="646084" cy="226293"/>
          </a:xfrm>
          <a:prstGeom prst="rect">
            <a:avLst/>
          </a:prstGeom>
          <a:noFill/>
          <a:extLst>
            <a:ext uri="{909E8E84-426E-40DD-AFC4-6F175D3DCCD1}">
              <a14:hiddenFill xmlns:a14="http://schemas.microsoft.com/office/drawing/2010/main">
                <a:solidFill>
                  <a:srgbClr val="FFFFFF"/>
                </a:solidFill>
              </a14:hiddenFill>
            </a:ext>
          </a:extLst>
        </p:spPr>
      </p:pic>
      <p:pic>
        <p:nvPicPr>
          <p:cNvPr id="497" name="Picture 146" descr="https://upload.wikimedia.org/wikipedia/en/8/80/Yingli_Green_Energy_logo.jpg">
            <a:extLst>
              <a:ext uri="{FF2B5EF4-FFF2-40B4-BE49-F238E27FC236}">
                <a16:creationId xmlns:a16="http://schemas.microsoft.com/office/drawing/2014/main" id="{C3238AA6-3D01-3291-B754-05115027C9F0}"/>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596995" y="2206065"/>
            <a:ext cx="589689" cy="373122"/>
          </a:xfrm>
          <a:prstGeom prst="rect">
            <a:avLst/>
          </a:prstGeom>
          <a:noFill/>
          <a:extLst>
            <a:ext uri="{909E8E84-426E-40DD-AFC4-6F175D3DCCD1}">
              <a14:hiddenFill xmlns:a14="http://schemas.microsoft.com/office/drawing/2010/main">
                <a:solidFill>
                  <a:srgbClr val="FFFFFF"/>
                </a:solidFill>
              </a14:hiddenFill>
            </a:ext>
          </a:extLst>
        </p:spPr>
      </p:pic>
      <p:pic>
        <p:nvPicPr>
          <p:cNvPr id="498" name="Picture 151">
            <a:extLst>
              <a:ext uri="{FF2B5EF4-FFF2-40B4-BE49-F238E27FC236}">
                <a16:creationId xmlns:a16="http://schemas.microsoft.com/office/drawing/2014/main" id="{8FE54F85-C726-1546-6B35-1DC336629242}"/>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9227762" y="2990890"/>
            <a:ext cx="628323" cy="1270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99" name="TextBox 498">
            <a:extLst>
              <a:ext uri="{FF2B5EF4-FFF2-40B4-BE49-F238E27FC236}">
                <a16:creationId xmlns:a16="http://schemas.microsoft.com/office/drawing/2014/main" id="{A30A91A0-3BF6-6281-8CA1-5DA9A7FD2EAC}"/>
              </a:ext>
            </a:extLst>
          </p:cNvPr>
          <p:cNvSpPr txBox="1"/>
          <p:nvPr/>
        </p:nvSpPr>
        <p:spPr>
          <a:xfrm>
            <a:off x="7093365" y="2568286"/>
            <a:ext cx="1679705" cy="261610"/>
          </a:xfrm>
          <a:prstGeom prst="rect">
            <a:avLst/>
          </a:prstGeom>
          <a:noFill/>
        </p:spPr>
        <p:txBody>
          <a:bodyPr wrap="square" rtlCol="0">
            <a:spAutoFit/>
          </a:bodyPr>
          <a:lstStyle/>
          <a:p>
            <a:pPr algn="ctr"/>
            <a:r>
              <a:rPr lang="en-GB" sz="1100" dirty="0">
                <a:solidFill>
                  <a:srgbClr val="000000"/>
                </a:solidFill>
                <a:latin typeface="Arial"/>
              </a:rPr>
              <a:t>3</a:t>
            </a:r>
            <a:r>
              <a:rPr lang="en-GB" sz="1100" baseline="30000" dirty="0">
                <a:solidFill>
                  <a:srgbClr val="000000"/>
                </a:solidFill>
                <a:latin typeface="Arial"/>
              </a:rPr>
              <a:t>rd</a:t>
            </a:r>
            <a:r>
              <a:rPr lang="en-GB" sz="1100" dirty="0">
                <a:solidFill>
                  <a:srgbClr val="000000"/>
                </a:solidFill>
                <a:latin typeface="Arial"/>
              </a:rPr>
              <a:t> Parties</a:t>
            </a:r>
          </a:p>
        </p:txBody>
      </p:sp>
      <p:sp>
        <p:nvSpPr>
          <p:cNvPr id="500" name="TextBox 499">
            <a:extLst>
              <a:ext uri="{FF2B5EF4-FFF2-40B4-BE49-F238E27FC236}">
                <a16:creationId xmlns:a16="http://schemas.microsoft.com/office/drawing/2014/main" id="{6D92C6CD-1309-46F4-C4EE-B374D7440C3A}"/>
              </a:ext>
            </a:extLst>
          </p:cNvPr>
          <p:cNvSpPr txBox="1"/>
          <p:nvPr/>
        </p:nvSpPr>
        <p:spPr>
          <a:xfrm>
            <a:off x="7285086" y="3782947"/>
            <a:ext cx="1296260" cy="261610"/>
          </a:xfrm>
          <a:prstGeom prst="rect">
            <a:avLst/>
          </a:prstGeom>
          <a:noFill/>
        </p:spPr>
        <p:txBody>
          <a:bodyPr wrap="square" rtlCol="0">
            <a:spAutoFit/>
          </a:bodyPr>
          <a:lstStyle/>
          <a:p>
            <a:pPr algn="ctr"/>
            <a:r>
              <a:rPr lang="en-GB" sz="1100" dirty="0">
                <a:solidFill>
                  <a:srgbClr val="000000"/>
                </a:solidFill>
                <a:latin typeface="Arial"/>
              </a:rPr>
              <a:t>3</a:t>
            </a:r>
            <a:r>
              <a:rPr lang="en-GB" sz="1100" baseline="30000" dirty="0">
                <a:solidFill>
                  <a:srgbClr val="000000"/>
                </a:solidFill>
                <a:latin typeface="Arial"/>
              </a:rPr>
              <a:t>rd</a:t>
            </a:r>
            <a:r>
              <a:rPr lang="en-GB" sz="1100" dirty="0">
                <a:solidFill>
                  <a:srgbClr val="000000"/>
                </a:solidFill>
                <a:latin typeface="Arial"/>
              </a:rPr>
              <a:t> Parties</a:t>
            </a:r>
          </a:p>
        </p:txBody>
      </p:sp>
      <p:grpSp>
        <p:nvGrpSpPr>
          <p:cNvPr id="501" name="Group 500">
            <a:extLst>
              <a:ext uri="{FF2B5EF4-FFF2-40B4-BE49-F238E27FC236}">
                <a16:creationId xmlns:a16="http://schemas.microsoft.com/office/drawing/2014/main" id="{13797C26-0286-BB8F-CC35-7A8BBF610807}"/>
              </a:ext>
            </a:extLst>
          </p:cNvPr>
          <p:cNvGrpSpPr/>
          <p:nvPr/>
        </p:nvGrpSpPr>
        <p:grpSpPr>
          <a:xfrm>
            <a:off x="8817813" y="4672738"/>
            <a:ext cx="1323408" cy="605431"/>
            <a:chOff x="7291363" y="4398103"/>
            <a:chExt cx="1344821" cy="615073"/>
          </a:xfrm>
        </p:grpSpPr>
        <p:pic>
          <p:nvPicPr>
            <p:cNvPr id="502" name="Picture 24">
              <a:extLst>
                <a:ext uri="{FF2B5EF4-FFF2-40B4-BE49-F238E27FC236}">
                  <a16:creationId xmlns:a16="http://schemas.microsoft.com/office/drawing/2014/main" id="{9D1F1779-3C07-C403-B114-6AC26A74391B}"/>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7731159" y="4398103"/>
              <a:ext cx="441241" cy="1987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3" name="Picture 195" descr="http://c1cleantechnicacom.wpengine.netdna-cdn.com/files/2015/12/sonnenbatterie-logo.png">
              <a:extLst>
                <a:ext uri="{FF2B5EF4-FFF2-40B4-BE49-F238E27FC236}">
                  <a16:creationId xmlns:a16="http://schemas.microsoft.com/office/drawing/2014/main" id="{552ED183-9872-60A2-E577-3174DB5E4044}"/>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291363" y="4781839"/>
              <a:ext cx="670541" cy="231337"/>
            </a:xfrm>
            <a:prstGeom prst="rect">
              <a:avLst/>
            </a:prstGeom>
            <a:noFill/>
            <a:extLst>
              <a:ext uri="{909E8E84-426E-40DD-AFC4-6F175D3DCCD1}">
                <a14:hiddenFill xmlns:a14="http://schemas.microsoft.com/office/drawing/2010/main">
                  <a:solidFill>
                    <a:srgbClr val="FFFFFF"/>
                  </a:solidFill>
                </a14:hiddenFill>
              </a:ext>
            </a:extLst>
          </p:spPr>
        </p:pic>
        <p:pic>
          <p:nvPicPr>
            <p:cNvPr id="504" name="Picture 26" descr="http://www.logosurfer.com/download/file/fid/8771">
              <a:extLst>
                <a:ext uri="{FF2B5EF4-FFF2-40B4-BE49-F238E27FC236}">
                  <a16:creationId xmlns:a16="http://schemas.microsoft.com/office/drawing/2014/main" id="{5801B7B5-7D7C-4B4C-6CF4-6FCAEE7F099E}"/>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8017978" y="4795741"/>
              <a:ext cx="618206" cy="157082"/>
            </a:xfrm>
            <a:prstGeom prst="rect">
              <a:avLst/>
            </a:prstGeom>
            <a:noFill/>
            <a:extLst>
              <a:ext uri="{909E8E84-426E-40DD-AFC4-6F175D3DCCD1}">
                <a14:hiddenFill xmlns:a14="http://schemas.microsoft.com/office/drawing/2010/main">
                  <a:solidFill>
                    <a:srgbClr val="FFFFFF"/>
                  </a:solidFill>
                </a14:hiddenFill>
              </a:ext>
            </a:extLst>
          </p:spPr>
        </p:pic>
        <p:cxnSp>
          <p:nvCxnSpPr>
            <p:cNvPr id="505" name="Straight Arrow Connector 504">
              <a:extLst>
                <a:ext uri="{FF2B5EF4-FFF2-40B4-BE49-F238E27FC236}">
                  <a16:creationId xmlns:a16="http://schemas.microsoft.com/office/drawing/2014/main" id="{6F32D9D3-FA0B-9475-A81C-18377377513B}"/>
                </a:ext>
              </a:extLst>
            </p:cNvPr>
            <p:cNvCxnSpPr>
              <a:stCxn id="502" idx="2"/>
              <a:endCxn id="503" idx="0"/>
            </p:cNvCxnSpPr>
            <p:nvPr/>
          </p:nvCxnSpPr>
          <p:spPr>
            <a:xfrm flipH="1">
              <a:off x="7626634" y="4596889"/>
              <a:ext cx="325146" cy="184950"/>
            </a:xfrm>
            <a:prstGeom prst="straightConnector1">
              <a:avLst/>
            </a:prstGeom>
            <a:noFill/>
            <a:ln w="9525" cap="flat" cmpd="sng" algn="ctr">
              <a:solidFill>
                <a:srgbClr val="000000"/>
              </a:solidFill>
              <a:prstDash val="solid"/>
              <a:headEnd type="none" w="med" len="med"/>
              <a:tailEnd type="triangle" w="sm" len="sm"/>
            </a:ln>
            <a:effectLst/>
          </p:spPr>
        </p:cxnSp>
        <p:cxnSp>
          <p:nvCxnSpPr>
            <p:cNvPr id="506" name="Straight Arrow Connector 505">
              <a:extLst>
                <a:ext uri="{FF2B5EF4-FFF2-40B4-BE49-F238E27FC236}">
                  <a16:creationId xmlns:a16="http://schemas.microsoft.com/office/drawing/2014/main" id="{5D7153FD-ADA7-C3AE-C41C-22D73D338CF7}"/>
                </a:ext>
              </a:extLst>
            </p:cNvPr>
            <p:cNvCxnSpPr>
              <a:stCxn id="502" idx="2"/>
              <a:endCxn id="504" idx="0"/>
            </p:cNvCxnSpPr>
            <p:nvPr/>
          </p:nvCxnSpPr>
          <p:spPr>
            <a:xfrm>
              <a:off x="7951780" y="4596889"/>
              <a:ext cx="375301" cy="198852"/>
            </a:xfrm>
            <a:prstGeom prst="straightConnector1">
              <a:avLst/>
            </a:prstGeom>
            <a:noFill/>
            <a:ln w="9525" cap="flat" cmpd="sng" algn="ctr">
              <a:solidFill>
                <a:srgbClr val="000000"/>
              </a:solidFill>
              <a:prstDash val="solid"/>
              <a:headEnd type="none" w="med" len="med"/>
              <a:tailEnd type="triangle" w="sm" len="sm"/>
            </a:ln>
            <a:effectLst/>
          </p:spPr>
        </p:cxnSp>
      </p:grpSp>
      <p:pic>
        <p:nvPicPr>
          <p:cNvPr id="507" name="Picture 116">
            <a:extLst>
              <a:ext uri="{FF2B5EF4-FFF2-40B4-BE49-F238E27FC236}">
                <a16:creationId xmlns:a16="http://schemas.microsoft.com/office/drawing/2014/main" id="{029E2A59-6D5A-CECB-5AB2-996213F0BD3B}"/>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8896419" y="3736634"/>
            <a:ext cx="385329" cy="3853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8" name="Picture 30">
            <a:extLst>
              <a:ext uri="{FF2B5EF4-FFF2-40B4-BE49-F238E27FC236}">
                <a16:creationId xmlns:a16="http://schemas.microsoft.com/office/drawing/2014/main" id="{6030CA7B-7727-DC7E-53D0-5A99FF30BCAE}"/>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8773070" y="2663382"/>
            <a:ext cx="751917" cy="2022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9" name="Picture 33">
            <a:extLst>
              <a:ext uri="{FF2B5EF4-FFF2-40B4-BE49-F238E27FC236}">
                <a16:creationId xmlns:a16="http://schemas.microsoft.com/office/drawing/2014/main" id="{F52B8E0C-BFFE-88D1-59F6-1509257D2E13}"/>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9578748" y="2638113"/>
            <a:ext cx="522302" cy="2479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0" name="Picture 123">
            <a:extLst>
              <a:ext uri="{FF2B5EF4-FFF2-40B4-BE49-F238E27FC236}">
                <a16:creationId xmlns:a16="http://schemas.microsoft.com/office/drawing/2014/main" id="{9D36FE1C-E3DA-43C0-63C3-ED5A1308739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84662" y="3592617"/>
            <a:ext cx="844754" cy="180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1" name="Picture 123">
            <a:extLst>
              <a:ext uri="{FF2B5EF4-FFF2-40B4-BE49-F238E27FC236}">
                <a16:creationId xmlns:a16="http://schemas.microsoft.com/office/drawing/2014/main" id="{44EA9D98-26AD-7374-FDA3-6EF66BBBBE07}"/>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527915" y="3607617"/>
            <a:ext cx="844754" cy="18043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47" name="TextBox 346">
            <a:extLst>
              <a:ext uri="{FF2B5EF4-FFF2-40B4-BE49-F238E27FC236}">
                <a16:creationId xmlns:a16="http://schemas.microsoft.com/office/drawing/2014/main" id="{832C96DE-56FC-B6B2-9271-31BB4DAAD5A6}"/>
              </a:ext>
            </a:extLst>
          </p:cNvPr>
          <p:cNvSpPr txBox="1"/>
          <p:nvPr/>
        </p:nvSpPr>
        <p:spPr>
          <a:xfrm>
            <a:off x="1716854" y="5916948"/>
            <a:ext cx="994897" cy="369332"/>
          </a:xfrm>
          <a:prstGeom prst="rect">
            <a:avLst/>
          </a:prstGeom>
          <a:noFill/>
          <a:ln>
            <a:noFill/>
          </a:ln>
        </p:spPr>
        <p:txBody>
          <a:bodyPr wrap="square" lIns="0" tIns="0" rIns="0" bIns="0" rtlCol="0" anchor="b" anchorCtr="0">
            <a:spAutoFit/>
          </a:bodyPr>
          <a:lstStyle/>
          <a:p>
            <a:pPr algn="ctr" fontAlgn="base">
              <a:spcBef>
                <a:spcPct val="0"/>
              </a:spcBef>
              <a:spcAft>
                <a:spcPct val="0"/>
              </a:spcAft>
            </a:pPr>
            <a:r>
              <a:rPr lang="en-IN" sz="1200" b="1" dirty="0">
                <a:solidFill>
                  <a:srgbClr val="06325C"/>
                </a:solidFill>
                <a:latin typeface="Arial" panose="020B0604020202020204" pitchFamily="34" charset="0"/>
                <a:cs typeface="Arial" panose="020B0604020202020204" pitchFamily="34" charset="0"/>
              </a:rPr>
              <a:t>Supplier Market Share</a:t>
            </a:r>
          </a:p>
        </p:txBody>
      </p:sp>
      <p:pic>
        <p:nvPicPr>
          <p:cNvPr id="349" name="Picture 26" descr="http://www.logosurfer.com/download/file/fid/8771">
            <a:extLst>
              <a:ext uri="{FF2B5EF4-FFF2-40B4-BE49-F238E27FC236}">
                <a16:creationId xmlns:a16="http://schemas.microsoft.com/office/drawing/2014/main" id="{2F971BFC-BE66-4673-9416-4B1606B23962}"/>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4660249" y="4917384"/>
            <a:ext cx="608363" cy="154620"/>
          </a:xfrm>
          <a:prstGeom prst="rect">
            <a:avLst/>
          </a:prstGeom>
          <a:noFill/>
          <a:extLst>
            <a:ext uri="{909E8E84-426E-40DD-AFC4-6F175D3DCCD1}">
              <a14:hiddenFill xmlns:a14="http://schemas.microsoft.com/office/drawing/2010/main">
                <a:solidFill>
                  <a:srgbClr val="FFFFFF"/>
                </a:solidFill>
              </a14:hiddenFill>
            </a:ext>
          </a:extLst>
        </p:spPr>
      </p:pic>
      <p:pic>
        <p:nvPicPr>
          <p:cNvPr id="350" name="Picture 349">
            <a:extLst>
              <a:ext uri="{FF2B5EF4-FFF2-40B4-BE49-F238E27FC236}">
                <a16:creationId xmlns:a16="http://schemas.microsoft.com/office/drawing/2014/main" id="{2EB85F96-4AD6-B3EA-97C6-0328D409961E}"/>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5980194" y="5355478"/>
            <a:ext cx="890800" cy="182880"/>
          </a:xfrm>
          <a:prstGeom prst="rect">
            <a:avLst/>
          </a:prstGeom>
        </p:spPr>
      </p:pic>
      <p:pic>
        <p:nvPicPr>
          <p:cNvPr id="352" name="Picture 116">
            <a:extLst>
              <a:ext uri="{FF2B5EF4-FFF2-40B4-BE49-F238E27FC236}">
                <a16:creationId xmlns:a16="http://schemas.microsoft.com/office/drawing/2014/main" id="{56DD2BD8-8DB3-CAB2-B8D8-45066CE8FAFA}"/>
              </a:ext>
            </a:extLst>
          </p:cNvPr>
          <p:cNvPicPr>
            <a:picLocks noChangeAspect="1" noChangeArrowheads="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4714851" y="3877881"/>
            <a:ext cx="532507" cy="532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3" name="Picture 126">
            <a:extLst>
              <a:ext uri="{FF2B5EF4-FFF2-40B4-BE49-F238E27FC236}">
                <a16:creationId xmlns:a16="http://schemas.microsoft.com/office/drawing/2014/main" id="{545A0F52-5F39-B822-D246-125F6A52DE52}"/>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235871" y="3942053"/>
            <a:ext cx="366071" cy="2266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4" name="Picture 353">
            <a:extLst>
              <a:ext uri="{FF2B5EF4-FFF2-40B4-BE49-F238E27FC236}">
                <a16:creationId xmlns:a16="http://schemas.microsoft.com/office/drawing/2014/main" id="{B7AACC89-8FA1-62C0-3379-8240BFBCF97A}"/>
              </a:ext>
            </a:extLst>
          </p:cNvPr>
          <p:cNvPicPr>
            <a:picLocks noChangeAspect="1"/>
          </p:cNvPicPr>
          <p:nvPr/>
        </p:nvPicPr>
        <p:blipFill>
          <a:blip r:embed="rId30"/>
          <a:stretch>
            <a:fillRect/>
          </a:stretch>
        </p:blipFill>
        <p:spPr>
          <a:xfrm>
            <a:off x="4616161" y="5185508"/>
            <a:ext cx="783564" cy="305942"/>
          </a:xfrm>
          <a:prstGeom prst="rect">
            <a:avLst/>
          </a:prstGeom>
        </p:spPr>
      </p:pic>
      <p:pic>
        <p:nvPicPr>
          <p:cNvPr id="355" name="Picture 354">
            <a:extLst>
              <a:ext uri="{FF2B5EF4-FFF2-40B4-BE49-F238E27FC236}">
                <a16:creationId xmlns:a16="http://schemas.microsoft.com/office/drawing/2014/main" id="{8FF49DB6-3783-0DAD-DBB0-6CDC13DEC9E1}"/>
              </a:ext>
            </a:extLst>
          </p:cNvPr>
          <p:cNvPicPr>
            <a:picLocks noChangeAspect="1"/>
          </p:cNvPicPr>
          <p:nvPr/>
        </p:nvPicPr>
        <p:blipFill>
          <a:blip r:embed="rId31"/>
          <a:stretch>
            <a:fillRect/>
          </a:stretch>
        </p:blipFill>
        <p:spPr>
          <a:xfrm>
            <a:off x="7564398" y="5307922"/>
            <a:ext cx="791039" cy="176155"/>
          </a:xfrm>
          <a:prstGeom prst="rect">
            <a:avLst/>
          </a:prstGeom>
        </p:spPr>
      </p:pic>
      <p:pic>
        <p:nvPicPr>
          <p:cNvPr id="356" name="Picture 4" descr="Image result">
            <a:extLst>
              <a:ext uri="{FF2B5EF4-FFF2-40B4-BE49-F238E27FC236}">
                <a16:creationId xmlns:a16="http://schemas.microsoft.com/office/drawing/2014/main" id="{CC9042A9-3FFF-8572-8457-287B0D3E2724}"/>
              </a:ext>
            </a:extLst>
          </p:cNvPr>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11336890" y="317429"/>
            <a:ext cx="372843" cy="252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294056531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27525ADB-5296-404C-BB05-A6A0E26586F5}"/>
              </a:ext>
            </a:extLst>
          </p:cNvPr>
          <p:cNvSpPr>
            <a:spLocks noGrp="1"/>
          </p:cNvSpPr>
          <p:nvPr>
            <p:ph type="subTitle" idx="1"/>
          </p:nvPr>
        </p:nvSpPr>
        <p:spPr>
          <a:xfrm>
            <a:off x="876300" y="2937268"/>
            <a:ext cx="4562475" cy="2316964"/>
          </a:xfrm>
        </p:spPr>
        <p:txBody>
          <a:bodyPr>
            <a:normAutofit/>
          </a:bodyPr>
          <a:lstStyle/>
          <a:p>
            <a:r>
              <a:rPr lang="en-US" sz="3600" dirty="0"/>
              <a:t>THANK YOU! </a:t>
            </a:r>
          </a:p>
          <a:p>
            <a:endParaRPr lang="en-US" sz="3600" dirty="0"/>
          </a:p>
          <a:p>
            <a:r>
              <a:rPr lang="en-US" sz="3600" dirty="0"/>
              <a:t>Questions?</a:t>
            </a:r>
          </a:p>
        </p:txBody>
      </p:sp>
    </p:spTree>
    <p:extLst>
      <p:ext uri="{BB962C8B-B14F-4D97-AF65-F5344CB8AC3E}">
        <p14:creationId xmlns:p14="http://schemas.microsoft.com/office/powerpoint/2010/main" val="24291682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200" y="41865"/>
            <a:ext cx="9304090" cy="910635"/>
          </a:xfrm>
        </p:spPr>
        <p:txBody>
          <a:bodyPr/>
          <a:lstStyle/>
          <a:p>
            <a:r>
              <a:rPr lang="en-US" b="1" dirty="0"/>
              <a:t>7.  New Business</a:t>
            </a:r>
            <a:br>
              <a:rPr lang="en-US" dirty="0"/>
            </a:br>
            <a:r>
              <a:rPr lang="en-US" altLang="en-US" sz="2800" dirty="0"/>
              <a:t>Ken Wacks </a:t>
            </a:r>
            <a:r>
              <a:rPr lang="en-US" sz="2800" dirty="0"/>
              <a:t>(Ken Wacks Associates)</a:t>
            </a:r>
          </a:p>
        </p:txBody>
      </p:sp>
      <p:sp>
        <p:nvSpPr>
          <p:cNvPr id="3" name="Text Placeholder 2">
            <a:extLst>
              <a:ext uri="{FF2B5EF4-FFF2-40B4-BE49-F238E27FC236}">
                <a16:creationId xmlns:a16="http://schemas.microsoft.com/office/drawing/2014/main" id="{49BBA79F-5F7E-4DC1-BE4A-E43D184D8E06}"/>
              </a:ext>
            </a:extLst>
          </p:cNvPr>
          <p:cNvSpPr>
            <a:spLocks noGrp="1"/>
          </p:cNvSpPr>
          <p:nvPr>
            <p:ph type="body" sz="quarter" idx="12"/>
          </p:nvPr>
        </p:nvSpPr>
        <p:spPr>
          <a:xfrm>
            <a:off x="7164389" y="3303588"/>
            <a:ext cx="3300412" cy="512762"/>
          </a:xfrm>
        </p:spPr>
        <p:txBody>
          <a:bodyPr/>
          <a:lstStyle/>
          <a:p>
            <a:pPr marL="0" indent="0">
              <a:buNone/>
            </a:pPr>
            <a:r>
              <a:rPr lang="en-US" dirty="0"/>
              <a:t>New CHC business? </a:t>
            </a:r>
          </a:p>
          <a:p>
            <a:endParaRPr lang="en-CA" dirty="0"/>
          </a:p>
        </p:txBody>
      </p:sp>
      <p:pic>
        <p:nvPicPr>
          <p:cNvPr id="7" name="Picture 2" descr="Image result for new business">
            <a:extLst>
              <a:ext uri="{FF2B5EF4-FFF2-40B4-BE49-F238E27FC236}">
                <a16:creationId xmlns:a16="http://schemas.microsoft.com/office/drawing/2014/main" id="{74250A0E-168D-406B-B86D-D4B7B22AB1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38138" y="2123055"/>
            <a:ext cx="5334000" cy="3714750"/>
          </a:xfrm>
          <a:prstGeom prst="rect">
            <a:avLst/>
          </a:prstGeom>
          <a:effectLst>
            <a:glow rad="279400">
              <a:srgbClr val="E83E1D">
                <a:alpha val="26000"/>
              </a:srgbClr>
            </a:glow>
          </a:effectLst>
          <a:extLst>
            <a:ext uri="{909E8E84-426E-40DD-AFC4-6F175D3DCCD1}">
              <a14:hiddenFill xmlns:a14="http://schemas.microsoft.com/office/drawing/2010/main">
                <a:solidFill>
                  <a:srgbClr val="FFFFFF"/>
                </a:solidFill>
              </a14:hiddenFill>
            </a:ext>
          </a:extLst>
        </p:spPr>
      </p:pic>
      <p:sp>
        <p:nvSpPr>
          <p:cNvPr id="14" name="Slide Number Placeholder 1">
            <a:extLst>
              <a:ext uri="{FF2B5EF4-FFF2-40B4-BE49-F238E27FC236}">
                <a16:creationId xmlns:a16="http://schemas.microsoft.com/office/drawing/2014/main" id="{403C2238-44E2-4B09-B926-64244BC2204E}"/>
              </a:ext>
            </a:extLst>
          </p:cNvPr>
          <p:cNvSpPr>
            <a:spLocks noGrp="1"/>
          </p:cNvSpPr>
          <p:nvPr>
            <p:ph type="sldNum" sz="quarter" idx="14"/>
          </p:nvPr>
        </p:nvSpPr>
        <p:spPr>
          <a:xfrm>
            <a:off x="833388" y="6356351"/>
            <a:ext cx="620027" cy="352458"/>
          </a:xfrm>
        </p:spPr>
        <p:txBody>
          <a:bodyPr/>
          <a:lstStyle/>
          <a:p>
            <a:fld id="{4658F449-AC56-C64A-8488-86A10DE691DA}" type="slidenum">
              <a:rPr lang="en-US" smtClean="0"/>
              <a:pPr/>
              <a:t>25</a:t>
            </a:fld>
            <a:endParaRPr lang="en-US" dirty="0"/>
          </a:p>
        </p:txBody>
      </p:sp>
    </p:spTree>
    <p:extLst>
      <p:ext uri="{BB962C8B-B14F-4D97-AF65-F5344CB8AC3E}">
        <p14:creationId xmlns:p14="http://schemas.microsoft.com/office/powerpoint/2010/main" val="1484635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41865"/>
            <a:ext cx="9358263" cy="843960"/>
          </a:xfrm>
        </p:spPr>
        <p:txBody>
          <a:bodyPr/>
          <a:lstStyle/>
          <a:p>
            <a:r>
              <a:rPr lang="en-US" b="1" dirty="0"/>
              <a:t>8.  Announcements</a:t>
            </a:r>
            <a:br>
              <a:rPr lang="en-US" b="1" dirty="0"/>
            </a:br>
            <a:r>
              <a:rPr lang="en-US" sz="2800" dirty="0"/>
              <a:t>Greg Walker (CABA)</a:t>
            </a:r>
            <a:endParaRPr lang="en-US" dirty="0">
              <a:highlight>
                <a:srgbClr val="FFFF00"/>
              </a:highlight>
            </a:endParaRPr>
          </a:p>
        </p:txBody>
      </p:sp>
      <p:sp>
        <p:nvSpPr>
          <p:cNvPr id="10" name="Text Placeholder 9">
            <a:extLst>
              <a:ext uri="{FF2B5EF4-FFF2-40B4-BE49-F238E27FC236}">
                <a16:creationId xmlns:a16="http://schemas.microsoft.com/office/drawing/2014/main" id="{66421E13-941D-487E-9F8E-DCFA3FE9C646}"/>
              </a:ext>
            </a:extLst>
          </p:cNvPr>
          <p:cNvSpPr>
            <a:spLocks noGrp="1"/>
          </p:cNvSpPr>
          <p:nvPr>
            <p:ph type="body" sz="quarter" idx="12"/>
          </p:nvPr>
        </p:nvSpPr>
        <p:spPr>
          <a:xfrm>
            <a:off x="838199" y="1019445"/>
            <a:ext cx="6770687" cy="528637"/>
          </a:xfrm>
        </p:spPr>
        <p:txBody>
          <a:bodyPr>
            <a:normAutofit/>
          </a:bodyPr>
          <a:lstStyle/>
          <a:p>
            <a:pPr marL="0" indent="0">
              <a:buNone/>
            </a:pPr>
            <a:r>
              <a:rPr lang="en-US" dirty="0"/>
              <a:t>Past Events</a:t>
            </a:r>
          </a:p>
        </p:txBody>
      </p:sp>
      <p:pic>
        <p:nvPicPr>
          <p:cNvPr id="9" name="Picture 4" descr="Calendar Icon | OS X Yosemite Preview Iconset | johanchalibert">
            <a:extLst>
              <a:ext uri="{FF2B5EF4-FFF2-40B4-BE49-F238E27FC236}">
                <a16:creationId xmlns:a16="http://schemas.microsoft.com/office/drawing/2014/main" id="{B8D64328-8E47-45C4-B0B5-5CD2B02F6B8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05365" y="2143125"/>
            <a:ext cx="2782193" cy="2782193"/>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49F4E2B-EEB0-4736-A001-E9CD8947E750}"/>
              </a:ext>
            </a:extLst>
          </p:cNvPr>
          <p:cNvSpPr txBox="1"/>
          <p:nvPr/>
        </p:nvSpPr>
        <p:spPr>
          <a:xfrm>
            <a:off x="854289" y="1725882"/>
            <a:ext cx="8366150" cy="4405084"/>
          </a:xfrm>
          <a:prstGeom prst="rect">
            <a:avLst/>
          </a:prstGeom>
          <a:noFill/>
        </p:spPr>
        <p:txBody>
          <a:bodyPr wrap="square" numCol="1" rtlCol="0">
            <a:normAutofit/>
          </a:bodyPr>
          <a:lstStyle/>
          <a:p>
            <a:pPr lvl="0"/>
            <a:endParaRPr lang="en-CA" sz="2500" b="1" dirty="0">
              <a:solidFill>
                <a:srgbClr val="464646"/>
              </a:solidFill>
            </a:endParaRPr>
          </a:p>
        </p:txBody>
      </p:sp>
      <p:sp>
        <p:nvSpPr>
          <p:cNvPr id="8" name="Slide Number Placeholder 1">
            <a:extLst>
              <a:ext uri="{FF2B5EF4-FFF2-40B4-BE49-F238E27FC236}">
                <a16:creationId xmlns:a16="http://schemas.microsoft.com/office/drawing/2014/main" id="{8E23BF81-B67C-4C10-B4AA-C00F62941424}"/>
              </a:ext>
            </a:extLst>
          </p:cNvPr>
          <p:cNvSpPr>
            <a:spLocks noGrp="1"/>
          </p:cNvSpPr>
          <p:nvPr>
            <p:ph type="sldNum" sz="quarter" idx="14"/>
          </p:nvPr>
        </p:nvSpPr>
        <p:spPr>
          <a:xfrm>
            <a:off x="833388" y="6356351"/>
            <a:ext cx="620027" cy="352458"/>
          </a:xfrm>
        </p:spPr>
        <p:txBody>
          <a:bodyPr/>
          <a:lstStyle/>
          <a:p>
            <a:fld id="{4658F449-AC56-C64A-8488-86A10DE691DA}" type="slidenum">
              <a:rPr lang="en-US" smtClean="0"/>
              <a:pPr/>
              <a:t>26</a:t>
            </a:fld>
            <a:endParaRPr lang="en-US" dirty="0"/>
          </a:p>
        </p:txBody>
      </p:sp>
      <p:sp>
        <p:nvSpPr>
          <p:cNvPr id="3" name="TextBox 2">
            <a:extLst>
              <a:ext uri="{FF2B5EF4-FFF2-40B4-BE49-F238E27FC236}">
                <a16:creationId xmlns:a16="http://schemas.microsoft.com/office/drawing/2014/main" id="{436C595F-2E16-4F94-A9C6-30F81D6198AD}"/>
              </a:ext>
            </a:extLst>
          </p:cNvPr>
          <p:cNvSpPr txBox="1"/>
          <p:nvPr/>
        </p:nvSpPr>
        <p:spPr>
          <a:xfrm>
            <a:off x="829057" y="1548082"/>
            <a:ext cx="6175376" cy="1313228"/>
          </a:xfrm>
          <a:prstGeom prst="rect">
            <a:avLst/>
          </a:prstGeom>
          <a:noFill/>
        </p:spPr>
        <p:txBody>
          <a:bodyPr wrap="square" numCol="1" rtlCol="0">
            <a:normAutofit/>
          </a:bodyPr>
          <a:lstStyle/>
          <a:p>
            <a:pPr lvl="0"/>
            <a:r>
              <a:rPr lang="en-CA" sz="2100" b="1" dirty="0">
                <a:solidFill>
                  <a:srgbClr val="464646"/>
                </a:solidFill>
              </a:rPr>
              <a:t>Smart Spaces (Parks Associates)</a:t>
            </a:r>
          </a:p>
          <a:p>
            <a:pPr lvl="0"/>
            <a:r>
              <a:rPr lang="en-CA" sz="2100" b="1" dirty="0">
                <a:solidFill>
                  <a:srgbClr val="464646"/>
                </a:solidFill>
              </a:rPr>
              <a:t>April 17-18 | Dallas TX </a:t>
            </a:r>
          </a:p>
          <a:p>
            <a:pPr lvl="0"/>
            <a:r>
              <a:rPr lang="en-CA" sz="2100" b="1" dirty="0">
                <a:solidFill>
                  <a:srgbClr val="464646"/>
                </a:solidFill>
              </a:rPr>
              <a:t>(Virtual – Jul 20, Oct 5, Nov 30)</a:t>
            </a:r>
          </a:p>
        </p:txBody>
      </p:sp>
      <p:sp>
        <p:nvSpPr>
          <p:cNvPr id="11" name="Text Placeholder 9">
            <a:extLst>
              <a:ext uri="{FF2B5EF4-FFF2-40B4-BE49-F238E27FC236}">
                <a16:creationId xmlns:a16="http://schemas.microsoft.com/office/drawing/2014/main" id="{4135F822-054C-43E5-83F5-7761E6D45034}"/>
              </a:ext>
            </a:extLst>
          </p:cNvPr>
          <p:cNvSpPr txBox="1">
            <a:spLocks/>
          </p:cNvSpPr>
          <p:nvPr/>
        </p:nvSpPr>
        <p:spPr>
          <a:xfrm>
            <a:off x="833388" y="2868672"/>
            <a:ext cx="6770687" cy="52863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dirty="0"/>
              <a:t>Upcoming Events</a:t>
            </a:r>
          </a:p>
        </p:txBody>
      </p:sp>
      <p:sp>
        <p:nvSpPr>
          <p:cNvPr id="5" name="TextBox 4">
            <a:extLst>
              <a:ext uri="{FF2B5EF4-FFF2-40B4-BE49-F238E27FC236}">
                <a16:creationId xmlns:a16="http://schemas.microsoft.com/office/drawing/2014/main" id="{FB99C0ED-DA5F-4C36-9B0A-4723CE52A93D}"/>
              </a:ext>
            </a:extLst>
          </p:cNvPr>
          <p:cNvSpPr txBox="1"/>
          <p:nvPr/>
        </p:nvSpPr>
        <p:spPr>
          <a:xfrm>
            <a:off x="833388" y="3389677"/>
            <a:ext cx="8310612" cy="2893689"/>
          </a:xfrm>
          <a:prstGeom prst="rect">
            <a:avLst/>
          </a:prstGeom>
          <a:noFill/>
        </p:spPr>
        <p:txBody>
          <a:bodyPr wrap="square" numCol="1" rtlCol="0">
            <a:normAutofit fontScale="92500" lnSpcReduction="10000"/>
          </a:bodyPr>
          <a:lstStyle/>
          <a:p>
            <a:r>
              <a:rPr lang="en-CA" sz="2300" b="1" dirty="0">
                <a:solidFill>
                  <a:srgbClr val="464646"/>
                </a:solidFill>
              </a:rPr>
              <a:t>Connections (Parks Associates) Connected Home Summit</a:t>
            </a:r>
          </a:p>
          <a:p>
            <a:pPr lvl="0"/>
            <a:r>
              <a:rPr lang="en-CA" sz="2300" b="1" dirty="0">
                <a:solidFill>
                  <a:srgbClr val="464646"/>
                </a:solidFill>
              </a:rPr>
              <a:t>May 23-25 | Frisco, TX </a:t>
            </a:r>
          </a:p>
          <a:p>
            <a:pPr lvl="0"/>
            <a:r>
              <a:rPr lang="en-CA" sz="2300" b="1" dirty="0">
                <a:solidFill>
                  <a:srgbClr val="464646"/>
                </a:solidFill>
              </a:rPr>
              <a:t>(Virtual – Jul 20, Oct 5)</a:t>
            </a:r>
          </a:p>
          <a:p>
            <a:pPr lvl="0"/>
            <a:endParaRPr lang="en-CA" sz="2300" b="1" dirty="0">
              <a:solidFill>
                <a:srgbClr val="464646"/>
              </a:solidFill>
            </a:endParaRPr>
          </a:p>
          <a:p>
            <a:pPr lvl="0"/>
            <a:r>
              <a:rPr lang="en-CA" sz="2300" b="1" dirty="0">
                <a:solidFill>
                  <a:srgbClr val="464646"/>
                </a:solidFill>
              </a:rPr>
              <a:t>Shanghai Smart Home Technology</a:t>
            </a:r>
          </a:p>
          <a:p>
            <a:pPr lvl="0"/>
            <a:r>
              <a:rPr lang="en-CA" sz="2300" b="1" dirty="0">
                <a:solidFill>
                  <a:srgbClr val="464646"/>
                </a:solidFill>
              </a:rPr>
              <a:t>August 29-31 | Shanghai, China</a:t>
            </a:r>
          </a:p>
          <a:p>
            <a:pPr lvl="0"/>
            <a:endParaRPr lang="en-CA" sz="2300" b="1" dirty="0">
              <a:solidFill>
                <a:srgbClr val="464646"/>
              </a:solidFill>
            </a:endParaRPr>
          </a:p>
          <a:p>
            <a:pPr lvl="0"/>
            <a:r>
              <a:rPr lang="en-CA" sz="2300" b="1" dirty="0">
                <a:solidFill>
                  <a:srgbClr val="464646"/>
                </a:solidFill>
              </a:rPr>
              <a:t>CEDIA Expo</a:t>
            </a:r>
          </a:p>
          <a:p>
            <a:pPr lvl="0"/>
            <a:r>
              <a:rPr lang="en-CA" sz="2300" b="1" dirty="0">
                <a:solidFill>
                  <a:srgbClr val="464646"/>
                </a:solidFill>
              </a:rPr>
              <a:t>September 7-9 | Denver, CO</a:t>
            </a:r>
          </a:p>
        </p:txBody>
      </p:sp>
    </p:spTree>
    <p:extLst>
      <p:ext uri="{BB962C8B-B14F-4D97-AF65-F5344CB8AC3E}">
        <p14:creationId xmlns:p14="http://schemas.microsoft.com/office/powerpoint/2010/main" val="6445616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421193" y="2866082"/>
            <a:ext cx="9332006" cy="3154710"/>
          </a:xfrm>
          <a:prstGeom prst="rect">
            <a:avLst/>
          </a:prstGeom>
        </p:spPr>
        <p:txBody>
          <a:bodyPr wrap="square">
            <a:spAutoFit/>
          </a:bodyPr>
          <a:lstStyle/>
          <a:p>
            <a:pPr algn="ctr"/>
            <a:r>
              <a:rPr lang="en-US" altLang="en-US" sz="3200" b="1" dirty="0">
                <a:latin typeface="Calibri" pitchFamily="34" charset="0"/>
              </a:rPr>
              <a:t>Continental Automated Buildings Association (CABA)</a:t>
            </a:r>
            <a:br>
              <a:rPr lang="en-US" altLang="en-US" sz="2400" b="1" dirty="0">
                <a:latin typeface="Calibri" pitchFamily="34" charset="0"/>
              </a:rPr>
            </a:br>
            <a:r>
              <a:rPr lang="en-US" altLang="en-US" sz="2400" b="1" dirty="0">
                <a:latin typeface="Calibri" pitchFamily="34" charset="0"/>
              </a:rPr>
              <a:t>caba@caba.org</a:t>
            </a:r>
            <a:br>
              <a:rPr lang="en-US" altLang="en-US" sz="2400" b="1" dirty="0">
                <a:latin typeface="Calibri" pitchFamily="34" charset="0"/>
              </a:rPr>
            </a:br>
            <a:r>
              <a:rPr lang="en-US" altLang="en-US" sz="2400" b="1" dirty="0">
                <a:latin typeface="Calibri" pitchFamily="34" charset="0"/>
              </a:rPr>
              <a:t>www.CABA.org</a:t>
            </a:r>
          </a:p>
          <a:p>
            <a:pPr algn="ctr"/>
            <a:r>
              <a:rPr lang="en-US" altLang="en-US" sz="2400" b="1" dirty="0">
                <a:latin typeface="Calibri" pitchFamily="34" charset="0"/>
                <a:hlinkClick r:id="rId2"/>
              </a:rPr>
              <a:t>www.caba.org/chc</a:t>
            </a:r>
            <a:endParaRPr lang="en-US" altLang="en-US" sz="2400" b="1" dirty="0">
              <a:latin typeface="Calibri" pitchFamily="34" charset="0"/>
            </a:endParaRPr>
          </a:p>
          <a:p>
            <a:pPr algn="ctr"/>
            <a:endParaRPr lang="en-US" altLang="en-US" sz="2400" b="1" dirty="0">
              <a:latin typeface="Calibri" pitchFamily="34" charset="0"/>
            </a:endParaRPr>
          </a:p>
          <a:p>
            <a:pPr algn="ctr"/>
            <a:endParaRPr lang="en-US" altLang="en-US" sz="2400" b="1" dirty="0">
              <a:latin typeface="Calibri" pitchFamily="34" charset="0"/>
            </a:endParaRPr>
          </a:p>
          <a:p>
            <a:pPr algn="ctr">
              <a:spcBef>
                <a:spcPts val="1800"/>
              </a:spcBef>
            </a:pPr>
            <a:r>
              <a:rPr lang="en-CA" altLang="en-US" sz="3200" b="1" dirty="0">
                <a:solidFill>
                  <a:srgbClr val="E83E1D"/>
                </a:solidFill>
                <a:latin typeface="Calibri" pitchFamily="34" charset="0"/>
              </a:rPr>
              <a:t>Connect to what’s next™</a:t>
            </a:r>
            <a:endParaRPr lang="en-CA" altLang="en-US" sz="3200" b="1" dirty="0">
              <a:solidFill>
                <a:srgbClr val="E83E1D"/>
              </a:solidFill>
              <a:latin typeface="Calibri" pitchFamily="34" charset="0"/>
              <a:hlinkClick r:id="" action="ppaction://noaction"/>
            </a:endParaRPr>
          </a:p>
        </p:txBody>
      </p:sp>
      <p:sp>
        <p:nvSpPr>
          <p:cNvPr id="4" name="Title 1"/>
          <p:cNvSpPr>
            <a:spLocks noGrp="1"/>
          </p:cNvSpPr>
          <p:nvPr>
            <p:ph type="title"/>
          </p:nvPr>
        </p:nvSpPr>
        <p:spPr>
          <a:xfrm>
            <a:off x="838200" y="71510"/>
            <a:ext cx="6873240" cy="447675"/>
          </a:xfrm>
        </p:spPr>
        <p:txBody>
          <a:bodyPr/>
          <a:lstStyle/>
          <a:p>
            <a:r>
              <a:rPr lang="en-US" b="1" dirty="0"/>
              <a:t>9.  Adjournment</a:t>
            </a:r>
            <a:br>
              <a:rPr lang="en-US" dirty="0"/>
            </a:br>
            <a:r>
              <a:rPr lang="en-US" altLang="en-US" sz="2800" dirty="0"/>
              <a:t>Ken Wacks </a:t>
            </a:r>
            <a:r>
              <a:rPr lang="en-US" sz="2800" dirty="0"/>
              <a:t>(Ken Wacks Associates)</a:t>
            </a:r>
            <a:endParaRPr lang="en-US" dirty="0"/>
          </a:p>
        </p:txBody>
      </p:sp>
      <p:pic>
        <p:nvPicPr>
          <p:cNvPr id="5" name="Picture 3"/>
          <p:cNvPicPr>
            <a:picLocks noChangeAspect="1" noChangeArrowheads="1"/>
          </p:cNvPicPr>
          <p:nvPr/>
        </p:nvPicPr>
        <p:blipFill>
          <a:blip r:embed="rId3">
            <a:extLst>
              <a:ext uri="{28A0092B-C50C-407E-A947-70E740481C1C}">
                <a14:useLocalDpi xmlns:a14="http://schemas.microsoft.com/office/drawing/2010/main" val="0"/>
              </a:ext>
            </a:extLst>
          </a:blip>
          <a:srcRect l="3944" t="19875" r="5957" b="22630"/>
          <a:stretch>
            <a:fillRect/>
          </a:stretch>
        </p:blipFill>
        <p:spPr bwMode="auto">
          <a:xfrm>
            <a:off x="4274820" y="4629492"/>
            <a:ext cx="3624752" cy="8626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a:extLst>
              <a:ext uri="{FF2B5EF4-FFF2-40B4-BE49-F238E27FC236}">
                <a16:creationId xmlns:a16="http://schemas.microsoft.com/office/drawing/2014/main" id="{994CAA25-984D-4484-838B-9B092E7155F2}"/>
              </a:ext>
            </a:extLst>
          </p:cNvPr>
          <p:cNvSpPr/>
          <p:nvPr/>
        </p:nvSpPr>
        <p:spPr>
          <a:xfrm>
            <a:off x="2062158" y="1931317"/>
            <a:ext cx="8050075" cy="492443"/>
          </a:xfrm>
          <a:prstGeom prst="rect">
            <a:avLst/>
          </a:prstGeom>
          <a:solidFill>
            <a:schemeClr val="accent5"/>
          </a:solidFill>
          <a:ln w="47625">
            <a:solidFill>
              <a:schemeClr val="tx2"/>
            </a:solidFill>
          </a:ln>
        </p:spPr>
        <p:txBody>
          <a:bodyPr wrap="square">
            <a:spAutoFit/>
          </a:bodyPr>
          <a:lstStyle/>
          <a:p>
            <a:pPr lvl="0" algn="ctr"/>
            <a:r>
              <a:rPr lang="en-US" sz="2500" b="1" dirty="0">
                <a:solidFill>
                  <a:srgbClr val="E83E1D"/>
                </a:solidFill>
              </a:rPr>
              <a:t>Next CHC Meeting: </a:t>
            </a:r>
            <a:r>
              <a:rPr lang="en-US" sz="2600" b="1" dirty="0">
                <a:solidFill>
                  <a:schemeClr val="tx2"/>
                </a:solidFill>
              </a:rPr>
              <a:t>Tuesday, July 25, 2023</a:t>
            </a:r>
          </a:p>
        </p:txBody>
      </p:sp>
      <p:sp>
        <p:nvSpPr>
          <p:cNvPr id="10" name="Slide Number Placeholder 1">
            <a:extLst>
              <a:ext uri="{FF2B5EF4-FFF2-40B4-BE49-F238E27FC236}">
                <a16:creationId xmlns:a16="http://schemas.microsoft.com/office/drawing/2014/main" id="{41FD3999-A86A-4BBE-9C18-3124923FD008}"/>
              </a:ext>
            </a:extLst>
          </p:cNvPr>
          <p:cNvSpPr txBox="1">
            <a:spLocks/>
          </p:cNvSpPr>
          <p:nvPr/>
        </p:nvSpPr>
        <p:spPr>
          <a:xfrm>
            <a:off x="833388" y="6356351"/>
            <a:ext cx="620027" cy="35245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58F449-AC56-C64A-8488-86A10DE691DA}" type="slidenum">
              <a:rPr lang="en-US" sz="1200" smtClean="0"/>
              <a:pPr/>
              <a:t>27</a:t>
            </a:fld>
            <a:endParaRPr lang="en-US" sz="1200" dirty="0"/>
          </a:p>
        </p:txBody>
      </p:sp>
    </p:spTree>
    <p:extLst>
      <p:ext uri="{BB962C8B-B14F-4D97-AF65-F5344CB8AC3E}">
        <p14:creationId xmlns:p14="http://schemas.microsoft.com/office/powerpoint/2010/main" val="29324448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noChangeArrowheads="1"/>
          </p:cNvSpPr>
          <p:nvPr>
            <p:ph type="title"/>
          </p:nvPr>
        </p:nvSpPr>
        <p:spPr>
          <a:xfrm>
            <a:off x="838200" y="81704"/>
            <a:ext cx="11216779" cy="524107"/>
          </a:xfrm>
        </p:spPr>
        <p:txBody>
          <a:bodyPr/>
          <a:lstStyle/>
          <a:p>
            <a:r>
              <a:rPr lang="en-US" altLang="en-US" b="1" dirty="0"/>
              <a:t>2.  CHC Meeting Call to Order, Intros, About the CHC</a:t>
            </a:r>
            <a:br>
              <a:rPr lang="en-US" altLang="en-US" sz="2800" b="1" dirty="0"/>
            </a:br>
            <a:r>
              <a:rPr lang="en-US" altLang="en-US" sz="2800" dirty="0"/>
              <a:t>Ken Wacks </a:t>
            </a:r>
            <a:r>
              <a:rPr lang="en-US" sz="2800" dirty="0"/>
              <a:t>(Ken Wacks Associates)</a:t>
            </a:r>
            <a:endParaRPr lang="en-US" altLang="en-US" sz="1800" dirty="0"/>
          </a:p>
        </p:txBody>
      </p:sp>
      <p:sp>
        <p:nvSpPr>
          <p:cNvPr id="5" name="Content Placeholder 1"/>
          <p:cNvSpPr txBox="1">
            <a:spLocks noChangeArrowheads="1"/>
          </p:cNvSpPr>
          <p:nvPr/>
        </p:nvSpPr>
        <p:spPr>
          <a:xfrm>
            <a:off x="6299199" y="1792803"/>
            <a:ext cx="5412879" cy="2961841"/>
          </a:xfrm>
          <a:prstGeom prst="rect">
            <a:avLst/>
          </a:prstGeom>
        </p:spPr>
        <p:txBody>
          <a:bodyPr/>
          <a:lstStyle>
            <a:lvl1pPr marL="228600" indent="-228600" algn="l" defTabSz="914400" rtl="0" eaLnBrk="1" latinLnBrk="0" hangingPunct="1">
              <a:lnSpc>
                <a:spcPct val="90000"/>
              </a:lnSpc>
              <a:spcBef>
                <a:spcPts val="1000"/>
              </a:spcBef>
              <a:buFont typeface="Arial"/>
              <a:buChar char="•"/>
              <a:defRPr sz="2800" kern="1200" baseline="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en-US" altLang="en-US" sz="1800" dirty="0"/>
              <a:t>Established in 2004, the CABA Connected Home Council initiates and reviews projects that relate to connected home and multiple dwelling unit technologies and applications.  The Council also examines industry opportunities that can accelerate the adoption of new technologies, consumer electronics and broadband services within the burgeoning connected home market. </a:t>
            </a:r>
            <a:r>
              <a:rPr lang="en-US" altLang="en-US" sz="1800" dirty="0">
                <a:hlinkClick r:id="rId2"/>
              </a:rPr>
              <a:t>www.caba.org/chc</a:t>
            </a:r>
            <a:r>
              <a:rPr lang="en-US" altLang="en-US" sz="1800" dirty="0"/>
              <a:t> </a:t>
            </a:r>
          </a:p>
        </p:txBody>
      </p:sp>
      <p:sp>
        <p:nvSpPr>
          <p:cNvPr id="20" name="Slide Number Placeholder 1">
            <a:extLst>
              <a:ext uri="{FF2B5EF4-FFF2-40B4-BE49-F238E27FC236}">
                <a16:creationId xmlns:a16="http://schemas.microsoft.com/office/drawing/2014/main" id="{45BC6615-33AD-4DC5-84E4-625EBEF7687D}"/>
              </a:ext>
            </a:extLst>
          </p:cNvPr>
          <p:cNvSpPr txBox="1">
            <a:spLocks/>
          </p:cNvSpPr>
          <p:nvPr/>
        </p:nvSpPr>
        <p:spPr>
          <a:xfrm>
            <a:off x="833388" y="6356351"/>
            <a:ext cx="620027" cy="35245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58F449-AC56-C64A-8488-86A10DE691DA}" type="slidenum">
              <a:rPr lang="en-US" sz="1200" smtClean="0"/>
              <a:pPr/>
              <a:t>3</a:t>
            </a:fld>
            <a:endParaRPr lang="en-US" sz="1200" dirty="0"/>
          </a:p>
        </p:txBody>
      </p:sp>
      <p:grpSp>
        <p:nvGrpSpPr>
          <p:cNvPr id="2" name="Group 1">
            <a:extLst>
              <a:ext uri="{FF2B5EF4-FFF2-40B4-BE49-F238E27FC236}">
                <a16:creationId xmlns:a16="http://schemas.microsoft.com/office/drawing/2014/main" id="{7B7451F3-33C0-4577-BBD4-75275FFD0139}"/>
              </a:ext>
            </a:extLst>
          </p:cNvPr>
          <p:cNvGrpSpPr/>
          <p:nvPr/>
        </p:nvGrpSpPr>
        <p:grpSpPr>
          <a:xfrm>
            <a:off x="778229" y="1517293"/>
            <a:ext cx="5317771" cy="3829042"/>
            <a:chOff x="778229" y="1517293"/>
            <a:chExt cx="5317771" cy="3829042"/>
          </a:xfrm>
        </p:grpSpPr>
        <p:sp>
          <p:nvSpPr>
            <p:cNvPr id="19" name="Rectangle 5">
              <a:extLst>
                <a:ext uri="{FF2B5EF4-FFF2-40B4-BE49-F238E27FC236}">
                  <a16:creationId xmlns:a16="http://schemas.microsoft.com/office/drawing/2014/main" id="{7A3DD77C-F4D1-4545-9802-4D2A6BDBF7AD}"/>
                </a:ext>
              </a:extLst>
            </p:cNvPr>
            <p:cNvSpPr>
              <a:spLocks noChangeArrowheads="1"/>
            </p:cNvSpPr>
            <p:nvPr/>
          </p:nvSpPr>
          <p:spPr bwMode="auto">
            <a:xfrm>
              <a:off x="3450972" y="3434019"/>
              <a:ext cx="2645028" cy="13234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Vice-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arles Hume</a:t>
              </a: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sym typeface="Arial" pitchFamily="34" charset="0"/>
                </a:rPr>
                <a:t>Director of Digital Power Technologies</a:t>
              </a:r>
              <a:endParaRPr lang="fr-FR" altLang="en-US" sz="1600" dirty="0">
                <a:solidFill>
                  <a:schemeClr val="tx1"/>
                </a:solidFill>
                <a:ea typeface="SimSun" pitchFamily="2" charset="-122"/>
                <a:cs typeface="Arial" pitchFamily="34" charset="0"/>
              </a:endParaRPr>
            </a:p>
            <a:p>
              <a:pPr eaLnBrk="1" hangingPunct="1">
                <a:lnSpc>
                  <a:spcPct val="100000"/>
                </a:lnSpc>
                <a:spcBef>
                  <a:spcPct val="0"/>
                </a:spcBef>
                <a:buFont typeface="Arial" pitchFamily="34" charset="0"/>
                <a:buNone/>
              </a:pPr>
              <a:r>
                <a:rPr lang="en-US" sz="1600" dirty="0">
                  <a:solidFill>
                    <a:schemeClr val="tx1"/>
                  </a:solidFill>
                  <a:ea typeface="SimSun" pitchFamily="2" charset="-122"/>
                  <a:cs typeface="Arial" pitchFamily="34" charset="0"/>
                </a:rPr>
                <a:t>Southwire Company, LLC</a:t>
              </a:r>
              <a:endParaRPr lang="en-CA" altLang="en-US" sz="1600" dirty="0">
                <a:solidFill>
                  <a:schemeClr val="tx1"/>
                </a:solidFill>
                <a:ea typeface="SimSun" pitchFamily="2" charset="-122"/>
                <a:cs typeface="Arial" pitchFamily="34" charset="0"/>
              </a:endParaRPr>
            </a:p>
          </p:txBody>
        </p:sp>
        <p:pic>
          <p:nvPicPr>
            <p:cNvPr id="31" name="Picture 8">
              <a:extLst>
                <a:ext uri="{FF2B5EF4-FFF2-40B4-BE49-F238E27FC236}">
                  <a16:creationId xmlns:a16="http://schemas.microsoft.com/office/drawing/2014/main" id="{0594B47B-8C54-445C-9E42-7850FCDAF13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824" r="5050" b="27387"/>
            <a:stretch/>
          </p:blipFill>
          <p:spPr bwMode="auto">
            <a:xfrm>
              <a:off x="3510943" y="4727510"/>
              <a:ext cx="2300681" cy="61882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descr="A person posing for the camera&#10;&#10;Description automatically generated">
              <a:extLst>
                <a:ext uri="{FF2B5EF4-FFF2-40B4-BE49-F238E27FC236}">
                  <a16:creationId xmlns:a16="http://schemas.microsoft.com/office/drawing/2014/main" id="{81F8D405-DC8B-4918-95E3-7B172FAD1A3C}"/>
                </a:ext>
              </a:extLst>
            </p:cNvPr>
            <p:cNvPicPr>
              <a:picLocks noChangeAspect="1"/>
            </p:cNvPicPr>
            <p:nvPr/>
          </p:nvPicPr>
          <p:blipFill rotWithShape="1">
            <a:blip r:embed="rId4"/>
            <a:srcRect b="20371"/>
            <a:stretch/>
          </p:blipFill>
          <p:spPr>
            <a:xfrm>
              <a:off x="3510943" y="1517293"/>
              <a:ext cx="1821889" cy="1853835"/>
            </a:xfrm>
            <a:prstGeom prst="rect">
              <a:avLst/>
            </a:prstGeom>
          </p:spPr>
        </p:pic>
        <p:sp>
          <p:nvSpPr>
            <p:cNvPr id="3" name="Rectangle 5">
              <a:extLst>
                <a:ext uri="{FF2B5EF4-FFF2-40B4-BE49-F238E27FC236}">
                  <a16:creationId xmlns:a16="http://schemas.microsoft.com/office/drawing/2014/main" id="{EE65FA61-F967-42F3-A89E-0B7E77091DE4}"/>
                </a:ext>
              </a:extLst>
            </p:cNvPr>
            <p:cNvSpPr>
              <a:spLocks noChangeArrowheads="1"/>
            </p:cNvSpPr>
            <p:nvPr/>
          </p:nvSpPr>
          <p:spPr bwMode="auto">
            <a:xfrm>
              <a:off x="778229" y="3434019"/>
              <a:ext cx="2645028" cy="132343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spAutoFit/>
            </a:bodyPr>
            <a:lstStyle>
              <a:lvl1pPr eaLnBrk="0" hangingPunct="0">
                <a:lnSpc>
                  <a:spcPct val="90000"/>
                </a:lnSpc>
                <a:spcBef>
                  <a:spcPts val="1000"/>
                </a:spcBef>
                <a:buChar char="•"/>
                <a:defRPr sz="2800">
                  <a:solidFill>
                    <a:schemeClr val="tx2"/>
                  </a:solidFill>
                  <a:latin typeface="Arial" pitchFamily="34" charset="0"/>
                  <a:ea typeface="Montserrat" pitchFamily="50" charset="0"/>
                  <a:cs typeface="Montserrat" pitchFamily="50" charset="0"/>
                  <a:sym typeface="Montserrat" pitchFamily="50" charset="0"/>
                </a:defRPr>
              </a:lvl1pPr>
              <a:lvl2pPr marL="742950" indent="-285750" eaLnBrk="0" hangingPunct="0">
                <a:lnSpc>
                  <a:spcPct val="90000"/>
                </a:lnSpc>
                <a:spcBef>
                  <a:spcPts val="500"/>
                </a:spcBef>
                <a:buChar char="•"/>
                <a:defRPr sz="2400">
                  <a:solidFill>
                    <a:schemeClr val="tx2"/>
                  </a:solidFill>
                  <a:latin typeface="Arial" pitchFamily="34" charset="0"/>
                  <a:ea typeface="Montserrat" pitchFamily="50" charset="0"/>
                  <a:cs typeface="Montserrat" pitchFamily="50" charset="0"/>
                  <a:sym typeface="Montserrat" pitchFamily="50" charset="0"/>
                </a:defRPr>
              </a:lvl2pPr>
              <a:lvl3pPr marL="1143000" indent="-228600" eaLnBrk="0" hangingPunct="0">
                <a:lnSpc>
                  <a:spcPct val="90000"/>
                </a:lnSpc>
                <a:spcBef>
                  <a:spcPts val="500"/>
                </a:spcBef>
                <a:buChar char="•"/>
                <a:defRPr sz="2000">
                  <a:solidFill>
                    <a:schemeClr val="tx2"/>
                  </a:solidFill>
                  <a:latin typeface="Arial" pitchFamily="34" charset="0"/>
                  <a:ea typeface="Montserrat" pitchFamily="50" charset="0"/>
                  <a:cs typeface="Montserrat" pitchFamily="50" charset="0"/>
                  <a:sym typeface="Montserrat" pitchFamily="50" charset="0"/>
                </a:defRPr>
              </a:lvl3pPr>
              <a:lvl4pPr marL="16002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4pPr>
              <a:lvl5pPr marL="2057400" indent="-228600" eaLnBrk="0" hangingPunct="0">
                <a:lnSpc>
                  <a:spcPct val="90000"/>
                </a:lnSpc>
                <a:spcBef>
                  <a:spcPts val="500"/>
                </a:spcBef>
                <a:buChar char="•"/>
                <a:defRPr>
                  <a:solidFill>
                    <a:schemeClr val="tx2"/>
                  </a:solidFill>
                  <a:latin typeface="Arial" pitchFamily="34" charset="0"/>
                  <a:ea typeface="Montserrat" pitchFamily="50" charset="0"/>
                  <a:cs typeface="Montserrat" pitchFamily="50" charset="0"/>
                  <a:sym typeface="Montserrat" pitchFamily="50" charset="0"/>
                </a:defRPr>
              </a:lvl5pPr>
              <a:lvl6pPr marL="25146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6pPr>
              <a:lvl7pPr marL="29718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7pPr>
              <a:lvl8pPr marL="34290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8pPr>
              <a:lvl9pPr marL="3886200" indent="-228600" eaLnBrk="0" fontAlgn="base" hangingPunct="0">
                <a:lnSpc>
                  <a:spcPct val="90000"/>
                </a:lnSpc>
                <a:spcBef>
                  <a:spcPts val="500"/>
                </a:spcBef>
                <a:spcAft>
                  <a:spcPct val="0"/>
                </a:spcAft>
                <a:buFont typeface="Arial" pitchFamily="34" charset="0"/>
                <a:buChar char="•"/>
                <a:defRPr>
                  <a:solidFill>
                    <a:schemeClr val="tx2"/>
                  </a:solidFill>
                  <a:latin typeface="Arial" pitchFamily="34" charset="0"/>
                  <a:ea typeface="Montserrat" pitchFamily="50" charset="0"/>
                  <a:cs typeface="Montserrat" pitchFamily="50" charset="0"/>
                  <a:sym typeface="Montserrat" pitchFamily="50" charset="0"/>
                </a:defRPr>
              </a:lvl9pPr>
            </a:lstStyle>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CHC Chair</a:t>
              </a:r>
            </a:p>
            <a:p>
              <a:pPr eaLnBrk="1" hangingPunct="1">
                <a:lnSpc>
                  <a:spcPct val="100000"/>
                </a:lnSpc>
                <a:spcBef>
                  <a:spcPct val="0"/>
                </a:spcBef>
                <a:buFont typeface="Arial" pitchFamily="34" charset="0"/>
                <a:buNone/>
              </a:pPr>
              <a:r>
                <a:rPr lang="en-CA" altLang="en-US" sz="1600" b="1" dirty="0">
                  <a:solidFill>
                    <a:schemeClr val="tx1"/>
                  </a:solidFill>
                  <a:ea typeface="SimSun" pitchFamily="2" charset="-122"/>
                  <a:sym typeface="Arial" pitchFamily="34" charset="0"/>
                </a:rPr>
                <a:t>Dr. Kenneth Wacks</a:t>
              </a:r>
            </a:p>
            <a:p>
              <a:pPr eaLnBrk="1" hangingPunct="1">
                <a:lnSpc>
                  <a:spcPct val="100000"/>
                </a:lnSpc>
                <a:spcBef>
                  <a:spcPct val="0"/>
                </a:spcBef>
                <a:buFont typeface="Arial" pitchFamily="34" charset="0"/>
                <a:buNone/>
              </a:pPr>
              <a:r>
                <a:rPr lang="en-CA" altLang="en-US" sz="1600" dirty="0">
                  <a:solidFill>
                    <a:schemeClr val="tx1"/>
                  </a:solidFill>
                  <a:ea typeface="SimSun" pitchFamily="2" charset="-122"/>
                  <a:sym typeface="Arial" pitchFamily="34" charset="0"/>
                </a:rPr>
                <a:t>Management &amp; Engineering Consultant</a:t>
              </a:r>
              <a:endParaRPr lang="fr-FR" altLang="en-US" sz="1600" dirty="0">
                <a:solidFill>
                  <a:schemeClr val="tx1"/>
                </a:solidFill>
                <a:ea typeface="SimSun" pitchFamily="2" charset="-122"/>
                <a:cs typeface="Arial" pitchFamily="34" charset="0"/>
              </a:endParaRPr>
            </a:p>
            <a:p>
              <a:pPr eaLnBrk="1" hangingPunct="1">
                <a:lnSpc>
                  <a:spcPct val="100000"/>
                </a:lnSpc>
                <a:spcBef>
                  <a:spcPct val="0"/>
                </a:spcBef>
                <a:buFont typeface="Arial" pitchFamily="34" charset="0"/>
                <a:buNone/>
              </a:pPr>
              <a:r>
                <a:rPr lang="en-US" altLang="en-US" sz="1600" dirty="0">
                  <a:solidFill>
                    <a:schemeClr val="tx1"/>
                  </a:solidFill>
                  <a:ea typeface="SimSun" pitchFamily="2" charset="-122"/>
                  <a:cs typeface="Arial" pitchFamily="34" charset="0"/>
                </a:rPr>
                <a:t>Ken Wacks Associates</a:t>
              </a:r>
              <a:endParaRPr lang="en-CA" altLang="en-US" sz="1600" dirty="0">
                <a:solidFill>
                  <a:schemeClr val="tx1"/>
                </a:solidFill>
                <a:ea typeface="SimSun" pitchFamily="2" charset="-122"/>
                <a:cs typeface="Arial" pitchFamily="34" charset="0"/>
              </a:endParaRPr>
            </a:p>
          </p:txBody>
        </p:sp>
        <p:pic>
          <p:nvPicPr>
            <p:cNvPr id="7" name="Picture 6" descr="A person posing for the camera&#10;&#10;Description automatically generated">
              <a:extLst>
                <a:ext uri="{FF2B5EF4-FFF2-40B4-BE49-F238E27FC236}">
                  <a16:creationId xmlns:a16="http://schemas.microsoft.com/office/drawing/2014/main" id="{286A5F57-8EBE-4ABB-9A26-EB426B491561}"/>
                </a:ext>
              </a:extLst>
            </p:cNvPr>
            <p:cNvPicPr>
              <a:picLocks noChangeAspect="1"/>
            </p:cNvPicPr>
            <p:nvPr/>
          </p:nvPicPr>
          <p:blipFill rotWithShape="1">
            <a:blip r:embed="rId4"/>
            <a:srcRect b="20371"/>
            <a:stretch/>
          </p:blipFill>
          <p:spPr>
            <a:xfrm>
              <a:off x="838200" y="1517293"/>
              <a:ext cx="1821889" cy="1853835"/>
            </a:xfrm>
            <a:prstGeom prst="rect">
              <a:avLst/>
            </a:prstGeom>
          </p:spPr>
        </p:pic>
        <p:pic>
          <p:nvPicPr>
            <p:cNvPr id="1026" name="Picture 2" descr="KEN WACKS' PERSPECTIVES">
              <a:extLst>
                <a:ext uri="{FF2B5EF4-FFF2-40B4-BE49-F238E27FC236}">
                  <a16:creationId xmlns:a16="http://schemas.microsoft.com/office/drawing/2014/main" id="{3BBB4D25-9F5E-4ED7-953E-ECB6F64C1D36}"/>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25430"/>
            <a:stretch/>
          </p:blipFill>
          <p:spPr bwMode="auto">
            <a:xfrm>
              <a:off x="821764" y="1517293"/>
              <a:ext cx="1838325" cy="185383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Kenneth Wacks - Conferences">
              <a:extLst>
                <a:ext uri="{FF2B5EF4-FFF2-40B4-BE49-F238E27FC236}">
                  <a16:creationId xmlns:a16="http://schemas.microsoft.com/office/drawing/2014/main" id="{BC1CDA0F-89FC-4404-BC0A-2508774D138C}"/>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21363" r="17687" b="29993"/>
            <a:stretch/>
          </p:blipFill>
          <p:spPr bwMode="auto">
            <a:xfrm>
              <a:off x="866775" y="4800202"/>
              <a:ext cx="2403476" cy="47344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289394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41865"/>
            <a:ext cx="6873240" cy="447675"/>
          </a:xfrm>
        </p:spPr>
        <p:txBody>
          <a:bodyPr/>
          <a:lstStyle/>
          <a:p>
            <a:r>
              <a:rPr lang="en-US" b="1" dirty="0"/>
              <a:t>3.  Administrative </a:t>
            </a:r>
            <a:br>
              <a:rPr lang="en-US" dirty="0"/>
            </a:br>
            <a:r>
              <a:rPr lang="en-US" altLang="en-US" sz="2800" dirty="0"/>
              <a:t>Ken Wacks </a:t>
            </a:r>
            <a:r>
              <a:rPr lang="en-US" sz="2800" dirty="0"/>
              <a:t>(Ken Wacks Associates)</a:t>
            </a:r>
            <a:endParaRPr lang="en-US" dirty="0"/>
          </a:p>
        </p:txBody>
      </p:sp>
      <p:sp>
        <p:nvSpPr>
          <p:cNvPr id="10" name="Slide Number Placeholder 1">
            <a:extLst>
              <a:ext uri="{FF2B5EF4-FFF2-40B4-BE49-F238E27FC236}">
                <a16:creationId xmlns:a16="http://schemas.microsoft.com/office/drawing/2014/main" id="{3D090CF6-5C1B-4BE3-A615-3C0228981C66}"/>
              </a:ext>
            </a:extLst>
          </p:cNvPr>
          <p:cNvSpPr>
            <a:spLocks noGrp="1"/>
          </p:cNvSpPr>
          <p:nvPr>
            <p:ph type="sldNum" sz="quarter" idx="14"/>
          </p:nvPr>
        </p:nvSpPr>
        <p:spPr>
          <a:xfrm>
            <a:off x="833388" y="6356351"/>
            <a:ext cx="620027" cy="352458"/>
          </a:xfrm>
        </p:spPr>
        <p:txBody>
          <a:bodyPr/>
          <a:lstStyle/>
          <a:p>
            <a:fld id="{4658F449-AC56-C64A-8488-86A10DE691DA}" type="slidenum">
              <a:rPr lang="en-US" smtClean="0"/>
              <a:pPr/>
              <a:t>4</a:t>
            </a:fld>
            <a:endParaRPr lang="en-US" dirty="0"/>
          </a:p>
        </p:txBody>
      </p:sp>
      <p:sp>
        <p:nvSpPr>
          <p:cNvPr id="9" name="Text Placeholder 5">
            <a:extLst>
              <a:ext uri="{FF2B5EF4-FFF2-40B4-BE49-F238E27FC236}">
                <a16:creationId xmlns:a16="http://schemas.microsoft.com/office/drawing/2014/main" id="{5EB1A567-6EC8-4912-9C2F-000067B6D567}"/>
              </a:ext>
            </a:extLst>
          </p:cNvPr>
          <p:cNvSpPr>
            <a:spLocks noGrp="1"/>
          </p:cNvSpPr>
          <p:nvPr>
            <p:ph type="body" sz="quarter" idx="12"/>
          </p:nvPr>
        </p:nvSpPr>
        <p:spPr>
          <a:xfrm>
            <a:off x="1143401" y="2073276"/>
            <a:ext cx="9600431" cy="3117849"/>
          </a:xfrm>
        </p:spPr>
        <p:txBody>
          <a:bodyPr>
            <a:normAutofit/>
          </a:bodyPr>
          <a:lstStyle/>
          <a:p>
            <a:pPr marL="0" indent="0">
              <a:buNone/>
            </a:pPr>
            <a:r>
              <a:rPr lang="en-US" dirty="0"/>
              <a:t>3.1  Motion to approve past CHC Minutes February 21, 2023</a:t>
            </a:r>
            <a:br>
              <a:rPr lang="en-US" dirty="0"/>
            </a:br>
            <a:r>
              <a:rPr lang="en-US" u="sng" dirty="0">
                <a:hlinkClick r:id="rId2"/>
              </a:rPr>
              <a:t>www.caba.org/chc</a:t>
            </a:r>
            <a:br>
              <a:rPr lang="en-US" u="sng" dirty="0"/>
            </a:br>
            <a:endParaRPr lang="en-US" u="sng" dirty="0"/>
          </a:p>
          <a:p>
            <a:pPr marL="0" indent="0">
              <a:buNone/>
            </a:pPr>
            <a:r>
              <a:rPr lang="en-US" dirty="0"/>
              <a:t>3.2  Call for CHC Vice Chairs</a:t>
            </a:r>
          </a:p>
          <a:p>
            <a:pPr marL="0" indent="0">
              <a:buNone/>
            </a:pPr>
            <a:endParaRPr lang="en-US" dirty="0"/>
          </a:p>
          <a:p>
            <a:pPr marL="0" indent="0">
              <a:buNone/>
            </a:pPr>
            <a:r>
              <a:rPr lang="en-US" dirty="0"/>
              <a:t>3.3 Call for future CHC Keynote Speakers</a:t>
            </a:r>
          </a:p>
        </p:txBody>
      </p:sp>
    </p:spTree>
    <p:extLst>
      <p:ext uri="{BB962C8B-B14F-4D97-AF65-F5344CB8AC3E}">
        <p14:creationId xmlns:p14="http://schemas.microsoft.com/office/powerpoint/2010/main" val="4279644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0FAEBB-BF7D-48CC-AF31-569E01CEA278}"/>
              </a:ext>
            </a:extLst>
          </p:cNvPr>
          <p:cNvPicPr>
            <a:picLocks noChangeAspect="1"/>
          </p:cNvPicPr>
          <p:nvPr/>
        </p:nvPicPr>
        <p:blipFill>
          <a:blip r:embed="rId3"/>
          <a:stretch>
            <a:fillRect/>
          </a:stretch>
        </p:blipFill>
        <p:spPr>
          <a:xfrm>
            <a:off x="710908" y="2597816"/>
            <a:ext cx="5114286" cy="2304762"/>
          </a:xfrm>
          <a:prstGeom prst="rect">
            <a:avLst/>
          </a:prstGeom>
        </p:spPr>
      </p:pic>
      <p:sp>
        <p:nvSpPr>
          <p:cNvPr id="2" name="Title 1">
            <a:extLst>
              <a:ext uri="{FF2B5EF4-FFF2-40B4-BE49-F238E27FC236}">
                <a16:creationId xmlns:a16="http://schemas.microsoft.com/office/drawing/2014/main" id="{91383D11-DEC4-4BFF-88BB-8FB2206CEB37}"/>
              </a:ext>
            </a:extLst>
          </p:cNvPr>
          <p:cNvSpPr>
            <a:spLocks noGrp="1"/>
          </p:cNvSpPr>
          <p:nvPr>
            <p:ph type="title"/>
          </p:nvPr>
        </p:nvSpPr>
        <p:spPr>
          <a:xfrm>
            <a:off x="839787" y="14143"/>
            <a:ext cx="9848199" cy="447675"/>
          </a:xfrm>
        </p:spPr>
        <p:txBody>
          <a:bodyPr/>
          <a:lstStyle/>
          <a:p>
            <a:r>
              <a:rPr lang="en-US" b="1" dirty="0"/>
              <a:t>4.  Research Update</a:t>
            </a:r>
            <a:br>
              <a:rPr lang="en-US" dirty="0"/>
            </a:br>
            <a:r>
              <a:rPr lang="en-US" sz="2800" dirty="0"/>
              <a:t>Greg Walker (CABA)</a:t>
            </a:r>
          </a:p>
        </p:txBody>
      </p:sp>
      <p:sp>
        <p:nvSpPr>
          <p:cNvPr id="16" name="Slide Number Placeholder 1">
            <a:extLst>
              <a:ext uri="{FF2B5EF4-FFF2-40B4-BE49-F238E27FC236}">
                <a16:creationId xmlns:a16="http://schemas.microsoft.com/office/drawing/2014/main" id="{94C294CD-5CFA-4E9C-B2CD-01EA80417467}"/>
              </a:ext>
            </a:extLst>
          </p:cNvPr>
          <p:cNvSpPr>
            <a:spLocks noGrp="1"/>
          </p:cNvSpPr>
          <p:nvPr>
            <p:ph type="sldNum" sz="quarter" idx="14"/>
          </p:nvPr>
        </p:nvSpPr>
        <p:spPr>
          <a:xfrm>
            <a:off x="833388" y="6356351"/>
            <a:ext cx="620027" cy="352458"/>
          </a:xfrm>
        </p:spPr>
        <p:txBody>
          <a:bodyPr/>
          <a:lstStyle/>
          <a:p>
            <a:fld id="{4658F449-AC56-C64A-8488-86A10DE691DA}" type="slidenum">
              <a:rPr lang="en-US" smtClean="0"/>
              <a:pPr/>
              <a:t>5</a:t>
            </a:fld>
            <a:endParaRPr lang="en-US" dirty="0"/>
          </a:p>
        </p:txBody>
      </p:sp>
      <p:sp>
        <p:nvSpPr>
          <p:cNvPr id="10" name="Text Placeholder 3">
            <a:extLst>
              <a:ext uri="{FF2B5EF4-FFF2-40B4-BE49-F238E27FC236}">
                <a16:creationId xmlns:a16="http://schemas.microsoft.com/office/drawing/2014/main" id="{0331A5F1-7904-40A2-A8F1-875643455C5C}"/>
              </a:ext>
            </a:extLst>
          </p:cNvPr>
          <p:cNvSpPr txBox="1">
            <a:spLocks/>
          </p:cNvSpPr>
          <p:nvPr/>
        </p:nvSpPr>
        <p:spPr>
          <a:xfrm>
            <a:off x="794227" y="1268499"/>
            <a:ext cx="10512425" cy="945573"/>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Font typeface="Arial"/>
              <a:buNone/>
            </a:pPr>
            <a:r>
              <a:rPr lang="en-US" dirty="0"/>
              <a:t>2022 CHC Landmark Research</a:t>
            </a:r>
          </a:p>
          <a:p>
            <a:pPr marL="0" indent="0" algn="ctr">
              <a:buFont typeface="Arial"/>
              <a:buNone/>
            </a:pPr>
            <a:r>
              <a:rPr lang="en-US" dirty="0"/>
              <a:t>Smart Home Energy Management</a:t>
            </a:r>
          </a:p>
        </p:txBody>
      </p:sp>
      <p:pic>
        <p:nvPicPr>
          <p:cNvPr id="19" name="Picture 6" descr="Latest News &amp; Media Resources for Resideo">
            <a:extLst>
              <a:ext uri="{FF2B5EF4-FFF2-40B4-BE49-F238E27FC236}">
                <a16:creationId xmlns:a16="http://schemas.microsoft.com/office/drawing/2014/main" id="{9A2FD6AD-DF0C-45DD-A407-75260AABA954}"/>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9514" t="32212" r="7911" b="30397"/>
          <a:stretch/>
        </p:blipFill>
        <p:spPr bwMode="auto">
          <a:xfrm>
            <a:off x="9981531" y="2928194"/>
            <a:ext cx="1614675" cy="384447"/>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HVAC IAQ - Broan/NuTone Resources">
            <a:extLst>
              <a:ext uri="{FF2B5EF4-FFF2-40B4-BE49-F238E27FC236}">
                <a16:creationId xmlns:a16="http://schemas.microsoft.com/office/drawing/2014/main" id="{340EFFB1-9B52-4129-8863-90174B4D4F6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72916" y="2727923"/>
            <a:ext cx="1831643" cy="784990"/>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SnapAV No More: Introducing Snap One - Residential Systems">
            <a:extLst>
              <a:ext uri="{FF2B5EF4-FFF2-40B4-BE49-F238E27FC236}">
                <a16:creationId xmlns:a16="http://schemas.microsoft.com/office/drawing/2014/main" id="{4B116D93-30C6-4604-AF1B-A8EE50AF549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011182" y="4087318"/>
            <a:ext cx="1480726" cy="50377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6" descr="Global Leader and Manufacturer of Heating, Cooling, and Water Heating  Products - Rheem Manufacturing Company">
            <a:extLst>
              <a:ext uri="{FF2B5EF4-FFF2-40B4-BE49-F238E27FC236}">
                <a16:creationId xmlns:a16="http://schemas.microsoft.com/office/drawing/2014/main" id="{10A23CA4-B96C-47D7-A513-4859CA3EFB1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263708" y="3778087"/>
            <a:ext cx="954454" cy="95445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8" name="Object 27">
            <a:extLst>
              <a:ext uri="{FF2B5EF4-FFF2-40B4-BE49-F238E27FC236}">
                <a16:creationId xmlns:a16="http://schemas.microsoft.com/office/drawing/2014/main" id="{29A46765-7495-4F45-A4B9-63F17490F4B0}"/>
              </a:ext>
            </a:extLst>
          </p:cNvPr>
          <p:cNvGraphicFramePr>
            <a:graphicFrameLocks noChangeAspect="1"/>
          </p:cNvGraphicFramePr>
          <p:nvPr>
            <p:extLst>
              <p:ext uri="{D42A27DB-BD31-4B8C-83A1-F6EECF244321}">
                <p14:modId xmlns:p14="http://schemas.microsoft.com/office/powerpoint/2010/main" val="4265307385"/>
              </p:ext>
            </p:extLst>
          </p:nvPr>
        </p:nvGraphicFramePr>
        <p:xfrm>
          <a:off x="7748547" y="3023753"/>
          <a:ext cx="2005997" cy="253884"/>
        </p:xfrm>
        <a:graphic>
          <a:graphicData uri="http://schemas.openxmlformats.org/presentationml/2006/ole">
            <mc:AlternateContent xmlns:mc="http://schemas.openxmlformats.org/markup-compatibility/2006">
              <mc:Choice xmlns:v="urn:schemas-microsoft-com:vml" Requires="v">
                <p:oleObj spid="_x0000_s4098" name="Bitmap Image" r:id="rId8" imgW="24383880" imgH="3086280" progId="PBrush">
                  <p:embed/>
                </p:oleObj>
              </mc:Choice>
              <mc:Fallback>
                <p:oleObj name="Bitmap Image" r:id="rId8" imgW="24383880" imgH="3086280" progId="PBrush">
                  <p:embed/>
                  <p:pic>
                    <p:nvPicPr>
                      <p:cNvPr id="28" name="Object 27">
                        <a:extLst>
                          <a:ext uri="{FF2B5EF4-FFF2-40B4-BE49-F238E27FC236}">
                            <a16:creationId xmlns:a16="http://schemas.microsoft.com/office/drawing/2014/main" id="{29A46765-7495-4F45-A4B9-63F17490F4B0}"/>
                          </a:ext>
                        </a:extLst>
                      </p:cNvPr>
                      <p:cNvPicPr/>
                      <p:nvPr/>
                    </p:nvPicPr>
                    <p:blipFill>
                      <a:blip r:embed="rId9"/>
                      <a:stretch>
                        <a:fillRect/>
                      </a:stretch>
                    </p:blipFill>
                    <p:spPr>
                      <a:xfrm>
                        <a:off x="7748547" y="3023753"/>
                        <a:ext cx="2005997" cy="253884"/>
                      </a:xfrm>
                      <a:prstGeom prst="rect">
                        <a:avLst/>
                      </a:prstGeom>
                    </p:spPr>
                  </p:pic>
                </p:oleObj>
              </mc:Fallback>
            </mc:AlternateContent>
          </a:graphicData>
        </a:graphic>
      </p:graphicFrame>
      <p:pic>
        <p:nvPicPr>
          <p:cNvPr id="1028" name="Picture 4" descr="Introducing Thread: A New Wireless Networking Protocol for the Home |  Business Wire">
            <a:extLst>
              <a:ext uri="{FF2B5EF4-FFF2-40B4-BE49-F238E27FC236}">
                <a16:creationId xmlns:a16="http://schemas.microsoft.com/office/drawing/2014/main" id="{A2022067-A264-47BE-ABF8-2918C6D1E53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858165" y="3989654"/>
            <a:ext cx="1861406" cy="654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26576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71510"/>
            <a:ext cx="7634681" cy="447675"/>
          </a:xfrm>
        </p:spPr>
        <p:txBody>
          <a:bodyPr/>
          <a:lstStyle/>
          <a:p>
            <a:r>
              <a:rPr lang="en-US" b="1" dirty="0"/>
              <a:t>5.  CABA Podcasts</a:t>
            </a:r>
            <a:br>
              <a:rPr lang="en-US" b="1" dirty="0"/>
            </a:br>
            <a:r>
              <a:rPr lang="en-US" sz="2800" dirty="0"/>
              <a:t>Marta Klopotowska (CABA)</a:t>
            </a:r>
          </a:p>
        </p:txBody>
      </p:sp>
      <p:sp>
        <p:nvSpPr>
          <p:cNvPr id="11" name="Slide Number Placeholder 1">
            <a:extLst>
              <a:ext uri="{FF2B5EF4-FFF2-40B4-BE49-F238E27FC236}">
                <a16:creationId xmlns:a16="http://schemas.microsoft.com/office/drawing/2014/main" id="{219D3A4E-8555-4A64-98D2-F567A51A6D8E}"/>
              </a:ext>
            </a:extLst>
          </p:cNvPr>
          <p:cNvSpPr txBox="1">
            <a:spLocks/>
          </p:cNvSpPr>
          <p:nvPr/>
        </p:nvSpPr>
        <p:spPr>
          <a:xfrm>
            <a:off x="833388" y="6356351"/>
            <a:ext cx="620027" cy="35245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658F449-AC56-C64A-8488-86A10DE691DA}" type="slidenum">
              <a:rPr lang="en-US" sz="1200" smtClean="0"/>
              <a:pPr/>
              <a:t>6</a:t>
            </a:fld>
            <a:endParaRPr lang="en-US" sz="1200" dirty="0"/>
          </a:p>
        </p:txBody>
      </p:sp>
      <p:pic>
        <p:nvPicPr>
          <p:cNvPr id="2" name="Picture 1">
            <a:extLst>
              <a:ext uri="{FF2B5EF4-FFF2-40B4-BE49-F238E27FC236}">
                <a16:creationId xmlns:a16="http://schemas.microsoft.com/office/drawing/2014/main" id="{3F6386AA-8410-42EE-AFB3-618FE74FF7EA}"/>
              </a:ext>
            </a:extLst>
          </p:cNvPr>
          <p:cNvPicPr>
            <a:picLocks noChangeAspect="1"/>
          </p:cNvPicPr>
          <p:nvPr/>
        </p:nvPicPr>
        <p:blipFill>
          <a:blip r:embed="rId2"/>
          <a:stretch>
            <a:fillRect/>
          </a:stretch>
        </p:blipFill>
        <p:spPr>
          <a:xfrm>
            <a:off x="1284286" y="1675203"/>
            <a:ext cx="2641448" cy="2641448"/>
          </a:xfrm>
          <a:prstGeom prst="rect">
            <a:avLst/>
          </a:prstGeom>
        </p:spPr>
      </p:pic>
      <p:pic>
        <p:nvPicPr>
          <p:cNvPr id="4" name="Picture 2" descr="Spotify logo dark mode Royalty Free Vector Image">
            <a:extLst>
              <a:ext uri="{FF2B5EF4-FFF2-40B4-BE49-F238E27FC236}">
                <a16:creationId xmlns:a16="http://schemas.microsoft.com/office/drawing/2014/main" id="{1716F5C8-E7D8-41D2-8E56-33935652035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21312" b="31281"/>
          <a:stretch/>
        </p:blipFill>
        <p:spPr bwMode="auto">
          <a:xfrm>
            <a:off x="8524875" y="2586239"/>
            <a:ext cx="1822629" cy="67402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descr="Apple Podcast logo – Medford Knife &amp; Tool USA">
            <a:extLst>
              <a:ext uri="{FF2B5EF4-FFF2-40B4-BE49-F238E27FC236}">
                <a16:creationId xmlns:a16="http://schemas.microsoft.com/office/drawing/2014/main" id="{80CFA803-2ADE-40A3-BE5A-0B92C1713BB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416" t="23333" r="3896" b="24444"/>
          <a:stretch/>
        </p:blipFill>
        <p:spPr bwMode="auto">
          <a:xfrm>
            <a:off x="4985467" y="2387782"/>
            <a:ext cx="2479675" cy="1070939"/>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8DAC8DFA-B94A-4ECD-8472-6276C0F015E4}"/>
              </a:ext>
            </a:extLst>
          </p:cNvPr>
          <p:cNvSpPr txBox="1"/>
          <p:nvPr/>
        </p:nvSpPr>
        <p:spPr>
          <a:xfrm>
            <a:off x="4645052" y="1402838"/>
            <a:ext cx="6546850" cy="646331"/>
          </a:xfrm>
          <a:prstGeom prst="rect">
            <a:avLst/>
          </a:prstGeom>
          <a:noFill/>
        </p:spPr>
        <p:txBody>
          <a:bodyPr wrap="square">
            <a:spAutoFit/>
          </a:bodyPr>
          <a:lstStyle/>
          <a:p>
            <a:r>
              <a:rPr lang="en-CA" b="0" i="0" dirty="0">
                <a:solidFill>
                  <a:schemeClr val="tx2"/>
                </a:solidFill>
                <a:effectLst/>
                <a:latin typeface="Arial" panose="020B0604020202020204" pitchFamily="34" charset="0"/>
                <a:cs typeface="Arial" panose="020B0604020202020204" pitchFamily="34" charset="0"/>
              </a:rPr>
              <a:t>Join industry experts and leaders from around the globe as they discuss everything smart home and intelligent buildings.</a:t>
            </a:r>
            <a:endParaRPr lang="en-CA" dirty="0">
              <a:solidFill>
                <a:schemeClr val="tx2"/>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0BA0956C-E97B-40B5-B6A6-314946729EE3}"/>
              </a:ext>
            </a:extLst>
          </p:cNvPr>
          <p:cNvSpPr txBox="1"/>
          <p:nvPr/>
        </p:nvSpPr>
        <p:spPr>
          <a:xfrm>
            <a:off x="4645052" y="3754880"/>
            <a:ext cx="6702246" cy="923330"/>
          </a:xfrm>
          <a:prstGeom prst="rect">
            <a:avLst/>
          </a:prstGeom>
          <a:noFill/>
        </p:spPr>
        <p:txBody>
          <a:bodyPr wrap="square">
            <a:spAutoFit/>
          </a:bodyPr>
          <a:lstStyle/>
          <a:p>
            <a:r>
              <a:rPr lang="en-CA" dirty="0">
                <a:solidFill>
                  <a:schemeClr val="tx2"/>
                </a:solidFill>
                <a:latin typeface="Arial" panose="020B0604020202020204" pitchFamily="34" charset="0"/>
                <a:cs typeface="Arial" panose="020B0604020202020204" pitchFamily="34" charset="0"/>
              </a:rPr>
              <a:t>CABA is looking for guests and hosts for future pre-recorded episodes. C</a:t>
            </a:r>
            <a:r>
              <a:rPr lang="en-CA" b="0" i="0" dirty="0">
                <a:solidFill>
                  <a:schemeClr val="tx2"/>
                </a:solidFill>
                <a:effectLst/>
                <a:latin typeface="Arial" panose="020B0604020202020204" pitchFamily="34" charset="0"/>
                <a:cs typeface="Arial" panose="020B0604020202020204" pitchFamily="34" charset="0"/>
              </a:rPr>
              <a:t>ontact Marta Klopotowska (</a:t>
            </a:r>
            <a:r>
              <a:rPr lang="en-CA" b="0" i="0" dirty="0">
                <a:solidFill>
                  <a:schemeClr val="tx2"/>
                </a:solidFill>
                <a:effectLst/>
                <a:latin typeface="Arial" panose="020B0604020202020204" pitchFamily="34" charset="0"/>
                <a:cs typeface="Arial" panose="020B0604020202020204" pitchFamily="34" charset="0"/>
                <a:hlinkClick r:id="rId5"/>
              </a:rPr>
              <a:t>Klopotowska@caba.org</a:t>
            </a:r>
            <a:r>
              <a:rPr lang="en-CA" b="0" i="0" dirty="0">
                <a:solidFill>
                  <a:schemeClr val="tx2"/>
                </a:solidFill>
                <a:effectLst/>
                <a:latin typeface="Arial" panose="020B0604020202020204" pitchFamily="34" charset="0"/>
                <a:cs typeface="Arial" panose="020B0604020202020204" pitchFamily="34" charset="0"/>
              </a:rPr>
              <a:t>) for more information.</a:t>
            </a:r>
            <a:endParaRPr lang="en-CA" dirty="0">
              <a:solidFill>
                <a:schemeClr val="tx2"/>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9A5B8236-1DEC-4099-8440-0120734D500C}"/>
              </a:ext>
            </a:extLst>
          </p:cNvPr>
          <p:cNvSpPr txBox="1"/>
          <p:nvPr/>
        </p:nvSpPr>
        <p:spPr>
          <a:xfrm>
            <a:off x="1162331" y="5182797"/>
            <a:ext cx="10125946" cy="969496"/>
          </a:xfrm>
          <a:prstGeom prst="rect">
            <a:avLst/>
          </a:prstGeom>
          <a:noFill/>
        </p:spPr>
        <p:txBody>
          <a:bodyPr wrap="square">
            <a:spAutoFit/>
          </a:bodyPr>
          <a:lstStyle/>
          <a:p>
            <a:pPr algn="ctr"/>
            <a:r>
              <a:rPr lang="en-CA" sz="1900" dirty="0">
                <a:solidFill>
                  <a:srgbClr val="FF0000"/>
                </a:solidFill>
                <a:latin typeface="Arial" panose="020B0604020202020204" pitchFamily="34" charset="0"/>
                <a:cs typeface="Arial" panose="020B0604020202020204" pitchFamily="34" charset="0"/>
              </a:rPr>
              <a:t>May 2023 Intelligent Buildings and Connected Homes Recording: </a:t>
            </a:r>
          </a:p>
          <a:p>
            <a:pPr algn="ctr"/>
            <a:r>
              <a:rPr lang="en-CA" sz="1900" dirty="0">
                <a:solidFill>
                  <a:srgbClr val="FF0000"/>
                </a:solidFill>
                <a:latin typeface="Arial" panose="020B0604020202020204" pitchFamily="34" charset="0"/>
                <a:cs typeface="Arial" panose="020B0604020202020204" pitchFamily="34" charset="0"/>
              </a:rPr>
              <a:t>Part 3 | Post-Pandemic Building Issues, Cybersecurity, &amp; Intelligent Amenities – Cybersecurity Issues</a:t>
            </a:r>
          </a:p>
        </p:txBody>
      </p:sp>
    </p:spTree>
    <p:extLst>
      <p:ext uri="{BB962C8B-B14F-4D97-AF65-F5344CB8AC3E}">
        <p14:creationId xmlns:p14="http://schemas.microsoft.com/office/powerpoint/2010/main" val="1980011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2">
            <a:extLst>
              <a:ext uri="{FF2B5EF4-FFF2-40B4-BE49-F238E27FC236}">
                <a16:creationId xmlns:a16="http://schemas.microsoft.com/office/drawing/2014/main" id="{A188A548-96A8-4D2F-8179-7CB96D16B0F5}"/>
              </a:ext>
            </a:extLst>
          </p:cNvPr>
          <p:cNvSpPr txBox="1">
            <a:spLocks/>
          </p:cNvSpPr>
          <p:nvPr/>
        </p:nvSpPr>
        <p:spPr>
          <a:xfrm>
            <a:off x="838199" y="41865"/>
            <a:ext cx="10973499" cy="447675"/>
          </a:xfrm>
          <a:prstGeom prst="rect">
            <a:avLst/>
          </a:prstGeom>
        </p:spPr>
        <p:txBody>
          <a:bodyPr vert="horz" lIns="91440" tIns="45720" rIns="91440" bIns="45720" rtlCol="0" anchor="t" anchorCtr="0">
            <a:noAutofit/>
          </a:bodyPr>
          <a:lstStyle>
            <a:lvl1pPr algn="l" defTabSz="914400" rtl="0" eaLnBrk="1" latinLnBrk="0" hangingPunct="1">
              <a:lnSpc>
                <a:spcPct val="90000"/>
              </a:lnSpc>
              <a:spcBef>
                <a:spcPct val="0"/>
              </a:spcBef>
              <a:buNone/>
              <a:defRPr sz="3000" kern="1200" baseline="0">
                <a:solidFill>
                  <a:schemeClr val="bg1"/>
                </a:solidFill>
                <a:latin typeface="Montserrat Light" charset="0"/>
                <a:ea typeface="+mj-ea"/>
                <a:cs typeface="+mj-cs"/>
              </a:defRPr>
            </a:lvl1pPr>
          </a:lstStyle>
          <a:p>
            <a:r>
              <a:rPr lang="en-US" b="1" dirty="0"/>
              <a:t>6.  Keynote</a:t>
            </a:r>
            <a:br>
              <a:rPr lang="en-US" dirty="0"/>
            </a:br>
            <a:r>
              <a:rPr lang="en-US" sz="2800" dirty="0"/>
              <a:t>Greg Walker (CABA)</a:t>
            </a:r>
          </a:p>
        </p:txBody>
      </p:sp>
      <p:sp>
        <p:nvSpPr>
          <p:cNvPr id="12" name="Slide Number Placeholder 1">
            <a:extLst>
              <a:ext uri="{FF2B5EF4-FFF2-40B4-BE49-F238E27FC236}">
                <a16:creationId xmlns:a16="http://schemas.microsoft.com/office/drawing/2014/main" id="{A4C188D6-C668-457F-BA58-96D8FFB09230}"/>
              </a:ext>
            </a:extLst>
          </p:cNvPr>
          <p:cNvSpPr>
            <a:spLocks noGrp="1"/>
          </p:cNvSpPr>
          <p:nvPr>
            <p:ph type="sldNum" sz="quarter" idx="14"/>
          </p:nvPr>
        </p:nvSpPr>
        <p:spPr>
          <a:xfrm>
            <a:off x="833388" y="6356351"/>
            <a:ext cx="620027" cy="352458"/>
          </a:xfrm>
        </p:spPr>
        <p:txBody>
          <a:bodyPr/>
          <a:lstStyle/>
          <a:p>
            <a:fld id="{4658F449-AC56-C64A-8488-86A10DE691DA}" type="slidenum">
              <a:rPr lang="en-US" smtClean="0"/>
              <a:pPr/>
              <a:t>7</a:t>
            </a:fld>
            <a:endParaRPr lang="en-US" dirty="0"/>
          </a:p>
        </p:txBody>
      </p:sp>
      <p:sp>
        <p:nvSpPr>
          <p:cNvPr id="11" name="Text Placeholder 3">
            <a:extLst>
              <a:ext uri="{FF2B5EF4-FFF2-40B4-BE49-F238E27FC236}">
                <a16:creationId xmlns:a16="http://schemas.microsoft.com/office/drawing/2014/main" id="{4B37742C-E7B3-4B6F-B7F7-41C69047103B}"/>
              </a:ext>
            </a:extLst>
          </p:cNvPr>
          <p:cNvSpPr txBox="1">
            <a:spLocks/>
          </p:cNvSpPr>
          <p:nvPr/>
        </p:nvSpPr>
        <p:spPr>
          <a:xfrm>
            <a:off x="5543550" y="2750135"/>
            <a:ext cx="5010150" cy="13577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a:buChar char="•"/>
              <a:defRPr sz="2800" kern="1200" baseline="0">
                <a:solidFill>
                  <a:schemeClr val="tx1"/>
                </a:solidFill>
                <a:latin typeface="Montserrat Light" charset="0"/>
                <a:ea typeface="+mn-ea"/>
                <a:cs typeface="+mn-cs"/>
              </a:defRPr>
            </a:lvl1pPr>
            <a:lvl2pPr marL="685800" indent="-228600" algn="l" defTabSz="914400" rtl="0" eaLnBrk="1" latinLnBrk="0" hangingPunct="1">
              <a:lnSpc>
                <a:spcPct val="90000"/>
              </a:lnSpc>
              <a:spcBef>
                <a:spcPts val="500"/>
              </a:spcBef>
              <a:buFont typeface="Arial"/>
              <a:buChar char="•"/>
              <a:defRPr sz="2400" kern="1200" baseline="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baseline="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baseline="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Font typeface="Arial"/>
              <a:buNone/>
            </a:pPr>
            <a:r>
              <a:rPr lang="en-CA" dirty="0"/>
              <a:t>Residential Battery Energy Storage</a:t>
            </a:r>
          </a:p>
        </p:txBody>
      </p:sp>
      <p:pic>
        <p:nvPicPr>
          <p:cNvPr id="3" name="Picture 2">
            <a:extLst>
              <a:ext uri="{FF2B5EF4-FFF2-40B4-BE49-F238E27FC236}">
                <a16:creationId xmlns:a16="http://schemas.microsoft.com/office/drawing/2014/main" id="{CA602723-4E70-4B02-B8F7-8A2FA6239954}"/>
              </a:ext>
            </a:extLst>
          </p:cNvPr>
          <p:cNvPicPr>
            <a:picLocks noChangeAspect="1"/>
          </p:cNvPicPr>
          <p:nvPr/>
        </p:nvPicPr>
        <p:blipFill>
          <a:blip r:embed="rId2"/>
          <a:stretch>
            <a:fillRect/>
          </a:stretch>
        </p:blipFill>
        <p:spPr>
          <a:xfrm>
            <a:off x="1305130" y="1852825"/>
            <a:ext cx="3276190" cy="3400000"/>
          </a:xfrm>
          <a:prstGeom prst="rect">
            <a:avLst/>
          </a:prstGeom>
        </p:spPr>
      </p:pic>
    </p:spTree>
    <p:extLst>
      <p:ext uri="{BB962C8B-B14F-4D97-AF65-F5344CB8AC3E}">
        <p14:creationId xmlns:p14="http://schemas.microsoft.com/office/powerpoint/2010/main" val="2693195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1D6270-2229-8670-7180-1D9B8F7046C7}"/>
              </a:ext>
            </a:extLst>
          </p:cNvPr>
          <p:cNvPicPr>
            <a:picLocks noChangeAspect="1"/>
          </p:cNvPicPr>
          <p:nvPr/>
        </p:nvPicPr>
        <p:blipFill>
          <a:blip r:embed="rId5"/>
          <a:stretch>
            <a:fillRect/>
          </a:stretch>
        </p:blipFill>
        <p:spPr>
          <a:xfrm>
            <a:off x="1588" y="0"/>
            <a:ext cx="12178930" cy="6946084"/>
          </a:xfrm>
          <a:prstGeom prst="rect">
            <a:avLst/>
          </a:prstGeom>
        </p:spPr>
      </p:pic>
      <p:graphicFrame>
        <p:nvGraphicFramePr>
          <p:cNvPr id="2" name="Object 1" hidden="1"/>
          <p:cNvGraphicFramePr>
            <a:graphicFrameLocks noChangeAspect="1"/>
          </p:cNvGraphicFramePr>
          <p:nvPr>
            <p:custDataLst>
              <p:tags r:id="rId2"/>
            </p:custDataLst>
          </p:nvPr>
        </p:nvGraphicFramePr>
        <p:xfrm>
          <a:off x="525484" y="1528"/>
          <a:ext cx="1490" cy="1490"/>
        </p:xfrm>
        <a:graphic>
          <a:graphicData uri="http://schemas.openxmlformats.org/presentationml/2006/ole">
            <mc:AlternateContent xmlns:mc="http://schemas.openxmlformats.org/markup-compatibility/2006">
              <mc:Choice xmlns:v="urn:schemas-microsoft-com:vml" Requires="v">
                <p:oleObj spid="_x0000_s5122" name="think-cell Slide" r:id="rId6" imgW="360" imgH="360" progId="TCLayout.ActiveDocument.1">
                  <p:embed/>
                </p:oleObj>
              </mc:Choice>
              <mc:Fallback>
                <p:oleObj name="think-cell Slide" r:id="rId6" imgW="360" imgH="360" progId="TCLayout.ActiveDocument.1">
                  <p:embed/>
                  <p:pic>
                    <p:nvPicPr>
                      <p:cNvPr id="2" name="Object 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5484" y="1528"/>
                        <a:ext cx="1490" cy="14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a:extLst>
              <a:ext uri="{FF2B5EF4-FFF2-40B4-BE49-F238E27FC236}">
                <a16:creationId xmlns:a16="http://schemas.microsoft.com/office/drawing/2014/main" id="{DD652840-7A70-1B4E-DF0F-3605527934E2}"/>
              </a:ext>
            </a:extLst>
          </p:cNvPr>
          <p:cNvSpPr/>
          <p:nvPr/>
        </p:nvSpPr>
        <p:spPr>
          <a:xfrm>
            <a:off x="7398390" y="0"/>
            <a:ext cx="4500563" cy="5466080"/>
          </a:xfrm>
          <a:prstGeom prst="rect">
            <a:avLst/>
          </a:prstGeom>
          <a:solidFill>
            <a:srgbClr val="0E4C8B">
              <a:alpha val="85000"/>
            </a:srgb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85533" tIns="42767" rIns="85533" bIns="42767" rtlCol="0" anchor="ctr"/>
          <a:lstStyle/>
          <a:p>
            <a:pPr algn="ctr"/>
            <a:endParaRPr lang="en-US" sz="2063" dirty="0">
              <a:solidFill>
                <a:prstClr val="white"/>
              </a:solidFill>
            </a:endParaRPr>
          </a:p>
        </p:txBody>
      </p:sp>
      <p:sp>
        <p:nvSpPr>
          <p:cNvPr id="11" name="TextBox 10">
            <a:extLst>
              <a:ext uri="{FF2B5EF4-FFF2-40B4-BE49-F238E27FC236}">
                <a16:creationId xmlns:a16="http://schemas.microsoft.com/office/drawing/2014/main" id="{FB6AFEF6-F276-4AE1-D78E-35D4A0957361}"/>
              </a:ext>
            </a:extLst>
          </p:cNvPr>
          <p:cNvSpPr txBox="1"/>
          <p:nvPr/>
        </p:nvSpPr>
        <p:spPr>
          <a:xfrm>
            <a:off x="7505545" y="3514101"/>
            <a:ext cx="4206240" cy="1809918"/>
          </a:xfrm>
          <a:prstGeom prst="rect">
            <a:avLst/>
          </a:prstGeom>
          <a:noFill/>
        </p:spPr>
        <p:txBody>
          <a:bodyPr wrap="square" lIns="85533" tIns="42767" rIns="85533" bIns="42767" rtlCol="0">
            <a:spAutoFit/>
          </a:bodyPr>
          <a:lstStyle/>
          <a:p>
            <a:endParaRPr lang="en-SG" sz="1600" dirty="0">
              <a:solidFill>
                <a:prstClr val="white"/>
              </a:solidFill>
            </a:endParaRPr>
          </a:p>
          <a:p>
            <a:endParaRPr lang="en-SG" sz="1600" dirty="0">
              <a:solidFill>
                <a:prstClr val="white"/>
              </a:solidFill>
            </a:endParaRPr>
          </a:p>
          <a:p>
            <a:endParaRPr lang="en-SG" sz="1600" dirty="0">
              <a:solidFill>
                <a:prstClr val="white"/>
              </a:solidFill>
            </a:endParaRPr>
          </a:p>
          <a:p>
            <a:endParaRPr lang="en-SG" sz="1600" dirty="0">
              <a:solidFill>
                <a:prstClr val="white"/>
              </a:solidFill>
            </a:endParaRPr>
          </a:p>
          <a:p>
            <a:endParaRPr lang="en-SG" sz="1600" dirty="0">
              <a:solidFill>
                <a:prstClr val="white"/>
              </a:solidFill>
            </a:endParaRPr>
          </a:p>
          <a:p>
            <a:endParaRPr lang="en-SG" sz="1600" dirty="0">
              <a:solidFill>
                <a:prstClr val="white"/>
              </a:solidFill>
            </a:endParaRPr>
          </a:p>
          <a:p>
            <a:r>
              <a:rPr lang="en-SG" sz="1600" dirty="0">
                <a:solidFill>
                  <a:prstClr val="white"/>
                </a:solidFill>
              </a:rPr>
              <a:t>2023</a:t>
            </a:r>
          </a:p>
        </p:txBody>
      </p:sp>
      <p:pic>
        <p:nvPicPr>
          <p:cNvPr id="12" name="Picture 11">
            <a:extLst>
              <a:ext uri="{FF2B5EF4-FFF2-40B4-BE49-F238E27FC236}">
                <a16:creationId xmlns:a16="http://schemas.microsoft.com/office/drawing/2014/main" id="{9BCF1EE4-2B05-60FC-8E58-3E5CC6B82525}"/>
              </a:ext>
            </a:extLst>
          </p:cNvPr>
          <p:cNvPicPr>
            <a:picLocks noChangeAspect="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7536800" y="218681"/>
            <a:ext cx="4223743" cy="222647"/>
          </a:xfrm>
          <a:prstGeom prst="rect">
            <a:avLst/>
          </a:prstGeom>
        </p:spPr>
      </p:pic>
      <p:sp>
        <p:nvSpPr>
          <p:cNvPr id="13" name="TextBox 12">
            <a:extLst>
              <a:ext uri="{FF2B5EF4-FFF2-40B4-BE49-F238E27FC236}">
                <a16:creationId xmlns:a16="http://schemas.microsoft.com/office/drawing/2014/main" id="{B1078FB5-5843-4729-5CB6-9F3307226EA7}"/>
              </a:ext>
            </a:extLst>
          </p:cNvPr>
          <p:cNvSpPr txBox="1"/>
          <p:nvPr/>
        </p:nvSpPr>
        <p:spPr>
          <a:xfrm>
            <a:off x="7505545" y="756771"/>
            <a:ext cx="4206240" cy="2856358"/>
          </a:xfrm>
          <a:prstGeom prst="rect">
            <a:avLst/>
          </a:prstGeom>
          <a:noFill/>
        </p:spPr>
        <p:txBody>
          <a:bodyPr wrap="square" lIns="85533" tIns="42767" rIns="85533" bIns="42767" rtlCol="0">
            <a:spAutoFit/>
          </a:bodyPr>
          <a:lstStyle/>
          <a:p>
            <a:r>
              <a:rPr lang="en-US" sz="3600" b="1" kern="1500" spc="188" dirty="0">
                <a:solidFill>
                  <a:prstClr val="white"/>
                </a:solidFill>
              </a:rPr>
              <a:t>Key Developments and Opportunities for Residential Battery Energy Storage</a:t>
            </a:r>
          </a:p>
        </p:txBody>
      </p:sp>
    </p:spTree>
    <p:extLst>
      <p:ext uri="{BB962C8B-B14F-4D97-AF65-F5344CB8AC3E}">
        <p14:creationId xmlns:p14="http://schemas.microsoft.com/office/powerpoint/2010/main" val="13738693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z="2699" dirty="0"/>
              <a:t>Major trends shaping the battery storage market</a:t>
            </a:r>
            <a:br>
              <a:rPr lang="en-US" dirty="0"/>
            </a:br>
            <a:endParaRPr lang="en-US" dirty="0"/>
          </a:p>
        </p:txBody>
      </p:sp>
      <p:grpSp>
        <p:nvGrpSpPr>
          <p:cNvPr id="5" name="Group 4">
            <a:extLst>
              <a:ext uri="{FF2B5EF4-FFF2-40B4-BE49-F238E27FC236}">
                <a16:creationId xmlns:a16="http://schemas.microsoft.com/office/drawing/2014/main" id="{D100DA7C-81BA-CD17-ED01-4DAB5060EBD5}"/>
              </a:ext>
            </a:extLst>
          </p:cNvPr>
          <p:cNvGrpSpPr/>
          <p:nvPr/>
        </p:nvGrpSpPr>
        <p:grpSpPr>
          <a:xfrm>
            <a:off x="281932" y="684075"/>
            <a:ext cx="11628139" cy="771324"/>
            <a:chOff x="779459" y="683360"/>
            <a:chExt cx="11631168" cy="771525"/>
          </a:xfrm>
        </p:grpSpPr>
        <p:sp>
          <p:nvSpPr>
            <p:cNvPr id="7" name="Rectangle: Rounded Corners 6">
              <a:extLst>
                <a:ext uri="{FF2B5EF4-FFF2-40B4-BE49-F238E27FC236}">
                  <a16:creationId xmlns:a16="http://schemas.microsoft.com/office/drawing/2014/main" id="{50CCABC1-48FE-3FD1-EA46-A19E1DE456C8}"/>
                </a:ext>
              </a:extLst>
            </p:cNvPr>
            <p:cNvSpPr>
              <a:spLocks/>
            </p:cNvSpPr>
            <p:nvPr/>
          </p:nvSpPr>
          <p:spPr>
            <a:xfrm flipH="1">
              <a:off x="779459" y="683360"/>
              <a:ext cx="11631168" cy="771525"/>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98199" marR="0" lvl="0" indent="0" algn="l" defTabSz="857014"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prstClr val="white"/>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84D9DD80-695F-1B39-011C-4BDDD7AFF255}"/>
                </a:ext>
              </a:extLst>
            </p:cNvPr>
            <p:cNvSpPr/>
            <p:nvPr/>
          </p:nvSpPr>
          <p:spPr>
            <a:xfrm>
              <a:off x="1599690" y="945980"/>
              <a:ext cx="10236825" cy="246285"/>
            </a:xfrm>
            <a:prstGeom prst="rect">
              <a:avLst/>
            </a:prstGeom>
          </p:spPr>
          <p:txBody>
            <a:bodyPr wrap="square" lIns="0" tIns="0" rIns="0" bIns="0" anchor="ctr">
              <a:spAutoFit/>
            </a:bodyPr>
            <a:lstStyle/>
            <a:p>
              <a:pPr marL="0" marR="0" lvl="0" indent="0" algn="l" defTabSz="83565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Calibri"/>
                  <a:ea typeface="+mn-ea"/>
                  <a:cs typeface="+mn-cs"/>
                </a:rPr>
                <a:t>Focus now is very much on scaling up the industry to reach the wider mass market</a:t>
              </a:r>
            </a:p>
          </p:txBody>
        </p:sp>
        <p:sp>
          <p:nvSpPr>
            <p:cNvPr id="11" name="Rectangle 10">
              <a:extLst>
                <a:ext uri="{FF2B5EF4-FFF2-40B4-BE49-F238E27FC236}">
                  <a16:creationId xmlns:a16="http://schemas.microsoft.com/office/drawing/2014/main" id="{50BDDF33-05F6-7114-06B7-04F1ECDB55D3}"/>
                </a:ext>
              </a:extLst>
            </p:cNvPr>
            <p:cNvSpPr/>
            <p:nvPr/>
          </p:nvSpPr>
          <p:spPr>
            <a:xfrm>
              <a:off x="779459" y="1047692"/>
              <a:ext cx="138169" cy="42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sp>
          <p:nvSpPr>
            <p:cNvPr id="12" name="Oval 11">
              <a:extLst>
                <a:ext uri="{FF2B5EF4-FFF2-40B4-BE49-F238E27FC236}">
                  <a16:creationId xmlns:a16="http://schemas.microsoft.com/office/drawing/2014/main" id="{D8BFA35F-1F96-B826-443C-A86B48C973F0}"/>
                </a:ext>
              </a:extLst>
            </p:cNvPr>
            <p:cNvSpPr/>
            <p:nvPr/>
          </p:nvSpPr>
          <p:spPr>
            <a:xfrm>
              <a:off x="915707" y="786048"/>
              <a:ext cx="566149" cy="566149"/>
            </a:xfrm>
            <a:prstGeom prst="ellipse">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94544"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13" name="Graphic 3">
              <a:extLst>
                <a:ext uri="{FF2B5EF4-FFF2-40B4-BE49-F238E27FC236}">
                  <a16:creationId xmlns:a16="http://schemas.microsoft.com/office/drawing/2014/main" id="{DF64F1CE-A8AF-741D-8CD1-3596FEE6A15E}"/>
                </a:ext>
              </a:extLst>
            </p:cNvPr>
            <p:cNvGrpSpPr/>
            <p:nvPr/>
          </p:nvGrpSpPr>
          <p:grpSpPr>
            <a:xfrm>
              <a:off x="976321" y="939424"/>
              <a:ext cx="444921" cy="259397"/>
              <a:chOff x="-6211022" y="2236744"/>
              <a:chExt cx="6165661" cy="3594689"/>
            </a:xfrm>
            <a:solidFill>
              <a:schemeClr val="bg1"/>
            </a:solidFill>
          </p:grpSpPr>
          <p:sp>
            <p:nvSpPr>
              <p:cNvPr id="14" name="Freeform: Shape 13">
                <a:extLst>
                  <a:ext uri="{FF2B5EF4-FFF2-40B4-BE49-F238E27FC236}">
                    <a16:creationId xmlns:a16="http://schemas.microsoft.com/office/drawing/2014/main" id="{DE2F6C09-EFB5-C2DA-AE0E-D2A5ABD38B76}"/>
                  </a:ext>
                </a:extLst>
              </p:cNvPr>
              <p:cNvSpPr/>
              <p:nvPr/>
            </p:nvSpPr>
            <p:spPr>
              <a:xfrm>
                <a:off x="-3741417" y="3262567"/>
                <a:ext cx="961431" cy="1224376"/>
              </a:xfrm>
              <a:custGeom>
                <a:avLst/>
                <a:gdLst>
                  <a:gd name="connsiteX0" fmla="*/ 961431 w 961431"/>
                  <a:gd name="connsiteY0" fmla="*/ 1224377 h 1224376"/>
                  <a:gd name="connsiteX1" fmla="*/ 961431 w 961431"/>
                  <a:gd name="connsiteY1" fmla="*/ 0 h 1224376"/>
                  <a:gd name="connsiteX2" fmla="*/ 826644 w 961431"/>
                  <a:gd name="connsiteY2" fmla="*/ 0 h 1224376"/>
                  <a:gd name="connsiteX3" fmla="*/ 826644 w 961431"/>
                  <a:gd name="connsiteY3" fmla="*/ 544780 h 1224376"/>
                  <a:gd name="connsiteX4" fmla="*/ 134817 w 961431"/>
                  <a:gd name="connsiteY4" fmla="*/ 544780 h 1224376"/>
                  <a:gd name="connsiteX5" fmla="*/ 134817 w 961431"/>
                  <a:gd name="connsiteY5" fmla="*/ 0 h 1224376"/>
                  <a:gd name="connsiteX6" fmla="*/ 0 w 961431"/>
                  <a:gd name="connsiteY6" fmla="*/ 0 h 1224376"/>
                  <a:gd name="connsiteX7" fmla="*/ 0 w 961431"/>
                  <a:gd name="connsiteY7" fmla="*/ 1224377 h 1224376"/>
                  <a:gd name="connsiteX8" fmla="*/ 134817 w 961431"/>
                  <a:gd name="connsiteY8" fmla="*/ 1224377 h 1224376"/>
                  <a:gd name="connsiteX9" fmla="*/ 134817 w 961431"/>
                  <a:gd name="connsiteY9" fmla="*/ 679597 h 1224376"/>
                  <a:gd name="connsiteX10" fmla="*/ 826644 w 961431"/>
                  <a:gd name="connsiteY10" fmla="*/ 679597 h 1224376"/>
                  <a:gd name="connsiteX11" fmla="*/ 826644 w 961431"/>
                  <a:gd name="connsiteY11" fmla="*/ 1224377 h 1224376"/>
                  <a:gd name="connsiteX12" fmla="*/ 961431 w 961431"/>
                  <a:gd name="connsiteY12" fmla="*/ 1224377 h 12243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61431" h="1224376">
                    <a:moveTo>
                      <a:pt x="961431" y="1224377"/>
                    </a:moveTo>
                    <a:lnTo>
                      <a:pt x="961431" y="0"/>
                    </a:lnTo>
                    <a:lnTo>
                      <a:pt x="826644" y="0"/>
                    </a:lnTo>
                    <a:lnTo>
                      <a:pt x="826644" y="544780"/>
                    </a:lnTo>
                    <a:lnTo>
                      <a:pt x="134817" y="544780"/>
                    </a:lnTo>
                    <a:lnTo>
                      <a:pt x="134817" y="0"/>
                    </a:lnTo>
                    <a:lnTo>
                      <a:pt x="0" y="0"/>
                    </a:lnTo>
                    <a:lnTo>
                      <a:pt x="0" y="1224377"/>
                    </a:lnTo>
                    <a:lnTo>
                      <a:pt x="134817" y="1224377"/>
                    </a:lnTo>
                    <a:lnTo>
                      <a:pt x="134817" y="679597"/>
                    </a:lnTo>
                    <a:lnTo>
                      <a:pt x="826644" y="679597"/>
                    </a:lnTo>
                    <a:lnTo>
                      <a:pt x="826644" y="1224377"/>
                    </a:lnTo>
                    <a:lnTo>
                      <a:pt x="961431" y="1224377"/>
                    </a:lnTo>
                    <a:close/>
                  </a:path>
                </a:pathLst>
              </a:custGeom>
              <a:grpFill/>
              <a:ln w="2947" cap="flat">
                <a:noFill/>
                <a:prstDash val="solid"/>
                <a:miter/>
              </a:ln>
            </p:spPr>
            <p:txBody>
              <a:bodyPr rtlCol="0" anchor="ct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5" name="Freeform: Shape 14">
                <a:extLst>
                  <a:ext uri="{FF2B5EF4-FFF2-40B4-BE49-F238E27FC236}">
                    <a16:creationId xmlns:a16="http://schemas.microsoft.com/office/drawing/2014/main" id="{7CB780C9-BBFC-F633-4E95-17463C7D11CB}"/>
                  </a:ext>
                </a:extLst>
              </p:cNvPr>
              <p:cNvSpPr/>
              <p:nvPr/>
            </p:nvSpPr>
            <p:spPr>
              <a:xfrm>
                <a:off x="-2568080" y="3776582"/>
                <a:ext cx="550025" cy="707680"/>
              </a:xfrm>
              <a:custGeom>
                <a:avLst/>
                <a:gdLst>
                  <a:gd name="connsiteX0" fmla="*/ 441935 w 550025"/>
                  <a:gd name="connsiteY0" fmla="*/ 449774 h 707680"/>
                  <a:gd name="connsiteX1" fmla="*/ 550025 w 550025"/>
                  <a:gd name="connsiteY1" fmla="*/ 246060 h 707680"/>
                  <a:gd name="connsiteX2" fmla="*/ 303995 w 550025"/>
                  <a:gd name="connsiteY2" fmla="*/ 0 h 707680"/>
                  <a:gd name="connsiteX3" fmla="*/ 246030 w 550025"/>
                  <a:gd name="connsiteY3" fmla="*/ 0 h 707680"/>
                  <a:gd name="connsiteX4" fmla="*/ 0 w 550025"/>
                  <a:gd name="connsiteY4" fmla="*/ 246060 h 707680"/>
                  <a:gd name="connsiteX5" fmla="*/ 0 w 550025"/>
                  <a:gd name="connsiteY5" fmla="*/ 267601 h 707680"/>
                  <a:gd name="connsiteX6" fmla="*/ 125505 w 550025"/>
                  <a:gd name="connsiteY6" fmla="*/ 267601 h 707680"/>
                  <a:gd name="connsiteX7" fmla="*/ 125505 w 550025"/>
                  <a:gd name="connsiteY7" fmla="*/ 246060 h 707680"/>
                  <a:gd name="connsiteX8" fmla="*/ 246030 w 550025"/>
                  <a:gd name="connsiteY8" fmla="*/ 125505 h 707680"/>
                  <a:gd name="connsiteX9" fmla="*/ 303995 w 550025"/>
                  <a:gd name="connsiteY9" fmla="*/ 125505 h 707680"/>
                  <a:gd name="connsiteX10" fmla="*/ 424520 w 550025"/>
                  <a:gd name="connsiteY10" fmla="*/ 246060 h 707680"/>
                  <a:gd name="connsiteX11" fmla="*/ 372007 w 550025"/>
                  <a:gd name="connsiteY11" fmla="*/ 345574 h 707680"/>
                  <a:gd name="connsiteX12" fmla="*/ 10137 w 550025"/>
                  <a:gd name="connsiteY12" fmla="*/ 580819 h 707680"/>
                  <a:gd name="connsiteX13" fmla="*/ 10137 w 550025"/>
                  <a:gd name="connsiteY13" fmla="*/ 707680 h 707680"/>
                  <a:gd name="connsiteX14" fmla="*/ 536293 w 550025"/>
                  <a:gd name="connsiteY14" fmla="*/ 707680 h 707680"/>
                  <a:gd name="connsiteX15" fmla="*/ 536293 w 550025"/>
                  <a:gd name="connsiteY15" fmla="*/ 582204 h 707680"/>
                  <a:gd name="connsiteX16" fmla="*/ 238251 w 550025"/>
                  <a:gd name="connsiteY16" fmla="*/ 582204 h 707680"/>
                  <a:gd name="connsiteX17" fmla="*/ 440963 w 550025"/>
                  <a:gd name="connsiteY17" fmla="*/ 450422 h 707680"/>
                  <a:gd name="connsiteX18" fmla="*/ 441935 w 550025"/>
                  <a:gd name="connsiteY18" fmla="*/ 449774 h 7076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50025" h="707680">
                    <a:moveTo>
                      <a:pt x="441935" y="449774"/>
                    </a:moveTo>
                    <a:cubicBezTo>
                      <a:pt x="509624" y="403951"/>
                      <a:pt x="550025" y="327805"/>
                      <a:pt x="550025" y="246060"/>
                    </a:cubicBezTo>
                    <a:cubicBezTo>
                      <a:pt x="550025" y="110388"/>
                      <a:pt x="439667" y="0"/>
                      <a:pt x="303995" y="0"/>
                    </a:cubicBezTo>
                    <a:lnTo>
                      <a:pt x="246030" y="0"/>
                    </a:lnTo>
                    <a:cubicBezTo>
                      <a:pt x="110359" y="0"/>
                      <a:pt x="0" y="110388"/>
                      <a:pt x="0" y="246060"/>
                    </a:cubicBezTo>
                    <a:lnTo>
                      <a:pt x="0" y="267601"/>
                    </a:lnTo>
                    <a:lnTo>
                      <a:pt x="125505" y="267601"/>
                    </a:lnTo>
                    <a:lnTo>
                      <a:pt x="125505" y="246060"/>
                    </a:lnTo>
                    <a:cubicBezTo>
                      <a:pt x="125505" y="179580"/>
                      <a:pt x="179580" y="125505"/>
                      <a:pt x="246030" y="125505"/>
                    </a:cubicBezTo>
                    <a:lnTo>
                      <a:pt x="303995" y="125505"/>
                    </a:lnTo>
                    <a:cubicBezTo>
                      <a:pt x="370445" y="125505"/>
                      <a:pt x="424520" y="179580"/>
                      <a:pt x="424520" y="246060"/>
                    </a:cubicBezTo>
                    <a:cubicBezTo>
                      <a:pt x="424520" y="285930"/>
                      <a:pt x="404923" y="323090"/>
                      <a:pt x="372007" y="345574"/>
                    </a:cubicBezTo>
                    <a:lnTo>
                      <a:pt x="10137" y="580819"/>
                    </a:lnTo>
                    <a:lnTo>
                      <a:pt x="10137" y="707680"/>
                    </a:lnTo>
                    <a:lnTo>
                      <a:pt x="536293" y="707680"/>
                    </a:lnTo>
                    <a:lnTo>
                      <a:pt x="536293" y="582204"/>
                    </a:lnTo>
                    <a:lnTo>
                      <a:pt x="238251" y="582204"/>
                    </a:lnTo>
                    <a:lnTo>
                      <a:pt x="440963" y="450422"/>
                    </a:lnTo>
                    <a:lnTo>
                      <a:pt x="441935" y="449774"/>
                    </a:lnTo>
                    <a:close/>
                  </a:path>
                </a:pathLst>
              </a:custGeom>
              <a:grpFill/>
              <a:ln w="2947" cap="flat">
                <a:noFill/>
                <a:prstDash val="solid"/>
                <a:miter/>
              </a:ln>
            </p:spPr>
            <p:txBody>
              <a:bodyPr rtlCol="0" anchor="ct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Freeform: Shape 15">
                <a:extLst>
                  <a:ext uri="{FF2B5EF4-FFF2-40B4-BE49-F238E27FC236}">
                    <a16:creationId xmlns:a16="http://schemas.microsoft.com/office/drawing/2014/main" id="{A904554E-F923-3EAB-23C9-70C89966D55F}"/>
                  </a:ext>
                </a:extLst>
              </p:cNvPr>
              <p:cNvSpPr/>
              <p:nvPr/>
            </p:nvSpPr>
            <p:spPr>
              <a:xfrm>
                <a:off x="-5344726" y="2236744"/>
                <a:ext cx="4250383" cy="1025499"/>
              </a:xfrm>
              <a:custGeom>
                <a:avLst/>
                <a:gdLst>
                  <a:gd name="connsiteX0" fmla="*/ 444234 w 4250383"/>
                  <a:gd name="connsiteY0" fmla="*/ 574930 h 1025499"/>
                  <a:gd name="connsiteX1" fmla="*/ 2473183 w 4250383"/>
                  <a:gd name="connsiteY1" fmla="*/ 574930 h 1025499"/>
                  <a:gd name="connsiteX2" fmla="*/ 2473183 w 4250383"/>
                  <a:gd name="connsiteY2" fmla="*/ 574636 h 1025499"/>
                  <a:gd name="connsiteX3" fmla="*/ 2886681 w 4250383"/>
                  <a:gd name="connsiteY3" fmla="*/ 574636 h 1025499"/>
                  <a:gd name="connsiteX4" fmla="*/ 2939694 w 4250383"/>
                  <a:gd name="connsiteY4" fmla="*/ 739010 h 1025499"/>
                  <a:gd name="connsiteX5" fmla="*/ 3331770 w 4250383"/>
                  <a:gd name="connsiteY5" fmla="*/ 1019223 h 1025499"/>
                  <a:gd name="connsiteX6" fmla="*/ 3410833 w 4250383"/>
                  <a:gd name="connsiteY6" fmla="*/ 1025500 h 1025499"/>
                  <a:gd name="connsiteX7" fmla="*/ 3659044 w 4250383"/>
                  <a:gd name="connsiteY7" fmla="*/ 972752 h 1025499"/>
                  <a:gd name="connsiteX8" fmla="*/ 3939170 w 4250383"/>
                  <a:gd name="connsiteY8" fmla="*/ 808672 h 1025499"/>
                  <a:gd name="connsiteX9" fmla="*/ 4215876 w 4250383"/>
                  <a:gd name="connsiteY9" fmla="*/ 553035 h 1025499"/>
                  <a:gd name="connsiteX10" fmla="*/ 4250384 w 4250383"/>
                  <a:gd name="connsiteY10" fmla="*/ 512752 h 1025499"/>
                  <a:gd name="connsiteX11" fmla="*/ 4215876 w 4250383"/>
                  <a:gd name="connsiteY11" fmla="*/ 472469 h 1025499"/>
                  <a:gd name="connsiteX12" fmla="*/ 3939170 w 4250383"/>
                  <a:gd name="connsiteY12" fmla="*/ 216803 h 1025499"/>
                  <a:gd name="connsiteX13" fmla="*/ 3659044 w 4250383"/>
                  <a:gd name="connsiteY13" fmla="*/ 52723 h 1025499"/>
                  <a:gd name="connsiteX14" fmla="*/ 3331770 w 4250383"/>
                  <a:gd name="connsiteY14" fmla="*/ 6281 h 1025499"/>
                  <a:gd name="connsiteX15" fmla="*/ 2939694 w 4250383"/>
                  <a:gd name="connsiteY15" fmla="*/ 286495 h 1025499"/>
                  <a:gd name="connsiteX16" fmla="*/ 2886681 w 4250383"/>
                  <a:gd name="connsiteY16" fmla="*/ 450869 h 1025499"/>
                  <a:gd name="connsiteX17" fmla="*/ 2243360 w 4250383"/>
                  <a:gd name="connsiteY17" fmla="*/ 450869 h 1025499"/>
                  <a:gd name="connsiteX18" fmla="*/ 2243360 w 4250383"/>
                  <a:gd name="connsiteY18" fmla="*/ 451164 h 1025499"/>
                  <a:gd name="connsiteX19" fmla="*/ 444234 w 4250383"/>
                  <a:gd name="connsiteY19" fmla="*/ 451164 h 1025499"/>
                  <a:gd name="connsiteX20" fmla="*/ 0 w 4250383"/>
                  <a:gd name="connsiteY20" fmla="*/ 567327 h 1025499"/>
                  <a:gd name="connsiteX21" fmla="*/ 60764 w 4250383"/>
                  <a:gd name="connsiteY21" fmla="*/ 675152 h 1025499"/>
                  <a:gd name="connsiteX22" fmla="*/ 444234 w 4250383"/>
                  <a:gd name="connsiteY22" fmla="*/ 574901 h 1025499"/>
                  <a:gd name="connsiteX23" fmla="*/ 3052587 w 4250383"/>
                  <a:gd name="connsiteY23" fmla="*/ 337446 h 1025499"/>
                  <a:gd name="connsiteX24" fmla="*/ 3351661 w 4250383"/>
                  <a:gd name="connsiteY24" fmla="*/ 128427 h 1025499"/>
                  <a:gd name="connsiteX25" fmla="*/ 4084802 w 4250383"/>
                  <a:gd name="connsiteY25" fmla="*/ 512752 h 1025499"/>
                  <a:gd name="connsiteX26" fmla="*/ 3351661 w 4250383"/>
                  <a:gd name="connsiteY26" fmla="*/ 897077 h 1025499"/>
                  <a:gd name="connsiteX27" fmla="*/ 3052587 w 4250383"/>
                  <a:gd name="connsiteY27" fmla="*/ 688030 h 1025499"/>
                  <a:gd name="connsiteX28" fmla="*/ 3012746 w 4250383"/>
                  <a:gd name="connsiteY28" fmla="*/ 574636 h 1025499"/>
                  <a:gd name="connsiteX29" fmla="*/ 3180686 w 4250383"/>
                  <a:gd name="connsiteY29" fmla="*/ 574636 h 1025499"/>
                  <a:gd name="connsiteX30" fmla="*/ 3373290 w 4250383"/>
                  <a:gd name="connsiteY30" fmla="*/ 793614 h 1025499"/>
                  <a:gd name="connsiteX31" fmla="*/ 3466233 w 4250383"/>
                  <a:gd name="connsiteY31" fmla="*/ 711869 h 1025499"/>
                  <a:gd name="connsiteX32" fmla="*/ 3345531 w 4250383"/>
                  <a:gd name="connsiteY32" fmla="*/ 574606 h 1025499"/>
                  <a:gd name="connsiteX33" fmla="*/ 3738137 w 4250383"/>
                  <a:gd name="connsiteY33" fmla="*/ 574606 h 1025499"/>
                  <a:gd name="connsiteX34" fmla="*/ 3738137 w 4250383"/>
                  <a:gd name="connsiteY34" fmla="*/ 450839 h 1025499"/>
                  <a:gd name="connsiteX35" fmla="*/ 3345531 w 4250383"/>
                  <a:gd name="connsiteY35" fmla="*/ 450839 h 1025499"/>
                  <a:gd name="connsiteX36" fmla="*/ 3466233 w 4250383"/>
                  <a:gd name="connsiteY36" fmla="*/ 313576 h 1025499"/>
                  <a:gd name="connsiteX37" fmla="*/ 3373290 w 4250383"/>
                  <a:gd name="connsiteY37" fmla="*/ 231831 h 1025499"/>
                  <a:gd name="connsiteX38" fmla="*/ 3180686 w 4250383"/>
                  <a:gd name="connsiteY38" fmla="*/ 450810 h 1025499"/>
                  <a:gd name="connsiteX39" fmla="*/ 3012717 w 4250383"/>
                  <a:gd name="connsiteY39" fmla="*/ 450810 h 1025499"/>
                  <a:gd name="connsiteX40" fmla="*/ 3052587 w 4250383"/>
                  <a:gd name="connsiteY40" fmla="*/ 337387 h 1025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250383" h="1025499">
                    <a:moveTo>
                      <a:pt x="444234" y="574930"/>
                    </a:moveTo>
                    <a:lnTo>
                      <a:pt x="2473183" y="574930"/>
                    </a:lnTo>
                    <a:lnTo>
                      <a:pt x="2473183" y="574636"/>
                    </a:lnTo>
                    <a:lnTo>
                      <a:pt x="2886681" y="574636"/>
                    </a:lnTo>
                    <a:cubicBezTo>
                      <a:pt x="2893930" y="616893"/>
                      <a:pt x="2908871" y="676714"/>
                      <a:pt x="2939694" y="739010"/>
                    </a:cubicBezTo>
                    <a:cubicBezTo>
                      <a:pt x="2992796" y="846362"/>
                      <a:pt x="3103892" y="982123"/>
                      <a:pt x="3331770" y="1019223"/>
                    </a:cubicBezTo>
                    <a:cubicBezTo>
                      <a:pt x="3357525" y="1023408"/>
                      <a:pt x="3383870" y="1025500"/>
                      <a:pt x="3410833" y="1025500"/>
                    </a:cubicBezTo>
                    <a:cubicBezTo>
                      <a:pt x="3489101" y="1025500"/>
                      <a:pt x="3572260" y="1007848"/>
                      <a:pt x="3659044" y="972752"/>
                    </a:cubicBezTo>
                    <a:cubicBezTo>
                      <a:pt x="3748893" y="936417"/>
                      <a:pt x="3843132" y="881223"/>
                      <a:pt x="3939170" y="808672"/>
                    </a:cubicBezTo>
                    <a:cubicBezTo>
                      <a:pt x="4100567" y="686762"/>
                      <a:pt x="4211220" y="558428"/>
                      <a:pt x="4215876" y="553035"/>
                    </a:cubicBezTo>
                    <a:lnTo>
                      <a:pt x="4250384" y="512752"/>
                    </a:lnTo>
                    <a:lnTo>
                      <a:pt x="4215876" y="472469"/>
                    </a:lnTo>
                    <a:cubicBezTo>
                      <a:pt x="4211220" y="467076"/>
                      <a:pt x="4100567" y="338742"/>
                      <a:pt x="3939170" y="216803"/>
                    </a:cubicBezTo>
                    <a:cubicBezTo>
                      <a:pt x="3843132" y="144281"/>
                      <a:pt x="3748893" y="89058"/>
                      <a:pt x="3659044" y="52723"/>
                    </a:cubicBezTo>
                    <a:cubicBezTo>
                      <a:pt x="3542379" y="5545"/>
                      <a:pt x="3432256" y="-10074"/>
                      <a:pt x="3331770" y="6281"/>
                    </a:cubicBezTo>
                    <a:cubicBezTo>
                      <a:pt x="3103892" y="43382"/>
                      <a:pt x="2992796" y="179113"/>
                      <a:pt x="2939694" y="286495"/>
                    </a:cubicBezTo>
                    <a:cubicBezTo>
                      <a:pt x="2908871" y="348791"/>
                      <a:pt x="2893930" y="408611"/>
                      <a:pt x="2886681" y="450869"/>
                    </a:cubicBezTo>
                    <a:lnTo>
                      <a:pt x="2243360" y="450869"/>
                    </a:lnTo>
                    <a:lnTo>
                      <a:pt x="2243360" y="451164"/>
                    </a:lnTo>
                    <a:lnTo>
                      <a:pt x="444234" y="451164"/>
                    </a:lnTo>
                    <a:cubicBezTo>
                      <a:pt x="288524" y="451164"/>
                      <a:pt x="134906" y="491329"/>
                      <a:pt x="0" y="567327"/>
                    </a:cubicBezTo>
                    <a:lnTo>
                      <a:pt x="60764" y="675152"/>
                    </a:lnTo>
                    <a:cubicBezTo>
                      <a:pt x="177163" y="609585"/>
                      <a:pt x="309770" y="574901"/>
                      <a:pt x="444234" y="574901"/>
                    </a:cubicBezTo>
                    <a:close/>
                    <a:moveTo>
                      <a:pt x="3052587" y="337446"/>
                    </a:moveTo>
                    <a:cubicBezTo>
                      <a:pt x="3111376" y="221488"/>
                      <a:pt x="3212011" y="151177"/>
                      <a:pt x="3351661" y="128427"/>
                    </a:cubicBezTo>
                    <a:cubicBezTo>
                      <a:pt x="3642041" y="81160"/>
                      <a:pt x="3975121" y="398032"/>
                      <a:pt x="4084802" y="512752"/>
                    </a:cubicBezTo>
                    <a:cubicBezTo>
                      <a:pt x="3975121" y="627472"/>
                      <a:pt x="3642071" y="944344"/>
                      <a:pt x="3351661" y="897077"/>
                    </a:cubicBezTo>
                    <a:cubicBezTo>
                      <a:pt x="3212011" y="874328"/>
                      <a:pt x="3111376" y="804017"/>
                      <a:pt x="3052587" y="688030"/>
                    </a:cubicBezTo>
                    <a:cubicBezTo>
                      <a:pt x="3031665" y="646744"/>
                      <a:pt x="3019613" y="606343"/>
                      <a:pt x="3012746" y="574636"/>
                    </a:cubicBezTo>
                    <a:lnTo>
                      <a:pt x="3180686" y="574636"/>
                    </a:lnTo>
                    <a:lnTo>
                      <a:pt x="3373290" y="793614"/>
                    </a:lnTo>
                    <a:lnTo>
                      <a:pt x="3466233" y="711869"/>
                    </a:lnTo>
                    <a:lnTo>
                      <a:pt x="3345531" y="574606"/>
                    </a:lnTo>
                    <a:lnTo>
                      <a:pt x="3738137" y="574606"/>
                    </a:lnTo>
                    <a:lnTo>
                      <a:pt x="3738137" y="450839"/>
                    </a:lnTo>
                    <a:lnTo>
                      <a:pt x="3345531" y="450839"/>
                    </a:lnTo>
                    <a:lnTo>
                      <a:pt x="3466233" y="313576"/>
                    </a:lnTo>
                    <a:lnTo>
                      <a:pt x="3373290" y="231831"/>
                    </a:lnTo>
                    <a:lnTo>
                      <a:pt x="3180686" y="450810"/>
                    </a:lnTo>
                    <a:lnTo>
                      <a:pt x="3012717" y="450810"/>
                    </a:lnTo>
                    <a:cubicBezTo>
                      <a:pt x="3019613" y="419102"/>
                      <a:pt x="3031636" y="378701"/>
                      <a:pt x="3052587" y="337387"/>
                    </a:cubicBezTo>
                    <a:close/>
                  </a:path>
                </a:pathLst>
              </a:custGeom>
              <a:grpFill/>
              <a:ln w="2947" cap="flat">
                <a:noFill/>
                <a:prstDash val="solid"/>
                <a:miter/>
              </a:ln>
            </p:spPr>
            <p:txBody>
              <a:bodyPr rtlCol="0" anchor="ct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7" name="Freeform: Shape 16">
                <a:extLst>
                  <a:ext uri="{FF2B5EF4-FFF2-40B4-BE49-F238E27FC236}">
                    <a16:creationId xmlns:a16="http://schemas.microsoft.com/office/drawing/2014/main" id="{10FF895C-F9A1-A935-3D4D-5A7E988D2139}"/>
                  </a:ext>
                </a:extLst>
              </p:cNvPr>
              <p:cNvSpPr/>
              <p:nvPr/>
            </p:nvSpPr>
            <p:spPr>
              <a:xfrm>
                <a:off x="-6211022" y="2634010"/>
                <a:ext cx="6165661" cy="2406937"/>
              </a:xfrm>
              <a:custGeom>
                <a:avLst/>
                <a:gdLst>
                  <a:gd name="connsiteX0" fmla="*/ 5900241 w 6165661"/>
                  <a:gd name="connsiteY0" fmla="*/ 319347 h 2406937"/>
                  <a:gd name="connsiteX1" fmla="*/ 5259424 w 6165661"/>
                  <a:gd name="connsiteY1" fmla="*/ 53897 h 2406937"/>
                  <a:gd name="connsiteX2" fmla="*/ 5259424 w 6165661"/>
                  <a:gd name="connsiteY2" fmla="*/ 177664 h 2406937"/>
                  <a:gd name="connsiteX3" fmla="*/ 6041895 w 6165661"/>
                  <a:gd name="connsiteY3" fmla="*/ 960135 h 2406937"/>
                  <a:gd name="connsiteX4" fmla="*/ 6041895 w 6165661"/>
                  <a:gd name="connsiteY4" fmla="*/ 1500700 h 2406937"/>
                  <a:gd name="connsiteX5" fmla="*/ 5259424 w 6165661"/>
                  <a:gd name="connsiteY5" fmla="*/ 2283171 h 2406937"/>
                  <a:gd name="connsiteX6" fmla="*/ 1310530 w 6165661"/>
                  <a:gd name="connsiteY6" fmla="*/ 2283171 h 2406937"/>
                  <a:gd name="connsiteX7" fmla="*/ 528060 w 6165661"/>
                  <a:gd name="connsiteY7" fmla="*/ 1500700 h 2406937"/>
                  <a:gd name="connsiteX8" fmla="*/ 528060 w 6165661"/>
                  <a:gd name="connsiteY8" fmla="*/ 1500700 h 2406937"/>
                  <a:gd name="connsiteX9" fmla="*/ 528060 w 6165661"/>
                  <a:gd name="connsiteY9" fmla="*/ 1236606 h 2406937"/>
                  <a:gd name="connsiteX10" fmla="*/ 528060 w 6165661"/>
                  <a:gd name="connsiteY10" fmla="*/ 1236606 h 2406937"/>
                  <a:gd name="connsiteX11" fmla="*/ 671894 w 6165661"/>
                  <a:gd name="connsiteY11" fmla="*/ 1189457 h 2406937"/>
                  <a:gd name="connsiteX12" fmla="*/ 926648 w 6165661"/>
                  <a:gd name="connsiteY12" fmla="*/ 833185 h 2406937"/>
                  <a:gd name="connsiteX13" fmla="*/ 506460 w 6165661"/>
                  <a:gd name="connsiteY13" fmla="*/ 34507 h 2406937"/>
                  <a:gd name="connsiteX14" fmla="*/ 466177 w 6165661"/>
                  <a:gd name="connsiteY14" fmla="*/ 0 h 2406937"/>
                  <a:gd name="connsiteX15" fmla="*/ 425893 w 6165661"/>
                  <a:gd name="connsiteY15" fmla="*/ 34507 h 2406937"/>
                  <a:gd name="connsiteX16" fmla="*/ 5706 w 6165661"/>
                  <a:gd name="connsiteY16" fmla="*/ 833185 h 2406937"/>
                  <a:gd name="connsiteX17" fmla="*/ 260429 w 6165661"/>
                  <a:gd name="connsiteY17" fmla="*/ 1189457 h 2406937"/>
                  <a:gd name="connsiteX18" fmla="*/ 404293 w 6165661"/>
                  <a:gd name="connsiteY18" fmla="*/ 1236606 h 2406937"/>
                  <a:gd name="connsiteX19" fmla="*/ 404293 w 6165661"/>
                  <a:gd name="connsiteY19" fmla="*/ 1513313 h 2406937"/>
                  <a:gd name="connsiteX20" fmla="*/ 404441 w 6165661"/>
                  <a:gd name="connsiteY20" fmla="*/ 1513313 h 2406937"/>
                  <a:gd name="connsiteX21" fmla="*/ 669714 w 6165661"/>
                  <a:gd name="connsiteY21" fmla="*/ 2141517 h 2406937"/>
                  <a:gd name="connsiteX22" fmla="*/ 1310530 w 6165661"/>
                  <a:gd name="connsiteY22" fmla="*/ 2406938 h 2406937"/>
                  <a:gd name="connsiteX23" fmla="*/ 5259424 w 6165661"/>
                  <a:gd name="connsiteY23" fmla="*/ 2406938 h 2406937"/>
                  <a:gd name="connsiteX24" fmla="*/ 5900241 w 6165661"/>
                  <a:gd name="connsiteY24" fmla="*/ 2141517 h 2406937"/>
                  <a:gd name="connsiteX25" fmla="*/ 6165662 w 6165661"/>
                  <a:gd name="connsiteY25" fmla="*/ 1500700 h 2406937"/>
                  <a:gd name="connsiteX26" fmla="*/ 6165662 w 6165661"/>
                  <a:gd name="connsiteY26" fmla="*/ 960135 h 2406937"/>
                  <a:gd name="connsiteX27" fmla="*/ 5900241 w 6165661"/>
                  <a:gd name="connsiteY27" fmla="*/ 319318 h 2406937"/>
                  <a:gd name="connsiteX28" fmla="*/ 127851 w 6165661"/>
                  <a:gd name="connsiteY28" fmla="*/ 813324 h 2406937"/>
                  <a:gd name="connsiteX29" fmla="*/ 466177 w 6165661"/>
                  <a:gd name="connsiteY29" fmla="*/ 165788 h 2406937"/>
                  <a:gd name="connsiteX30" fmla="*/ 804502 w 6165661"/>
                  <a:gd name="connsiteY30" fmla="*/ 813324 h 2406937"/>
                  <a:gd name="connsiteX31" fmla="*/ 528060 w 6165661"/>
                  <a:gd name="connsiteY31" fmla="*/ 1110659 h 2406937"/>
                  <a:gd name="connsiteX32" fmla="*/ 528060 w 6165661"/>
                  <a:gd name="connsiteY32" fmla="*/ 1110659 h 2406937"/>
                  <a:gd name="connsiteX33" fmla="*/ 528060 w 6165661"/>
                  <a:gd name="connsiteY33" fmla="*/ 845857 h 2406937"/>
                  <a:gd name="connsiteX34" fmla="*/ 722256 w 6165661"/>
                  <a:gd name="connsiteY34" fmla="*/ 675059 h 2406937"/>
                  <a:gd name="connsiteX35" fmla="*/ 640511 w 6165661"/>
                  <a:gd name="connsiteY35" fmla="*/ 582116 h 2406937"/>
                  <a:gd name="connsiteX36" fmla="*/ 528060 w 6165661"/>
                  <a:gd name="connsiteY36" fmla="*/ 681041 h 2406937"/>
                  <a:gd name="connsiteX37" fmla="*/ 528060 w 6165661"/>
                  <a:gd name="connsiteY37" fmla="*/ 452308 h 2406937"/>
                  <a:gd name="connsiteX38" fmla="*/ 404293 w 6165661"/>
                  <a:gd name="connsiteY38" fmla="*/ 452308 h 2406937"/>
                  <a:gd name="connsiteX39" fmla="*/ 404293 w 6165661"/>
                  <a:gd name="connsiteY39" fmla="*/ 805750 h 2406937"/>
                  <a:gd name="connsiteX40" fmla="*/ 291842 w 6165661"/>
                  <a:gd name="connsiteY40" fmla="*/ 706826 h 2406937"/>
                  <a:gd name="connsiteX41" fmla="*/ 210097 w 6165661"/>
                  <a:gd name="connsiteY41" fmla="*/ 799769 h 2406937"/>
                  <a:gd name="connsiteX42" fmla="*/ 404293 w 6165661"/>
                  <a:gd name="connsiteY42" fmla="*/ 970566 h 2406937"/>
                  <a:gd name="connsiteX43" fmla="*/ 404293 w 6165661"/>
                  <a:gd name="connsiteY43" fmla="*/ 1110659 h 2406937"/>
                  <a:gd name="connsiteX44" fmla="*/ 127851 w 6165661"/>
                  <a:gd name="connsiteY44" fmla="*/ 813324 h 24069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165661" h="2406937">
                    <a:moveTo>
                      <a:pt x="5900241" y="319347"/>
                    </a:moveTo>
                    <a:cubicBezTo>
                      <a:pt x="5729060" y="148166"/>
                      <a:pt x="5501506" y="53897"/>
                      <a:pt x="5259424" y="53897"/>
                    </a:cubicBezTo>
                    <a:lnTo>
                      <a:pt x="5259424" y="177664"/>
                    </a:lnTo>
                    <a:cubicBezTo>
                      <a:pt x="5690899" y="177664"/>
                      <a:pt x="6041895" y="528690"/>
                      <a:pt x="6041895" y="960135"/>
                    </a:cubicBezTo>
                    <a:lnTo>
                      <a:pt x="6041895" y="1500700"/>
                    </a:lnTo>
                    <a:cubicBezTo>
                      <a:pt x="6041895" y="1932175"/>
                      <a:pt x="5690869" y="2283171"/>
                      <a:pt x="5259424" y="2283171"/>
                    </a:cubicBezTo>
                    <a:lnTo>
                      <a:pt x="1310530" y="2283171"/>
                    </a:lnTo>
                    <a:cubicBezTo>
                      <a:pt x="879056" y="2283171"/>
                      <a:pt x="528060" y="1932145"/>
                      <a:pt x="528060" y="1500700"/>
                    </a:cubicBezTo>
                    <a:lnTo>
                      <a:pt x="528060" y="1500700"/>
                    </a:lnTo>
                    <a:lnTo>
                      <a:pt x="528060" y="1236606"/>
                    </a:lnTo>
                    <a:lnTo>
                      <a:pt x="528060" y="1236606"/>
                    </a:lnTo>
                    <a:cubicBezTo>
                      <a:pt x="566074" y="1229710"/>
                      <a:pt x="617997" y="1216125"/>
                      <a:pt x="671894" y="1189457"/>
                    </a:cubicBezTo>
                    <a:cubicBezTo>
                      <a:pt x="769523" y="1141188"/>
                      <a:pt x="892936" y="1040200"/>
                      <a:pt x="926648" y="833185"/>
                    </a:cubicBezTo>
                    <a:cubicBezTo>
                      <a:pt x="988590" y="452750"/>
                      <a:pt x="526174" y="51422"/>
                      <a:pt x="506460" y="34507"/>
                    </a:cubicBezTo>
                    <a:lnTo>
                      <a:pt x="466177" y="0"/>
                    </a:lnTo>
                    <a:lnTo>
                      <a:pt x="425893" y="34507"/>
                    </a:lnTo>
                    <a:cubicBezTo>
                      <a:pt x="406179" y="51422"/>
                      <a:pt x="-56237" y="452750"/>
                      <a:pt x="5706" y="833185"/>
                    </a:cubicBezTo>
                    <a:cubicBezTo>
                      <a:pt x="39388" y="1040200"/>
                      <a:pt x="162830" y="1141188"/>
                      <a:pt x="260429" y="1189457"/>
                    </a:cubicBezTo>
                    <a:cubicBezTo>
                      <a:pt x="314356" y="1216125"/>
                      <a:pt x="366279" y="1229710"/>
                      <a:pt x="404293" y="1236606"/>
                    </a:cubicBezTo>
                    <a:lnTo>
                      <a:pt x="404293" y="1513313"/>
                    </a:lnTo>
                    <a:lnTo>
                      <a:pt x="404441" y="1513313"/>
                    </a:lnTo>
                    <a:cubicBezTo>
                      <a:pt x="407652" y="1750680"/>
                      <a:pt x="501538" y="1973342"/>
                      <a:pt x="669714" y="2141517"/>
                    </a:cubicBezTo>
                    <a:cubicBezTo>
                      <a:pt x="840895" y="2312669"/>
                      <a:pt x="1068449" y="2406938"/>
                      <a:pt x="1310530" y="2406938"/>
                    </a:cubicBezTo>
                    <a:lnTo>
                      <a:pt x="5259424" y="2406938"/>
                    </a:lnTo>
                    <a:cubicBezTo>
                      <a:pt x="5501506" y="2406938"/>
                      <a:pt x="5729060" y="2312669"/>
                      <a:pt x="5900241" y="2141517"/>
                    </a:cubicBezTo>
                    <a:cubicBezTo>
                      <a:pt x="6071422" y="1970336"/>
                      <a:pt x="6165662" y="1742782"/>
                      <a:pt x="6165662" y="1500700"/>
                    </a:cubicBezTo>
                    <a:lnTo>
                      <a:pt x="6165662" y="960135"/>
                    </a:lnTo>
                    <a:cubicBezTo>
                      <a:pt x="6165662" y="718053"/>
                      <a:pt x="6071393" y="490499"/>
                      <a:pt x="5900241" y="319318"/>
                    </a:cubicBezTo>
                    <a:close/>
                    <a:moveTo>
                      <a:pt x="127851" y="813324"/>
                    </a:moveTo>
                    <a:cubicBezTo>
                      <a:pt x="86537" y="559484"/>
                      <a:pt x="360503" y="267572"/>
                      <a:pt x="466177" y="165788"/>
                    </a:cubicBezTo>
                    <a:cubicBezTo>
                      <a:pt x="571820" y="267572"/>
                      <a:pt x="845816" y="559484"/>
                      <a:pt x="804502" y="813324"/>
                    </a:cubicBezTo>
                    <a:cubicBezTo>
                      <a:pt x="770201" y="1023875"/>
                      <a:pt x="616671" y="1089972"/>
                      <a:pt x="528060" y="1110659"/>
                    </a:cubicBezTo>
                    <a:lnTo>
                      <a:pt x="528060" y="1110659"/>
                    </a:lnTo>
                    <a:lnTo>
                      <a:pt x="528060" y="845857"/>
                    </a:lnTo>
                    <a:lnTo>
                      <a:pt x="722256" y="675059"/>
                    </a:lnTo>
                    <a:lnTo>
                      <a:pt x="640511" y="582116"/>
                    </a:lnTo>
                    <a:lnTo>
                      <a:pt x="528060" y="681041"/>
                    </a:lnTo>
                    <a:lnTo>
                      <a:pt x="528060" y="452308"/>
                    </a:lnTo>
                    <a:lnTo>
                      <a:pt x="404293" y="452308"/>
                    </a:lnTo>
                    <a:lnTo>
                      <a:pt x="404293" y="805750"/>
                    </a:lnTo>
                    <a:lnTo>
                      <a:pt x="291842" y="706826"/>
                    </a:lnTo>
                    <a:lnTo>
                      <a:pt x="210097" y="799769"/>
                    </a:lnTo>
                    <a:lnTo>
                      <a:pt x="404293" y="970566"/>
                    </a:lnTo>
                    <a:lnTo>
                      <a:pt x="404293" y="1110659"/>
                    </a:lnTo>
                    <a:cubicBezTo>
                      <a:pt x="315535" y="1089942"/>
                      <a:pt x="162123" y="1023816"/>
                      <a:pt x="127851" y="813324"/>
                    </a:cubicBezTo>
                    <a:close/>
                  </a:path>
                </a:pathLst>
              </a:custGeom>
              <a:grpFill/>
              <a:ln w="2947" cap="flat">
                <a:noFill/>
                <a:prstDash val="solid"/>
                <a:miter/>
              </a:ln>
            </p:spPr>
            <p:txBody>
              <a:bodyPr rtlCol="0" anchor="ct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8" name="Freeform: Shape 17">
                <a:extLst>
                  <a:ext uri="{FF2B5EF4-FFF2-40B4-BE49-F238E27FC236}">
                    <a16:creationId xmlns:a16="http://schemas.microsoft.com/office/drawing/2014/main" id="{D7533E47-0A68-22F0-4D67-83A0D6C7EEC5}"/>
                  </a:ext>
                </a:extLst>
              </p:cNvPr>
              <p:cNvSpPr/>
              <p:nvPr/>
            </p:nvSpPr>
            <p:spPr>
              <a:xfrm>
                <a:off x="-5230595" y="5180126"/>
                <a:ext cx="651307" cy="651307"/>
              </a:xfrm>
              <a:custGeom>
                <a:avLst/>
                <a:gdLst>
                  <a:gd name="connsiteX0" fmla="*/ 325654 w 651307"/>
                  <a:gd name="connsiteY0" fmla="*/ 0 h 651307"/>
                  <a:gd name="connsiteX1" fmla="*/ 0 w 651307"/>
                  <a:gd name="connsiteY1" fmla="*/ 325654 h 651307"/>
                  <a:gd name="connsiteX2" fmla="*/ 325654 w 651307"/>
                  <a:gd name="connsiteY2" fmla="*/ 651307 h 651307"/>
                  <a:gd name="connsiteX3" fmla="*/ 651307 w 651307"/>
                  <a:gd name="connsiteY3" fmla="*/ 325654 h 651307"/>
                  <a:gd name="connsiteX4" fmla="*/ 325654 w 651307"/>
                  <a:gd name="connsiteY4" fmla="*/ 0 h 651307"/>
                  <a:gd name="connsiteX5" fmla="*/ 325654 w 651307"/>
                  <a:gd name="connsiteY5" fmla="*/ 527541 h 651307"/>
                  <a:gd name="connsiteX6" fmla="*/ 123767 w 651307"/>
                  <a:gd name="connsiteY6" fmla="*/ 325654 h 651307"/>
                  <a:gd name="connsiteX7" fmla="*/ 325654 w 651307"/>
                  <a:gd name="connsiteY7" fmla="*/ 123767 h 651307"/>
                  <a:gd name="connsiteX8" fmla="*/ 527541 w 651307"/>
                  <a:gd name="connsiteY8" fmla="*/ 325654 h 651307"/>
                  <a:gd name="connsiteX9" fmla="*/ 325654 w 651307"/>
                  <a:gd name="connsiteY9" fmla="*/ 527541 h 65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307" h="651307">
                    <a:moveTo>
                      <a:pt x="325654" y="0"/>
                    </a:moveTo>
                    <a:cubicBezTo>
                      <a:pt x="146103" y="0"/>
                      <a:pt x="0" y="146103"/>
                      <a:pt x="0" y="325654"/>
                    </a:cubicBezTo>
                    <a:cubicBezTo>
                      <a:pt x="0" y="505204"/>
                      <a:pt x="146103" y="651307"/>
                      <a:pt x="325654" y="651307"/>
                    </a:cubicBezTo>
                    <a:cubicBezTo>
                      <a:pt x="505204" y="651307"/>
                      <a:pt x="651307" y="505204"/>
                      <a:pt x="651307" y="325654"/>
                    </a:cubicBezTo>
                    <a:cubicBezTo>
                      <a:pt x="651307" y="146103"/>
                      <a:pt x="505204" y="0"/>
                      <a:pt x="325654" y="0"/>
                    </a:cubicBezTo>
                    <a:close/>
                    <a:moveTo>
                      <a:pt x="325654" y="527541"/>
                    </a:moveTo>
                    <a:cubicBezTo>
                      <a:pt x="214352" y="527541"/>
                      <a:pt x="123767" y="436985"/>
                      <a:pt x="123767" y="325654"/>
                    </a:cubicBezTo>
                    <a:cubicBezTo>
                      <a:pt x="123767" y="214323"/>
                      <a:pt x="214352" y="123767"/>
                      <a:pt x="325654" y="123767"/>
                    </a:cubicBezTo>
                    <a:cubicBezTo>
                      <a:pt x="436955" y="123767"/>
                      <a:pt x="527541" y="214352"/>
                      <a:pt x="527541" y="325654"/>
                    </a:cubicBezTo>
                    <a:cubicBezTo>
                      <a:pt x="527541" y="436955"/>
                      <a:pt x="436985" y="527541"/>
                      <a:pt x="325654" y="527541"/>
                    </a:cubicBezTo>
                    <a:close/>
                  </a:path>
                </a:pathLst>
              </a:custGeom>
              <a:grpFill/>
              <a:ln w="2947" cap="flat">
                <a:noFill/>
                <a:prstDash val="solid"/>
                <a:miter/>
              </a:ln>
            </p:spPr>
            <p:txBody>
              <a:bodyPr rtlCol="0" anchor="ct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19" name="Freeform: Shape 18">
                <a:extLst>
                  <a:ext uri="{FF2B5EF4-FFF2-40B4-BE49-F238E27FC236}">
                    <a16:creationId xmlns:a16="http://schemas.microsoft.com/office/drawing/2014/main" id="{3E117E68-34CE-27AC-B960-35AC28FCD64F}"/>
                  </a:ext>
                </a:extLst>
              </p:cNvPr>
              <p:cNvSpPr/>
              <p:nvPr/>
            </p:nvSpPr>
            <p:spPr>
              <a:xfrm>
                <a:off x="-4435984" y="5180126"/>
                <a:ext cx="651307" cy="651307"/>
              </a:xfrm>
              <a:custGeom>
                <a:avLst/>
                <a:gdLst>
                  <a:gd name="connsiteX0" fmla="*/ 325654 w 651307"/>
                  <a:gd name="connsiteY0" fmla="*/ 0 h 651307"/>
                  <a:gd name="connsiteX1" fmla="*/ 0 w 651307"/>
                  <a:gd name="connsiteY1" fmla="*/ 325654 h 651307"/>
                  <a:gd name="connsiteX2" fmla="*/ 325654 w 651307"/>
                  <a:gd name="connsiteY2" fmla="*/ 651307 h 651307"/>
                  <a:gd name="connsiteX3" fmla="*/ 651307 w 651307"/>
                  <a:gd name="connsiteY3" fmla="*/ 325654 h 651307"/>
                  <a:gd name="connsiteX4" fmla="*/ 325654 w 651307"/>
                  <a:gd name="connsiteY4" fmla="*/ 0 h 651307"/>
                  <a:gd name="connsiteX5" fmla="*/ 325654 w 651307"/>
                  <a:gd name="connsiteY5" fmla="*/ 527541 h 651307"/>
                  <a:gd name="connsiteX6" fmla="*/ 123767 w 651307"/>
                  <a:gd name="connsiteY6" fmla="*/ 325654 h 651307"/>
                  <a:gd name="connsiteX7" fmla="*/ 325654 w 651307"/>
                  <a:gd name="connsiteY7" fmla="*/ 123767 h 651307"/>
                  <a:gd name="connsiteX8" fmla="*/ 527541 w 651307"/>
                  <a:gd name="connsiteY8" fmla="*/ 325654 h 651307"/>
                  <a:gd name="connsiteX9" fmla="*/ 325654 w 651307"/>
                  <a:gd name="connsiteY9" fmla="*/ 527541 h 65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307" h="651307">
                    <a:moveTo>
                      <a:pt x="325654" y="0"/>
                    </a:moveTo>
                    <a:cubicBezTo>
                      <a:pt x="146103" y="0"/>
                      <a:pt x="0" y="146103"/>
                      <a:pt x="0" y="325654"/>
                    </a:cubicBezTo>
                    <a:cubicBezTo>
                      <a:pt x="0" y="505204"/>
                      <a:pt x="146103" y="651307"/>
                      <a:pt x="325654" y="651307"/>
                    </a:cubicBezTo>
                    <a:cubicBezTo>
                      <a:pt x="505204" y="651307"/>
                      <a:pt x="651307" y="505204"/>
                      <a:pt x="651307" y="325654"/>
                    </a:cubicBezTo>
                    <a:cubicBezTo>
                      <a:pt x="651307" y="146103"/>
                      <a:pt x="505204" y="0"/>
                      <a:pt x="325654" y="0"/>
                    </a:cubicBezTo>
                    <a:close/>
                    <a:moveTo>
                      <a:pt x="325654" y="527541"/>
                    </a:moveTo>
                    <a:cubicBezTo>
                      <a:pt x="214352" y="527541"/>
                      <a:pt x="123767" y="436985"/>
                      <a:pt x="123767" y="325654"/>
                    </a:cubicBezTo>
                    <a:cubicBezTo>
                      <a:pt x="123767" y="214323"/>
                      <a:pt x="214352" y="123767"/>
                      <a:pt x="325654" y="123767"/>
                    </a:cubicBezTo>
                    <a:cubicBezTo>
                      <a:pt x="436955" y="123767"/>
                      <a:pt x="527541" y="214352"/>
                      <a:pt x="527541" y="325654"/>
                    </a:cubicBezTo>
                    <a:cubicBezTo>
                      <a:pt x="527541" y="436955"/>
                      <a:pt x="436985" y="527541"/>
                      <a:pt x="325654" y="527541"/>
                    </a:cubicBezTo>
                    <a:close/>
                  </a:path>
                </a:pathLst>
              </a:custGeom>
              <a:grpFill/>
              <a:ln w="2947" cap="flat">
                <a:noFill/>
                <a:prstDash val="solid"/>
                <a:miter/>
              </a:ln>
            </p:spPr>
            <p:txBody>
              <a:bodyPr rtlCol="0" anchor="ct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20" name="Freeform: Shape 19">
                <a:extLst>
                  <a:ext uri="{FF2B5EF4-FFF2-40B4-BE49-F238E27FC236}">
                    <a16:creationId xmlns:a16="http://schemas.microsoft.com/office/drawing/2014/main" id="{3A5D56AA-2026-9B8D-7FC8-7205F01C092B}"/>
                  </a:ext>
                </a:extLst>
              </p:cNvPr>
              <p:cNvSpPr/>
              <p:nvPr/>
            </p:nvSpPr>
            <p:spPr>
              <a:xfrm>
                <a:off x="-2067384" y="5180126"/>
                <a:ext cx="651277" cy="651307"/>
              </a:xfrm>
              <a:custGeom>
                <a:avLst/>
                <a:gdLst>
                  <a:gd name="connsiteX0" fmla="*/ 325624 w 651277"/>
                  <a:gd name="connsiteY0" fmla="*/ 0 h 651307"/>
                  <a:gd name="connsiteX1" fmla="*/ 0 w 651277"/>
                  <a:gd name="connsiteY1" fmla="*/ 325654 h 651307"/>
                  <a:gd name="connsiteX2" fmla="*/ 325624 w 651277"/>
                  <a:gd name="connsiteY2" fmla="*/ 651307 h 651307"/>
                  <a:gd name="connsiteX3" fmla="*/ 651278 w 651277"/>
                  <a:gd name="connsiteY3" fmla="*/ 325654 h 651307"/>
                  <a:gd name="connsiteX4" fmla="*/ 325624 w 651277"/>
                  <a:gd name="connsiteY4" fmla="*/ 0 h 651307"/>
                  <a:gd name="connsiteX5" fmla="*/ 325624 w 651277"/>
                  <a:gd name="connsiteY5" fmla="*/ 527541 h 651307"/>
                  <a:gd name="connsiteX6" fmla="*/ 123767 w 651277"/>
                  <a:gd name="connsiteY6" fmla="*/ 325654 h 651307"/>
                  <a:gd name="connsiteX7" fmla="*/ 325624 w 651277"/>
                  <a:gd name="connsiteY7" fmla="*/ 123767 h 651307"/>
                  <a:gd name="connsiteX8" fmla="*/ 527511 w 651277"/>
                  <a:gd name="connsiteY8" fmla="*/ 325654 h 651307"/>
                  <a:gd name="connsiteX9" fmla="*/ 325624 w 651277"/>
                  <a:gd name="connsiteY9" fmla="*/ 527541 h 65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277" h="651307">
                    <a:moveTo>
                      <a:pt x="325624" y="0"/>
                    </a:moveTo>
                    <a:cubicBezTo>
                      <a:pt x="146074" y="0"/>
                      <a:pt x="0" y="146103"/>
                      <a:pt x="0" y="325654"/>
                    </a:cubicBezTo>
                    <a:cubicBezTo>
                      <a:pt x="0" y="505204"/>
                      <a:pt x="146074" y="651307"/>
                      <a:pt x="325624" y="651307"/>
                    </a:cubicBezTo>
                    <a:cubicBezTo>
                      <a:pt x="505174" y="651307"/>
                      <a:pt x="651278" y="505204"/>
                      <a:pt x="651278" y="325654"/>
                    </a:cubicBezTo>
                    <a:cubicBezTo>
                      <a:pt x="651278" y="146103"/>
                      <a:pt x="505204" y="0"/>
                      <a:pt x="325624" y="0"/>
                    </a:cubicBezTo>
                    <a:close/>
                    <a:moveTo>
                      <a:pt x="325624" y="527541"/>
                    </a:moveTo>
                    <a:cubicBezTo>
                      <a:pt x="214323" y="527541"/>
                      <a:pt x="123767" y="436985"/>
                      <a:pt x="123767" y="325654"/>
                    </a:cubicBezTo>
                    <a:cubicBezTo>
                      <a:pt x="123767" y="214323"/>
                      <a:pt x="214323" y="123767"/>
                      <a:pt x="325624" y="123767"/>
                    </a:cubicBezTo>
                    <a:cubicBezTo>
                      <a:pt x="436926" y="123767"/>
                      <a:pt x="527511" y="214352"/>
                      <a:pt x="527511" y="325654"/>
                    </a:cubicBezTo>
                    <a:cubicBezTo>
                      <a:pt x="527511" y="436955"/>
                      <a:pt x="436955" y="527541"/>
                      <a:pt x="325624" y="527541"/>
                    </a:cubicBezTo>
                    <a:close/>
                  </a:path>
                </a:pathLst>
              </a:custGeom>
              <a:grpFill/>
              <a:ln w="2947" cap="flat">
                <a:noFill/>
                <a:prstDash val="solid"/>
                <a:miter/>
              </a:ln>
            </p:spPr>
            <p:txBody>
              <a:bodyPr rtlCol="0" anchor="ct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sp>
            <p:nvSpPr>
              <p:cNvPr id="21" name="Freeform: Shape 20">
                <a:extLst>
                  <a:ext uri="{FF2B5EF4-FFF2-40B4-BE49-F238E27FC236}">
                    <a16:creationId xmlns:a16="http://schemas.microsoft.com/office/drawing/2014/main" id="{7B3A0A34-F697-E998-5736-18A6123197F7}"/>
                  </a:ext>
                </a:extLst>
              </p:cNvPr>
              <p:cNvSpPr/>
              <p:nvPr/>
            </p:nvSpPr>
            <p:spPr>
              <a:xfrm>
                <a:off x="-1272773" y="5180126"/>
                <a:ext cx="651277" cy="651307"/>
              </a:xfrm>
              <a:custGeom>
                <a:avLst/>
                <a:gdLst>
                  <a:gd name="connsiteX0" fmla="*/ 325624 w 651277"/>
                  <a:gd name="connsiteY0" fmla="*/ 0 h 651307"/>
                  <a:gd name="connsiteX1" fmla="*/ 0 w 651277"/>
                  <a:gd name="connsiteY1" fmla="*/ 325654 h 651307"/>
                  <a:gd name="connsiteX2" fmla="*/ 325624 w 651277"/>
                  <a:gd name="connsiteY2" fmla="*/ 651307 h 651307"/>
                  <a:gd name="connsiteX3" fmla="*/ 651278 w 651277"/>
                  <a:gd name="connsiteY3" fmla="*/ 325654 h 651307"/>
                  <a:gd name="connsiteX4" fmla="*/ 325624 w 651277"/>
                  <a:gd name="connsiteY4" fmla="*/ 0 h 651307"/>
                  <a:gd name="connsiteX5" fmla="*/ 325624 w 651277"/>
                  <a:gd name="connsiteY5" fmla="*/ 527541 h 651307"/>
                  <a:gd name="connsiteX6" fmla="*/ 123767 w 651277"/>
                  <a:gd name="connsiteY6" fmla="*/ 325654 h 651307"/>
                  <a:gd name="connsiteX7" fmla="*/ 325624 w 651277"/>
                  <a:gd name="connsiteY7" fmla="*/ 123767 h 651307"/>
                  <a:gd name="connsiteX8" fmla="*/ 527511 w 651277"/>
                  <a:gd name="connsiteY8" fmla="*/ 325654 h 651307"/>
                  <a:gd name="connsiteX9" fmla="*/ 325624 w 651277"/>
                  <a:gd name="connsiteY9" fmla="*/ 527541 h 651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51277" h="651307">
                    <a:moveTo>
                      <a:pt x="325624" y="0"/>
                    </a:moveTo>
                    <a:cubicBezTo>
                      <a:pt x="146074" y="0"/>
                      <a:pt x="0" y="146103"/>
                      <a:pt x="0" y="325654"/>
                    </a:cubicBezTo>
                    <a:cubicBezTo>
                      <a:pt x="0" y="505204"/>
                      <a:pt x="146074" y="651307"/>
                      <a:pt x="325624" y="651307"/>
                    </a:cubicBezTo>
                    <a:cubicBezTo>
                      <a:pt x="505175" y="651307"/>
                      <a:pt x="651278" y="505204"/>
                      <a:pt x="651278" y="325654"/>
                    </a:cubicBezTo>
                    <a:cubicBezTo>
                      <a:pt x="651278" y="146103"/>
                      <a:pt x="505204" y="0"/>
                      <a:pt x="325624" y="0"/>
                    </a:cubicBezTo>
                    <a:close/>
                    <a:moveTo>
                      <a:pt x="325624" y="527541"/>
                    </a:moveTo>
                    <a:cubicBezTo>
                      <a:pt x="214323" y="527541"/>
                      <a:pt x="123767" y="436985"/>
                      <a:pt x="123767" y="325654"/>
                    </a:cubicBezTo>
                    <a:cubicBezTo>
                      <a:pt x="123767" y="214323"/>
                      <a:pt x="214323" y="123767"/>
                      <a:pt x="325624" y="123767"/>
                    </a:cubicBezTo>
                    <a:cubicBezTo>
                      <a:pt x="436926" y="123767"/>
                      <a:pt x="527511" y="214352"/>
                      <a:pt x="527511" y="325654"/>
                    </a:cubicBezTo>
                    <a:cubicBezTo>
                      <a:pt x="527511" y="436955"/>
                      <a:pt x="436955" y="527541"/>
                      <a:pt x="325624" y="527541"/>
                    </a:cubicBezTo>
                    <a:close/>
                  </a:path>
                </a:pathLst>
              </a:custGeom>
              <a:grpFill/>
              <a:ln w="2947" cap="flat">
                <a:noFill/>
                <a:prstDash val="solid"/>
                <a:miter/>
              </a:ln>
            </p:spPr>
            <p:txBody>
              <a:bodyPr rtlCol="0" anchor="ctr"/>
              <a:lstStyle/>
              <a:p>
                <a:pPr marL="0" marR="0" lvl="0" indent="0" algn="l" defTabSz="1094544" rtl="0" eaLnBrk="1" fontAlgn="auto" latinLnBrk="0" hangingPunct="1">
                  <a:lnSpc>
                    <a:spcPct val="100000"/>
                  </a:lnSpc>
                  <a:spcBef>
                    <a:spcPts val="0"/>
                  </a:spcBef>
                  <a:spcAft>
                    <a:spcPts val="0"/>
                  </a:spcAft>
                  <a:buClrTx/>
                  <a:buSzTx/>
                  <a:buFontTx/>
                  <a:buNone/>
                  <a:tabLst/>
                  <a:defRPr/>
                </a:pPr>
                <a:endParaRPr kumimoji="0" lang="en-US" sz="2062" b="0" i="0" u="none" strike="noStrike" kern="1200" cap="none" spc="0" normalizeH="0" baseline="0" noProof="0" dirty="0">
                  <a:ln>
                    <a:noFill/>
                  </a:ln>
                  <a:solidFill>
                    <a:srgbClr val="000000"/>
                  </a:solidFill>
                  <a:effectLst/>
                  <a:uLnTx/>
                  <a:uFillTx/>
                  <a:latin typeface="Calibri"/>
                  <a:ea typeface="+mn-ea"/>
                  <a:cs typeface="+mn-cs"/>
                </a:endParaRPr>
              </a:p>
            </p:txBody>
          </p:sp>
        </p:grpSp>
      </p:grpSp>
      <p:sp>
        <p:nvSpPr>
          <p:cNvPr id="22" name="Text Box 80">
            <a:extLst>
              <a:ext uri="{FF2B5EF4-FFF2-40B4-BE49-F238E27FC236}">
                <a16:creationId xmlns:a16="http://schemas.microsoft.com/office/drawing/2014/main" id="{0F52AA09-3FAB-C815-5EAB-7CBECDD6B183}"/>
              </a:ext>
            </a:extLst>
          </p:cNvPr>
          <p:cNvSpPr txBox="1">
            <a:spLocks noChangeArrowheads="1"/>
          </p:cNvSpPr>
          <p:nvPr/>
        </p:nvSpPr>
        <p:spPr bwMode="auto">
          <a:xfrm>
            <a:off x="11021907" y="6447226"/>
            <a:ext cx="1107675" cy="138499"/>
          </a:xfrm>
          <a:prstGeom prst="rect">
            <a:avLst/>
          </a:prstGeom>
          <a:noFill/>
          <a:ln w="9525">
            <a:noFill/>
            <a:miter lim="800000"/>
            <a:headEnd/>
            <a:tailEnd/>
          </a:ln>
        </p:spPr>
        <p:txBody>
          <a:bodyPr wrap="square" lIns="0" tIns="0" rIns="0" bIns="0" anchor="ctr" anchorCtr="0">
            <a:spAutoFit/>
          </a:bodyPr>
          <a:lstStyle/>
          <a:p>
            <a:pPr marL="0" marR="0" lvl="0" indent="0" algn="r" defTabSz="914171" rtl="0" eaLnBrk="1" fontAlgn="auto" latinLnBrk="0" hangingPunct="1">
              <a:lnSpc>
                <a:spcPct val="100000"/>
              </a:lnSpc>
              <a:spcBef>
                <a:spcPts val="0"/>
              </a:spcBef>
              <a:spcAft>
                <a:spcPts val="0"/>
              </a:spcAft>
              <a:buClrTx/>
              <a:buSzTx/>
              <a:buFontTx/>
              <a:buNone/>
              <a:tabLst/>
              <a:defRPr/>
            </a:pPr>
            <a:r>
              <a:rPr kumimoji="0" lang="en-IN" sz="900" b="0" i="0" u="none" strike="noStrike" kern="0" cap="none" spc="0" normalizeH="0" baseline="0" noProof="0" dirty="0">
                <a:ln>
                  <a:noFill/>
                </a:ln>
                <a:solidFill>
                  <a:srgbClr val="1A4583"/>
                </a:solidFill>
                <a:effectLst/>
                <a:uLnTx/>
                <a:uFillTx/>
                <a:latin typeface="Calibri"/>
                <a:ea typeface="+mn-ea"/>
                <a:cs typeface="Arial" pitchFamily="34" charset="0"/>
              </a:rPr>
              <a:t>Source: Frost &amp; Sullivan</a:t>
            </a:r>
            <a:endParaRPr kumimoji="0" lang="en-GB" sz="900" b="0" i="0" u="none" strike="noStrike" kern="0" cap="none" spc="0" normalizeH="0" baseline="0" noProof="0" dirty="0">
              <a:ln>
                <a:noFill/>
              </a:ln>
              <a:solidFill>
                <a:srgbClr val="1A4583"/>
              </a:solidFill>
              <a:effectLst/>
              <a:uLnTx/>
              <a:uFillTx/>
              <a:latin typeface="Calibri"/>
              <a:ea typeface="+mn-ea"/>
              <a:cs typeface="Arial" pitchFamily="34" charset="0"/>
            </a:endParaRPr>
          </a:p>
        </p:txBody>
      </p:sp>
      <p:sp>
        <p:nvSpPr>
          <p:cNvPr id="6" name="Rectangle 5">
            <a:extLst>
              <a:ext uri="{FF2B5EF4-FFF2-40B4-BE49-F238E27FC236}">
                <a16:creationId xmlns:a16="http://schemas.microsoft.com/office/drawing/2014/main" id="{5062FB72-F26D-50CA-0B83-F2D34F526BDB}"/>
              </a:ext>
            </a:extLst>
          </p:cNvPr>
          <p:cNvSpPr/>
          <p:nvPr/>
        </p:nvSpPr>
        <p:spPr>
          <a:xfrm>
            <a:off x="6284770" y="3903210"/>
            <a:ext cx="2498588" cy="1019832"/>
          </a:xfrm>
          <a:prstGeom prst="rect">
            <a:avLst/>
          </a:prstGeom>
          <a:solidFill>
            <a:schemeClr val="accent2"/>
          </a:solidFill>
          <a:ln w="9525" cap="flat" cmpd="sng" algn="ctr">
            <a:solidFill>
              <a:srgbClr val="00B0F0"/>
            </a:solidFill>
            <a:prstDash val="solid"/>
            <a:miter lim="800000"/>
          </a:ln>
          <a:effectLst/>
        </p:spPr>
        <p:txBody>
          <a:bodyPr rtlCol="0" anchor="ctr"/>
          <a:lstStyle/>
          <a:p>
            <a:pPr algn="ctr" defTabSz="914171">
              <a:defRPr/>
            </a:pPr>
            <a:r>
              <a:rPr lang="en-US" sz="1600" b="1" kern="0" dirty="0">
                <a:solidFill>
                  <a:prstClr val="white"/>
                </a:solidFill>
                <a:latin typeface="Calibri"/>
              </a:rPr>
              <a:t>Manufacturing Capacity is Ramping Up</a:t>
            </a:r>
            <a:endParaRPr lang="en-IN" sz="1600" b="1" kern="0" dirty="0">
              <a:solidFill>
                <a:prstClr val="white"/>
              </a:solidFill>
              <a:latin typeface="Calibri"/>
            </a:endParaRPr>
          </a:p>
        </p:txBody>
      </p:sp>
      <p:sp>
        <p:nvSpPr>
          <p:cNvPr id="27" name="Rectangle 26">
            <a:extLst>
              <a:ext uri="{FF2B5EF4-FFF2-40B4-BE49-F238E27FC236}">
                <a16:creationId xmlns:a16="http://schemas.microsoft.com/office/drawing/2014/main" id="{A2584D29-8428-3476-78E2-DC9F93FC4CE3}"/>
              </a:ext>
            </a:extLst>
          </p:cNvPr>
          <p:cNvSpPr/>
          <p:nvPr/>
        </p:nvSpPr>
        <p:spPr>
          <a:xfrm>
            <a:off x="789323" y="3903205"/>
            <a:ext cx="2498588" cy="1019832"/>
          </a:xfrm>
          <a:prstGeom prst="rect">
            <a:avLst/>
          </a:prstGeom>
          <a:solidFill>
            <a:schemeClr val="accent2"/>
          </a:solidFill>
          <a:ln w="9525" cap="flat" cmpd="sng" algn="ctr">
            <a:solidFill>
              <a:srgbClr val="00B0F0"/>
            </a:solid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IN" sz="1600" b="1" i="0" u="none" strike="noStrike" kern="0" cap="none" spc="0" normalizeH="0" baseline="0" noProof="0" dirty="0">
                <a:ln>
                  <a:noFill/>
                </a:ln>
                <a:solidFill>
                  <a:srgbClr val="FFFFFF"/>
                </a:solidFill>
                <a:effectLst/>
                <a:uLnTx/>
                <a:uFillTx/>
                <a:latin typeface="Calibri"/>
                <a:ea typeface="+mn-ea"/>
                <a:cs typeface="+mn-cs"/>
              </a:rPr>
              <a:t>Electrification of Transport</a:t>
            </a:r>
          </a:p>
        </p:txBody>
      </p:sp>
      <p:sp>
        <p:nvSpPr>
          <p:cNvPr id="32" name="Rectangle 31">
            <a:extLst>
              <a:ext uri="{FF2B5EF4-FFF2-40B4-BE49-F238E27FC236}">
                <a16:creationId xmlns:a16="http://schemas.microsoft.com/office/drawing/2014/main" id="{AED821E4-3721-FBCC-50DF-297DC646EE8A}"/>
              </a:ext>
            </a:extLst>
          </p:cNvPr>
          <p:cNvSpPr/>
          <p:nvPr/>
        </p:nvSpPr>
        <p:spPr>
          <a:xfrm>
            <a:off x="3540234" y="3903208"/>
            <a:ext cx="2498588" cy="1019832"/>
          </a:xfrm>
          <a:prstGeom prst="rect">
            <a:avLst/>
          </a:prstGeom>
          <a:solidFill>
            <a:schemeClr val="accent2"/>
          </a:solidFill>
          <a:ln w="9525" cap="flat" cmpd="sng" algn="ctr">
            <a:solidFill>
              <a:srgbClr val="00B0F0"/>
            </a:solidFill>
            <a:prstDash val="solid"/>
            <a:miter lim="800000"/>
          </a:ln>
          <a:effectLst/>
        </p:spPr>
        <p:txBody>
          <a:bodyPr rtlCol="0" anchor="ctr"/>
          <a:lstStyle/>
          <a:p>
            <a:pPr algn="ctr" defTabSz="914171">
              <a:defRPr/>
            </a:pPr>
            <a:r>
              <a:rPr lang="en-GB" sz="1600" b="1" kern="0" dirty="0">
                <a:solidFill>
                  <a:prstClr val="white"/>
                </a:solidFill>
                <a:latin typeface="Calibri"/>
              </a:rPr>
              <a:t>Aggressive Investment in Material Sourcing</a:t>
            </a:r>
            <a:endParaRPr lang="en-IN" sz="1600" b="1" kern="0" dirty="0">
              <a:solidFill>
                <a:prstClr val="white"/>
              </a:solidFill>
              <a:latin typeface="Calibri"/>
            </a:endParaRPr>
          </a:p>
        </p:txBody>
      </p:sp>
      <p:sp>
        <p:nvSpPr>
          <p:cNvPr id="37" name="Rectangle 36">
            <a:extLst>
              <a:ext uri="{FF2B5EF4-FFF2-40B4-BE49-F238E27FC236}">
                <a16:creationId xmlns:a16="http://schemas.microsoft.com/office/drawing/2014/main" id="{A13FF57A-26E2-2158-13FF-9C5024A3FC45}"/>
              </a:ext>
            </a:extLst>
          </p:cNvPr>
          <p:cNvSpPr/>
          <p:nvPr/>
        </p:nvSpPr>
        <p:spPr>
          <a:xfrm>
            <a:off x="9012529" y="3911693"/>
            <a:ext cx="2498588" cy="1019832"/>
          </a:xfrm>
          <a:prstGeom prst="rect">
            <a:avLst/>
          </a:prstGeom>
          <a:solidFill>
            <a:schemeClr val="accent2"/>
          </a:solidFill>
          <a:ln w="6350" cap="flat" cmpd="sng" algn="ctr">
            <a:solidFill>
              <a:srgbClr val="00B0F0"/>
            </a:solidFill>
            <a:prstDash val="solid"/>
            <a:miter lim="800000"/>
          </a:ln>
          <a:effectLst/>
        </p:spPr>
        <p:txBody>
          <a:bodyPr rtlCol="0" anchor="ctr"/>
          <a:lstStyle/>
          <a:p>
            <a:pPr algn="ctr" defTabSz="914171">
              <a:defRPr/>
            </a:pPr>
            <a:r>
              <a:rPr lang="en-US" sz="1600" b="1" kern="0" dirty="0">
                <a:solidFill>
                  <a:prstClr val="white"/>
                </a:solidFill>
                <a:latin typeface="Calibri"/>
              </a:rPr>
              <a:t>High Energy Costs Drive Residential Solar PV</a:t>
            </a:r>
            <a:endParaRPr lang="en-IN" sz="1600" b="1" kern="0" dirty="0">
              <a:solidFill>
                <a:prstClr val="white"/>
              </a:solidFill>
              <a:latin typeface="Calibri"/>
            </a:endParaRPr>
          </a:p>
        </p:txBody>
      </p:sp>
      <p:pic>
        <p:nvPicPr>
          <p:cNvPr id="45" name="Picture 44">
            <a:extLst>
              <a:ext uri="{FF2B5EF4-FFF2-40B4-BE49-F238E27FC236}">
                <a16:creationId xmlns:a16="http://schemas.microsoft.com/office/drawing/2014/main" id="{221D8899-8729-03D0-0EE0-1621997F6927}"/>
              </a:ext>
            </a:extLst>
          </p:cNvPr>
          <p:cNvPicPr>
            <a:picLocks noChangeAspect="1"/>
          </p:cNvPicPr>
          <p:nvPr/>
        </p:nvPicPr>
        <p:blipFill>
          <a:blip r:embed="rId2"/>
          <a:stretch>
            <a:fillRect/>
          </a:stretch>
        </p:blipFill>
        <p:spPr>
          <a:xfrm>
            <a:off x="3540234" y="1952106"/>
            <a:ext cx="2498588" cy="1898441"/>
          </a:xfrm>
          <a:prstGeom prst="rect">
            <a:avLst/>
          </a:prstGeom>
        </p:spPr>
      </p:pic>
      <p:pic>
        <p:nvPicPr>
          <p:cNvPr id="46" name="Picture 45">
            <a:extLst>
              <a:ext uri="{FF2B5EF4-FFF2-40B4-BE49-F238E27FC236}">
                <a16:creationId xmlns:a16="http://schemas.microsoft.com/office/drawing/2014/main" id="{36F84B94-6F94-1D55-B0A7-CDEB8CD2DD4F}"/>
              </a:ext>
            </a:extLst>
          </p:cNvPr>
          <p:cNvPicPr>
            <a:picLocks noChangeAspect="1"/>
          </p:cNvPicPr>
          <p:nvPr/>
        </p:nvPicPr>
        <p:blipFill>
          <a:blip r:embed="rId3"/>
          <a:stretch>
            <a:fillRect/>
          </a:stretch>
        </p:blipFill>
        <p:spPr>
          <a:xfrm>
            <a:off x="789323" y="1952106"/>
            <a:ext cx="2498587" cy="1898441"/>
          </a:xfrm>
          <a:prstGeom prst="rect">
            <a:avLst/>
          </a:prstGeom>
        </p:spPr>
      </p:pic>
      <p:pic>
        <p:nvPicPr>
          <p:cNvPr id="47" name="Picture 46">
            <a:extLst>
              <a:ext uri="{FF2B5EF4-FFF2-40B4-BE49-F238E27FC236}">
                <a16:creationId xmlns:a16="http://schemas.microsoft.com/office/drawing/2014/main" id="{94963C78-05CF-7898-DA89-EE06BE2B7A5C}"/>
              </a:ext>
            </a:extLst>
          </p:cNvPr>
          <p:cNvPicPr>
            <a:picLocks noChangeAspect="1"/>
          </p:cNvPicPr>
          <p:nvPr/>
        </p:nvPicPr>
        <p:blipFill>
          <a:blip r:embed="rId4"/>
          <a:stretch>
            <a:fillRect/>
          </a:stretch>
        </p:blipFill>
        <p:spPr>
          <a:xfrm>
            <a:off x="6284770" y="1952106"/>
            <a:ext cx="2504978" cy="1898441"/>
          </a:xfrm>
          <a:prstGeom prst="rect">
            <a:avLst/>
          </a:prstGeom>
        </p:spPr>
      </p:pic>
      <p:pic>
        <p:nvPicPr>
          <p:cNvPr id="48" name="Picture 47">
            <a:extLst>
              <a:ext uri="{FF2B5EF4-FFF2-40B4-BE49-F238E27FC236}">
                <a16:creationId xmlns:a16="http://schemas.microsoft.com/office/drawing/2014/main" id="{02116749-9A50-4F2F-BB95-089A7E59003C}"/>
              </a:ext>
            </a:extLst>
          </p:cNvPr>
          <p:cNvPicPr>
            <a:picLocks noChangeAspect="1"/>
          </p:cNvPicPr>
          <p:nvPr/>
        </p:nvPicPr>
        <p:blipFill>
          <a:blip r:embed="rId5"/>
          <a:stretch>
            <a:fillRect/>
          </a:stretch>
        </p:blipFill>
        <p:spPr>
          <a:xfrm>
            <a:off x="9012530" y="1949668"/>
            <a:ext cx="2499427" cy="1898441"/>
          </a:xfrm>
          <a:prstGeom prst="rect">
            <a:avLst/>
          </a:prstGeom>
        </p:spPr>
      </p:pic>
    </p:spTree>
    <p:extLst>
      <p:ext uri="{BB962C8B-B14F-4D97-AF65-F5344CB8AC3E}">
        <p14:creationId xmlns:p14="http://schemas.microsoft.com/office/powerpoint/2010/main" val="2701974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dsEHCXm4NiaxZcRvDmpql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dsEHCXm4NiaxZcRvDmpql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sEHCXm4NiaxZcRvDmpql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DATASOURCE1" val="9"/>
  <p:tag name="PPDATATABLE1" val="0"/>
  <p:tag name="PPFILTERSTRING1" val="TBR:0|TBC:0|NDFR:0|NDFC:0|NDTR:0|NDTC:0|QT:0|BNR:1|STB:1|DA:1|DSC:1|SST:1|SSV:0|SBV:1|OSC:1|OBR:0|RSV:1|RBV:0|PRF:0|PSF:0|IB:0|SLM:0|BS:F|RH:0|TC:1|DP:-1|NIP:0|NID:0|SP:0|MN:0|SS:::|RF:00000000001000000000000000|XPR:|XPC:|LDR:|LDC:|BAR:|STC:|SA:0,0,0,0|SI:String^Exclude^SIGNIFICANCE_UPPER0NoSort|IER:String^IncludeWithLabels|IEC:String^IncludeWithLabels|SR:String^^Sample (A)0Descending|SC:|SX:"/>
  <p:tag name="PPSELECTEDAREA1" val="SC:1|SR:12-17|DL:1"/>
  <p:tag name="PPADDMETHOD1" val="AM:4|TM:0|TC:1|TR:1"/>
  <p:tag name="PPGRIDAREAS1" val="DH:6|DC:7|DA:8|PF:19|ST:1|FC:2|LC:4|OC:3|OR:16"/>
</p:tagLst>
</file>

<file path=ppt/tags/tag18.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DATASOURCE1" val="9"/>
  <p:tag name="PPDATATABLE1" val="0"/>
  <p:tag name="PPFILTERSTRING1" val="TBR:0|TBC:0|NDFR:0|NDFC:0|NDTR:0|NDTC:0|QT:0|BNR:1|STB:1|DA:1|DSC:1|SST:1|SSV:0|SBV:1|OSC:1|OBR:0|RSV:1|RBV:0|PRF:0|PSF:0|IB:0|SLM:0|BS:F|RH:0|TC:1|DP:-1|NIP:0|NID:0|SP:0|MN:0|SS:::|RF:00000000001000000000000000|XPR:|XPC:|LDR:|LDC:|BAR:|STC:|SA:0,0,0,0|SI:String^Exclude^SIGNIFICANCE_UPPER0NoSort|IER:String^IncludeWithLabels|IEC:String^IncludeWithLabels|SR:String^^Sample (A)0Descending|SC:|SX:"/>
  <p:tag name="PPSELECTEDAREA1" val="SC:1|SR:12-17|DL:1"/>
  <p:tag name="PPADDMETHOD1" val="AM:4|TM:0|TC:1|TR:1"/>
  <p:tag name="PPGRIDAREAS1" val="DH:6|DC:7|DA:8|PF:19|ST:1|FC:2|LC:4|OC:3|OR:16"/>
</p:tagLst>
</file>

<file path=ppt/tags/tag19.xml><?xml version="1.0" encoding="utf-8"?>
<p:tagLst xmlns:a="http://schemas.openxmlformats.org/drawingml/2006/main" xmlns:r="http://schemas.openxmlformats.org/officeDocument/2006/relationships" xmlns:p="http://schemas.openxmlformats.org/presentationml/2006/main">
  <p:tag name="PPACTIONCOUNT" val="1"/>
  <p:tag name="PPACTIONTYPE1" val="Data"/>
  <p:tag name="PPDATASOURCE1" val="9"/>
  <p:tag name="PPDATATABLE1" val="0"/>
  <p:tag name="PPFILTERSTRING1" val="TBR:0|TBC:0|NDFR:0|NDFC:0|NDTR:0|NDTC:0|QT:0|BNR:1|STB:1|DA:1|DSC:1|SST:1|SSV:0|SBV:1|OSC:1|OBR:0|RSV:1|RBV:0|PRF:0|PSF:0|IB:0|SLM:0|BS:F|RH:0|TC:1|DP:-1|NIP:0|NID:0|SP:0|MN:0|SS:::|RF:00000000001000000000000000|XPR:|XPC:|LDR:|LDC:|BAR:|STC:|SA:0,0,0,0|SI:String^Exclude^SIGNIFICANCE_UPPER0NoSort|IER:String^IncludeWithLabels|IEC:String^IncludeWithLabels|SR:String^^Sample (A)0Descending|SC:|SX:"/>
  <p:tag name="PPSELECTEDAREA1" val="SC:1|SR:12-17|DL:1"/>
  <p:tag name="PPADDMETHOD1" val="AM:4|TM:0|TC:1|TR:1"/>
  <p:tag name="PPGRIDAREAS1" val="DH:6|DC:7|DA:8|PF:19|ST:1|FC:2|LC:4|OC:3|OR:16"/>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uq7TGmueLaQm.mh7GfHF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SeIr6vcUmov_3VzL29F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uq7TGmueLaQm.mh7GfH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dsEHCXm4NiaxZcRvDmpqlw"/>
</p:tagLst>
</file>

<file path=ppt/theme/theme1.xml><?xml version="1.0" encoding="utf-8"?>
<a:theme xmlns:a="http://schemas.openxmlformats.org/drawingml/2006/main" name="CABA Presentation 1">
  <a:themeElements>
    <a:clrScheme name="CABA Presentation">
      <a:dk1>
        <a:srgbClr val="E83E1D"/>
      </a:dk1>
      <a:lt1>
        <a:srgbClr val="FFFFFF"/>
      </a:lt1>
      <a:dk2>
        <a:srgbClr val="464646"/>
      </a:dk2>
      <a:lt2>
        <a:srgbClr val="D7D7D7"/>
      </a:lt2>
      <a:accent1>
        <a:srgbClr val="009DF7"/>
      </a:accent1>
      <a:accent2>
        <a:srgbClr val="7A7A7A"/>
      </a:accent2>
      <a:accent3>
        <a:srgbClr val="F49200"/>
      </a:accent3>
      <a:accent4>
        <a:srgbClr val="2BAC3A"/>
      </a:accent4>
      <a:accent5>
        <a:srgbClr val="FFED00"/>
      </a:accent5>
      <a:accent6>
        <a:srgbClr val="912583"/>
      </a:accent6>
      <a:hlink>
        <a:srgbClr val="009DF7"/>
      </a:hlink>
      <a:folHlink>
        <a:srgbClr val="7A7A7A"/>
      </a:folHlink>
    </a:clrScheme>
    <a:fontScheme name="Scenariio">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ABA Presentation 2018.potx" id="{98D26EC6-AE9B-494F-A44F-E252D094523E}" vid="{D435817C-20ED-454E-8F26-51F322C3469C}"/>
    </a:ext>
  </a:extLst>
</a:theme>
</file>

<file path=ppt/theme/theme2.xml><?xml version="1.0" encoding="utf-8"?>
<a:theme xmlns:a="http://schemas.openxmlformats.org/drawingml/2006/main" name="CABA Presentation 1">
  <a:themeElements>
    <a:clrScheme name="CABA Presentation">
      <a:dk1>
        <a:srgbClr val="E83E1D"/>
      </a:dk1>
      <a:lt1>
        <a:srgbClr val="FFFFFF"/>
      </a:lt1>
      <a:dk2>
        <a:srgbClr val="464646"/>
      </a:dk2>
      <a:lt2>
        <a:srgbClr val="D7D7D7"/>
      </a:lt2>
      <a:accent1>
        <a:srgbClr val="009DF7"/>
      </a:accent1>
      <a:accent2>
        <a:srgbClr val="7A7A7A"/>
      </a:accent2>
      <a:accent3>
        <a:srgbClr val="F49200"/>
      </a:accent3>
      <a:accent4>
        <a:srgbClr val="2BAC3A"/>
      </a:accent4>
      <a:accent5>
        <a:srgbClr val="FFED00"/>
      </a:accent5>
      <a:accent6>
        <a:srgbClr val="912583"/>
      </a:accent6>
      <a:hlink>
        <a:srgbClr val="009DF7"/>
      </a:hlink>
      <a:folHlink>
        <a:srgbClr val="7A7A7A"/>
      </a:folHlink>
    </a:clrScheme>
    <a:fontScheme name="Scenariio">
      <a:majorFont>
        <a:latin typeface="Montserrat"/>
        <a:ea typeface=""/>
        <a:cs typeface=""/>
      </a:majorFont>
      <a:minorFont>
        <a:latin typeface="Montserra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9 CABA 30th Template" id="{915BEC08-B4FF-D349-8630-CAA42A2A9150}" vid="{0BA65574-4E91-964F-BA71-EC34B9A60163}"/>
    </a:ext>
  </a:extLst>
</a:theme>
</file>

<file path=ppt/theme/theme3.xml><?xml version="1.0" encoding="utf-8"?>
<a:theme xmlns:a="http://schemas.openxmlformats.org/drawingml/2006/main" name="2_COVER Design">
  <a:themeElements>
    <a:clrScheme name="Nice_PPT_2022">
      <a:dk1>
        <a:srgbClr val="041133"/>
      </a:dk1>
      <a:lt1>
        <a:srgbClr val="FFFFFF"/>
      </a:lt1>
      <a:dk2>
        <a:srgbClr val="626679"/>
      </a:dk2>
      <a:lt2>
        <a:srgbClr val="F4F6FB"/>
      </a:lt2>
      <a:accent1>
        <a:srgbClr val="004993"/>
      </a:accent1>
      <a:accent2>
        <a:srgbClr val="0C58E5"/>
      </a:accent2>
      <a:accent3>
        <a:srgbClr val="0B6EE9"/>
      </a:accent3>
      <a:accent4>
        <a:srgbClr val="0A85ED"/>
      </a:accent4>
      <a:accent5>
        <a:srgbClr val="099BF1"/>
      </a:accent5>
      <a:accent6>
        <a:srgbClr val="08B2F5"/>
      </a:accent6>
      <a:hlink>
        <a:srgbClr val="0D41E1"/>
      </a:hlink>
      <a:folHlink>
        <a:srgbClr val="08B2F5"/>
      </a:folHlink>
    </a:clrScheme>
    <a:fontScheme name="Negun">
      <a:majorFont>
        <a:latin typeface="Poppins 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Frost New color scheme">
      <a:dk1>
        <a:srgbClr val="000000"/>
      </a:dk1>
      <a:lt1>
        <a:sysClr val="window" lastClr="FFFFFF"/>
      </a:lt1>
      <a:dk2>
        <a:srgbClr val="17426B"/>
      </a:dk2>
      <a:lt2>
        <a:srgbClr val="BFBFBF"/>
      </a:lt2>
      <a:accent1>
        <a:srgbClr val="00B0F0"/>
      </a:accent1>
      <a:accent2>
        <a:srgbClr val="1582C5"/>
      </a:accent2>
      <a:accent3>
        <a:srgbClr val="F26722"/>
      </a:accent3>
      <a:accent4>
        <a:srgbClr val="F7913D"/>
      </a:accent4>
      <a:accent5>
        <a:srgbClr val="64B7CE"/>
      </a:accent5>
      <a:accent6>
        <a:srgbClr val="7F7F7F"/>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effectLst/>
      </a:spPr>
      <a:bodyPr lIns="0" rIns="36000" rtlCol="0" anchor="ctr" anchorCtr="0"/>
      <a:lstStyle>
        <a:defPPr marL="914400" defTabSz="609555" fontAlgn="base">
          <a:spcBef>
            <a:spcPct val="0"/>
          </a:spcBef>
          <a:spcAft>
            <a:spcPct val="0"/>
          </a:spcAft>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1_Office Theme">
  <a:themeElements>
    <a:clrScheme name="Frost New color scheme">
      <a:dk1>
        <a:srgbClr val="000000"/>
      </a:dk1>
      <a:lt1>
        <a:sysClr val="window" lastClr="FFFFFF"/>
      </a:lt1>
      <a:dk2>
        <a:srgbClr val="17426B"/>
      </a:dk2>
      <a:lt2>
        <a:srgbClr val="BFBFBF"/>
      </a:lt2>
      <a:accent1>
        <a:srgbClr val="00B0F0"/>
      </a:accent1>
      <a:accent2>
        <a:srgbClr val="1582C5"/>
      </a:accent2>
      <a:accent3>
        <a:srgbClr val="F26722"/>
      </a:accent3>
      <a:accent4>
        <a:srgbClr val="F7913D"/>
      </a:accent4>
      <a:accent5>
        <a:srgbClr val="64B7CE"/>
      </a:accent5>
      <a:accent6>
        <a:srgbClr val="7F7F7F"/>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FS 2020">
    <a:dk1>
      <a:srgbClr val="172D55"/>
    </a:dk1>
    <a:lt1>
      <a:srgbClr val="FFFFFF"/>
    </a:lt1>
    <a:dk2>
      <a:srgbClr val="172D55"/>
    </a:dk2>
    <a:lt2>
      <a:srgbClr val="F26722"/>
    </a:lt2>
    <a:accent1>
      <a:srgbClr val="BCD9EE"/>
    </a:accent1>
    <a:accent2>
      <a:srgbClr val="00B0F0"/>
    </a:accent2>
    <a:accent3>
      <a:srgbClr val="1582C5"/>
    </a:accent3>
    <a:accent4>
      <a:srgbClr val="0E4C8B"/>
    </a:accent4>
    <a:accent5>
      <a:srgbClr val="172D55"/>
    </a:accent5>
    <a:accent6>
      <a:srgbClr val="17426B"/>
    </a:accent6>
    <a:hlink>
      <a:srgbClr val="00B0F0"/>
    </a:hlink>
    <a:folHlink>
      <a:srgbClr val="00B0F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FS 2020">
    <a:dk1>
      <a:srgbClr val="172D55"/>
    </a:dk1>
    <a:lt1>
      <a:srgbClr val="FFFFFF"/>
    </a:lt1>
    <a:dk2>
      <a:srgbClr val="172D55"/>
    </a:dk2>
    <a:lt2>
      <a:srgbClr val="F26722"/>
    </a:lt2>
    <a:accent1>
      <a:srgbClr val="BCD9EE"/>
    </a:accent1>
    <a:accent2>
      <a:srgbClr val="00B0F0"/>
    </a:accent2>
    <a:accent3>
      <a:srgbClr val="1582C5"/>
    </a:accent3>
    <a:accent4>
      <a:srgbClr val="0E4C8B"/>
    </a:accent4>
    <a:accent5>
      <a:srgbClr val="172D55"/>
    </a:accent5>
    <a:accent6>
      <a:srgbClr val="17426B"/>
    </a:accent6>
    <a:hlink>
      <a:srgbClr val="00B0F0"/>
    </a:hlink>
    <a:folHlink>
      <a:srgbClr val="00B0F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Frost New color scheme">
    <a:dk1>
      <a:srgbClr val="000000"/>
    </a:dk1>
    <a:lt1>
      <a:sysClr val="window" lastClr="FFFFFF"/>
    </a:lt1>
    <a:dk2>
      <a:srgbClr val="17426B"/>
    </a:dk2>
    <a:lt2>
      <a:srgbClr val="BFBFBF"/>
    </a:lt2>
    <a:accent1>
      <a:srgbClr val="00B0F0"/>
    </a:accent1>
    <a:accent2>
      <a:srgbClr val="1582C5"/>
    </a:accent2>
    <a:accent3>
      <a:srgbClr val="F26722"/>
    </a:accent3>
    <a:accent4>
      <a:srgbClr val="F7913D"/>
    </a:accent4>
    <a:accent5>
      <a:srgbClr val="64B7CE"/>
    </a:accent5>
    <a:accent6>
      <a:srgbClr val="7F7F7F"/>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Frost New color scheme">
    <a:dk1>
      <a:srgbClr val="000000"/>
    </a:dk1>
    <a:lt1>
      <a:sysClr val="window" lastClr="FFFFFF"/>
    </a:lt1>
    <a:dk2>
      <a:srgbClr val="17426B"/>
    </a:dk2>
    <a:lt2>
      <a:srgbClr val="BFBFBF"/>
    </a:lt2>
    <a:accent1>
      <a:srgbClr val="00B0F0"/>
    </a:accent1>
    <a:accent2>
      <a:srgbClr val="1582C5"/>
    </a:accent2>
    <a:accent3>
      <a:srgbClr val="F26722"/>
    </a:accent3>
    <a:accent4>
      <a:srgbClr val="F7913D"/>
    </a:accent4>
    <a:accent5>
      <a:srgbClr val="64B7CE"/>
    </a:accent5>
    <a:accent6>
      <a:srgbClr val="7F7F7F"/>
    </a:accent6>
    <a:hlink>
      <a:srgbClr val="0070C0"/>
    </a:hlink>
    <a:folHlink>
      <a:srgbClr val="C8D0C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FS 2020">
    <a:dk1>
      <a:srgbClr val="172D55"/>
    </a:dk1>
    <a:lt1>
      <a:srgbClr val="FFFFFF"/>
    </a:lt1>
    <a:dk2>
      <a:srgbClr val="172D55"/>
    </a:dk2>
    <a:lt2>
      <a:srgbClr val="F26722"/>
    </a:lt2>
    <a:accent1>
      <a:srgbClr val="BCD9EE"/>
    </a:accent1>
    <a:accent2>
      <a:srgbClr val="00B0F0"/>
    </a:accent2>
    <a:accent3>
      <a:srgbClr val="1582C5"/>
    </a:accent3>
    <a:accent4>
      <a:srgbClr val="0E4C8B"/>
    </a:accent4>
    <a:accent5>
      <a:srgbClr val="172D55"/>
    </a:accent5>
    <a:accent6>
      <a:srgbClr val="17426B"/>
    </a:accent6>
    <a:hlink>
      <a:srgbClr val="00B0F0"/>
    </a:hlink>
    <a:folHlink>
      <a:srgbClr val="00B0F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FS 2020">
    <a:dk1>
      <a:srgbClr val="172D55"/>
    </a:dk1>
    <a:lt1>
      <a:srgbClr val="FFFFFF"/>
    </a:lt1>
    <a:dk2>
      <a:srgbClr val="172D55"/>
    </a:dk2>
    <a:lt2>
      <a:srgbClr val="F26722"/>
    </a:lt2>
    <a:accent1>
      <a:srgbClr val="BCD9EE"/>
    </a:accent1>
    <a:accent2>
      <a:srgbClr val="00B0F0"/>
    </a:accent2>
    <a:accent3>
      <a:srgbClr val="1582C5"/>
    </a:accent3>
    <a:accent4>
      <a:srgbClr val="0E4C8B"/>
    </a:accent4>
    <a:accent5>
      <a:srgbClr val="172D55"/>
    </a:accent5>
    <a:accent6>
      <a:srgbClr val="17426B"/>
    </a:accent6>
    <a:hlink>
      <a:srgbClr val="00B0F0"/>
    </a:hlink>
    <a:folHlink>
      <a:srgbClr val="00B0F0"/>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Benutzerdefiniert 58">
    <a:dk1>
      <a:sysClr val="windowText" lastClr="000000"/>
    </a:dk1>
    <a:lt1>
      <a:sysClr val="window" lastClr="FFFFFF"/>
    </a:lt1>
    <a:dk2>
      <a:srgbClr val="17426B"/>
    </a:dk2>
    <a:lt2>
      <a:srgbClr val="CBCBCB"/>
    </a:lt2>
    <a:accent1>
      <a:srgbClr val="2C3E50"/>
    </a:accent1>
    <a:accent2>
      <a:srgbClr val="517496"/>
    </a:accent2>
    <a:accent3>
      <a:srgbClr val="ACBED1"/>
    </a:accent3>
    <a:accent4>
      <a:srgbClr val="9A0000"/>
    </a:accent4>
    <a:accent5>
      <a:srgbClr val="404027"/>
    </a:accent5>
    <a:accent6>
      <a:srgbClr val="D6D6B6"/>
    </a:accent6>
    <a:hlink>
      <a:srgbClr val="7F7F7F"/>
    </a:hlink>
    <a:folHlink>
      <a:srgbClr val="7F7F7F"/>
    </a:folHlink>
  </a:clrScheme>
  <a:fontScheme name="Kapsch">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6C827C2D24DC641BF3335721A0BFAD0" ma:contentTypeVersion="13" ma:contentTypeDescription="Create a new document." ma:contentTypeScope="" ma:versionID="d3c083629b15a1c7cbdea09e66ee7619">
  <xsd:schema xmlns:xsd="http://www.w3.org/2001/XMLSchema" xmlns:xs="http://www.w3.org/2001/XMLSchema" xmlns:p="http://schemas.microsoft.com/office/2006/metadata/properties" xmlns:ns2="94aa7f9c-35f7-4afe-8da5-56a177c74bd1" xmlns:ns3="d0c6ae89-1a0c-40bd-bfa0-b278409e1f38" targetNamespace="http://schemas.microsoft.com/office/2006/metadata/properties" ma:root="true" ma:fieldsID="344cdb94fbea305711c94cffb2b07143" ns2:_="" ns3:_="">
    <xsd:import namespace="94aa7f9c-35f7-4afe-8da5-56a177c74bd1"/>
    <xsd:import namespace="d0c6ae89-1a0c-40bd-bfa0-b278409e1f3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element ref="ns2:MediaServiceAutoKeyPoints" minOccurs="0"/>
                <xsd:element ref="ns2:MediaServiceKeyPoint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aa7f9c-35f7-4afe-8da5-56a177c74bd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d0c6ae89-1a0c-40bd-bfa0-b278409e1f38"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A3CF60D-3AFA-4DEA-9831-A431FC8152D0}">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4B1CF665-3A98-4A4D-9B2E-11BC4E77D1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4aa7f9c-35f7-4afe-8da5-56a177c74bd1"/>
    <ds:schemaRef ds:uri="d0c6ae89-1a0c-40bd-bfa0-b278409e1f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A54F96-0609-48A4-ADB4-BE5D12E820C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7792</TotalTime>
  <Words>1660</Words>
  <Application>Microsoft Office PowerPoint</Application>
  <PresentationFormat>Widescreen</PresentationFormat>
  <Paragraphs>281</Paragraphs>
  <Slides>27</Slides>
  <Notes>8</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2</vt:i4>
      </vt:variant>
      <vt:variant>
        <vt:lpstr>Slide Titles</vt:lpstr>
      </vt:variant>
      <vt:variant>
        <vt:i4>27</vt:i4>
      </vt:variant>
    </vt:vector>
  </HeadingPairs>
  <TitlesOfParts>
    <vt:vector size="44" baseType="lpstr">
      <vt:lpstr>Arial</vt:lpstr>
      <vt:lpstr>Calibri</vt:lpstr>
      <vt:lpstr>Courier New</vt:lpstr>
      <vt:lpstr>Helvetica</vt:lpstr>
      <vt:lpstr>HelveticaNeueLT Com 45 Lt</vt:lpstr>
      <vt:lpstr>HelveticaNeueLT Com 55 Roman</vt:lpstr>
      <vt:lpstr>Inter</vt:lpstr>
      <vt:lpstr>Inter Light</vt:lpstr>
      <vt:lpstr>Montserrat</vt:lpstr>
      <vt:lpstr>Montserrat Light</vt:lpstr>
      <vt:lpstr>CABA Presentation 1</vt:lpstr>
      <vt:lpstr>CABA Presentation 1</vt:lpstr>
      <vt:lpstr>2_COVER Design</vt:lpstr>
      <vt:lpstr>Office Theme</vt:lpstr>
      <vt:lpstr>1_Office Theme</vt:lpstr>
      <vt:lpstr>think-cell Slide</vt:lpstr>
      <vt:lpstr>Bitmap Image</vt:lpstr>
      <vt:lpstr>Connected Home Council (CHC) Webinar  Meeting will commence 1:05pm ET  Tuesday, May 9, 2023, 1 PM – 2:30 PM (ET)</vt:lpstr>
      <vt:lpstr>1.  Agenda Greg Walker (CABA) </vt:lpstr>
      <vt:lpstr>2.  CHC Meeting Call to Order, Intros, About the CHC Ken Wacks (Ken Wacks Associates)</vt:lpstr>
      <vt:lpstr>3.  Administrative  Ken Wacks (Ken Wacks Associates)</vt:lpstr>
      <vt:lpstr>4.  Research Update Greg Walker (CABA)</vt:lpstr>
      <vt:lpstr>5.  CABA Podcasts Marta Klopotowska (CABA)</vt:lpstr>
      <vt:lpstr>PowerPoint Presentation</vt:lpstr>
      <vt:lpstr>PowerPoint Presentation</vt:lpstr>
      <vt:lpstr>Major trends shaping the battery storage market </vt:lpstr>
      <vt:lpstr>Electrification of transport</vt:lpstr>
      <vt:lpstr>LITHIUM CONSUMPTION VS. RESERVES</vt:lpstr>
      <vt:lpstr>Lithium-ion battery manufacturing capacity</vt:lpstr>
      <vt:lpstr>Residential solar PV </vt:lpstr>
      <vt:lpstr>Residential BESS – regional trends</vt:lpstr>
      <vt:lpstr>Global bess: Europe the leading regional market</vt:lpstr>
      <vt:lpstr>global residential BESS market shares</vt:lpstr>
      <vt:lpstr>North American residential BESS market forecasts</vt:lpstr>
      <vt:lpstr>What makes bess more attractive for a potential buyer?</vt:lpstr>
      <vt:lpstr>Key perceived benefits</vt:lpstr>
      <vt:lpstr>What deters a potential bess purchase?</vt:lpstr>
      <vt:lpstr>Key players in the residential solar+storage value chain</vt:lpstr>
      <vt:lpstr>residential bess market shares</vt:lpstr>
      <vt:lpstr>Key partnerships </vt:lpstr>
      <vt:lpstr>PowerPoint Presentation</vt:lpstr>
      <vt:lpstr>7.  New Business Ken Wacks (Ken Wacks Associates)</vt:lpstr>
      <vt:lpstr>8.  Announcements Greg Walker (CABA)</vt:lpstr>
      <vt:lpstr>9.  Adjournment Ken Wacks (Ken Wacks Associat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wlson King</dc:creator>
  <cp:lastModifiedBy>Marta</cp:lastModifiedBy>
  <cp:revision>64</cp:revision>
  <dcterms:created xsi:type="dcterms:W3CDTF">2018-08-09T13:04:51Z</dcterms:created>
  <dcterms:modified xsi:type="dcterms:W3CDTF">2023-05-09T11:55: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C827C2D24DC641BF3335721A0BFAD0</vt:lpwstr>
  </property>
</Properties>
</file>